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xlsb" ContentType="application/vnd.ms-excel.sheet.binary.macroEnabled.12"/>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3" r:id="rId2"/>
    <p:sldMasterId id="2147484075" r:id="rId3"/>
    <p:sldMasterId id="2147484128" r:id="rId4"/>
    <p:sldMasterId id="2147484158" r:id="rId5"/>
    <p:sldMasterId id="2147484168" r:id="rId6"/>
    <p:sldMasterId id="2147484203" r:id="rId7"/>
    <p:sldMasterId id="2147484207" r:id="rId8"/>
    <p:sldMasterId id="2147484216" r:id="rId9"/>
    <p:sldMasterId id="2147484228" r:id="rId10"/>
  </p:sldMasterIdLst>
  <p:notesMasterIdLst>
    <p:notesMasterId r:id="rId73"/>
  </p:notesMasterIdLst>
  <p:handoutMasterIdLst>
    <p:handoutMasterId r:id="rId74"/>
  </p:handoutMasterIdLst>
  <p:sldIdLst>
    <p:sldId id="626" r:id="rId11"/>
    <p:sldId id="1740" r:id="rId12"/>
    <p:sldId id="1727" r:id="rId13"/>
    <p:sldId id="2145708111" r:id="rId14"/>
    <p:sldId id="279" r:id="rId15"/>
    <p:sldId id="1758" r:id="rId16"/>
    <p:sldId id="1743" r:id="rId17"/>
    <p:sldId id="1741" r:id="rId18"/>
    <p:sldId id="2146849206" r:id="rId19"/>
    <p:sldId id="2146849242" r:id="rId20"/>
    <p:sldId id="2146849243" r:id="rId21"/>
    <p:sldId id="2146849244" r:id="rId22"/>
    <p:sldId id="2146849248" r:id="rId23"/>
    <p:sldId id="2146849246" r:id="rId24"/>
    <p:sldId id="2146849215" r:id="rId25"/>
    <p:sldId id="2146849249" r:id="rId26"/>
    <p:sldId id="2146849250" r:id="rId27"/>
    <p:sldId id="2146849251" r:id="rId28"/>
    <p:sldId id="2146849252" r:id="rId29"/>
    <p:sldId id="2146849253" r:id="rId30"/>
    <p:sldId id="2146849254" r:id="rId31"/>
    <p:sldId id="2146849255" r:id="rId32"/>
    <p:sldId id="2146849256" r:id="rId33"/>
    <p:sldId id="2146849257" r:id="rId34"/>
    <p:sldId id="2146849259" r:id="rId35"/>
    <p:sldId id="2146849260" r:id="rId36"/>
    <p:sldId id="2146849261" r:id="rId37"/>
    <p:sldId id="2146849263" r:id="rId38"/>
    <p:sldId id="941" r:id="rId39"/>
    <p:sldId id="1749" r:id="rId40"/>
    <p:sldId id="711" r:id="rId41"/>
    <p:sldId id="1750" r:id="rId42"/>
    <p:sldId id="1704" r:id="rId43"/>
    <p:sldId id="1760" r:id="rId44"/>
    <p:sldId id="1746" r:id="rId45"/>
    <p:sldId id="1751" r:id="rId46"/>
    <p:sldId id="1257" r:id="rId47"/>
    <p:sldId id="2146849262" r:id="rId48"/>
    <p:sldId id="1759" r:id="rId49"/>
    <p:sldId id="1705" r:id="rId50"/>
    <p:sldId id="1149" r:id="rId51"/>
    <p:sldId id="1267" r:id="rId52"/>
    <p:sldId id="1285" r:id="rId53"/>
    <p:sldId id="1729" r:id="rId54"/>
    <p:sldId id="1292" r:id="rId55"/>
    <p:sldId id="1246" r:id="rId56"/>
    <p:sldId id="1468" r:id="rId57"/>
    <p:sldId id="822" r:id="rId58"/>
    <p:sldId id="1703" r:id="rId59"/>
    <p:sldId id="1321" r:id="rId60"/>
    <p:sldId id="1752" r:id="rId61"/>
    <p:sldId id="1367" r:id="rId62"/>
    <p:sldId id="1754" r:id="rId63"/>
    <p:sldId id="1424" r:id="rId64"/>
    <p:sldId id="1425" r:id="rId65"/>
    <p:sldId id="1756" r:id="rId66"/>
    <p:sldId id="1478" r:id="rId67"/>
    <p:sldId id="1486" r:id="rId68"/>
    <p:sldId id="1542" r:id="rId69"/>
    <p:sldId id="1735" r:id="rId70"/>
    <p:sldId id="1755" r:id="rId71"/>
    <p:sldId id="498" r:id="rId72"/>
  </p:sldIdLst>
  <p:sldSz cx="12192000" cy="6858000"/>
  <p:notesSz cx="9929813" cy="6799263"/>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6AE70DD-1031-8636-6F5A-6CD370BAF0F9}" name="Έλια Αποστολοπούλου" initials="ΈΑ" userId="S::apostolopoulou_n@mintour.gr::55324f8b-f5ef-49c9-8ce3-afc1f275c58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918B"/>
    <a:srgbClr val="D2DEEF"/>
    <a:srgbClr val="EAEFF7"/>
    <a:srgbClr val="F1D1CB"/>
    <a:srgbClr val="E9ECD0"/>
    <a:srgbClr val="BDDADF"/>
    <a:srgbClr val="FBFCC0"/>
    <a:srgbClr val="E0E894"/>
    <a:srgbClr val="E4A598"/>
    <a:srgbClr val="CEAE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F9E948-6916-7E2C-8FEC-8A4F771B1719}" v="831" dt="2025-07-22T16:36:53.009"/>
    <p1510:client id="{391AA782-47D1-B34C-F1A9-9F41A1EBC6CE}" v="27" dt="2025-07-22T16:43:25.244"/>
    <p1510:client id="{548ECE82-E029-9082-4CCD-A2F6CF107B9D}" v="94" dt="2025-07-22T10:42:34.077"/>
    <p1510:client id="{6415B64A-6679-4FBD-B0B0-D37264004EED}" v="28" dt="2025-07-23T02:55:56.925"/>
    <p1510:client id="{C35932ED-8414-28FD-4A04-BD38E6014B4E}" v="12619" dt="2025-07-22T15:37:50.555"/>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75DCB02-9BB8-47FD-8907-85C794F793BA}" styleName="Στυλ με θέμα 1 - Έμφαση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583" autoAdjust="0"/>
  </p:normalViewPr>
  <p:slideViewPr>
    <p:cSldViewPr snapToGrid="0">
      <p:cViewPr varScale="1">
        <p:scale>
          <a:sx n="108" d="100"/>
          <a:sy n="108" d="100"/>
        </p:scale>
        <p:origin x="678"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handoutMaster" Target="handoutMasters/handoutMaster1.xml"/><Relationship Id="rId79" Type="http://schemas.microsoft.com/office/2016/11/relationships/changesInfo" Target="changesInfos/changesInfo1.xml"/><Relationship Id="rId5" Type="http://schemas.openxmlformats.org/officeDocument/2006/relationships/slideMaster" Target="slideMasters/slideMaster5.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notesMaster" Target="notesMasters/notesMaster1.xml"/><Relationship Id="rId78" Type="http://schemas.openxmlformats.org/officeDocument/2006/relationships/tableStyles" Target="tableStyles.xml"/><Relationship Id="rId81"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61.xml"/><Relationship Id="rId2" Type="http://schemas.openxmlformats.org/officeDocument/2006/relationships/slideMaster" Target="slideMasters/slideMaster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christou@gsco.gov.gr" userId="S::urn:spo:guest#kchristou@gsco.gov.gr::" providerId="AD" clId="Web-{391AA782-47D1-B34C-F1A9-9F41A1EBC6CE}"/>
    <pc:docChg chg="addSld modSld">
      <pc:chgData name="kchristou@gsco.gov.gr" userId="S::urn:spo:guest#kchristou@gsco.gov.gr::" providerId="AD" clId="Web-{391AA782-47D1-B34C-F1A9-9F41A1EBC6CE}" dt="2025-07-22T16:43:25.244" v="25"/>
      <pc:docMkLst>
        <pc:docMk/>
      </pc:docMkLst>
      <pc:sldChg chg="add">
        <pc:chgData name="kchristou@gsco.gov.gr" userId="S::urn:spo:guest#kchristou@gsco.gov.gr::" providerId="AD" clId="Web-{391AA782-47D1-B34C-F1A9-9F41A1EBC6CE}" dt="2025-07-22T16:42:21.930" v="5"/>
        <pc:sldMkLst>
          <pc:docMk/>
          <pc:sldMk cId="3441007482" sldId="2146849215"/>
        </pc:sldMkLst>
      </pc:sldChg>
      <pc:sldChg chg="add">
        <pc:chgData name="kchristou@gsco.gov.gr" userId="S::urn:spo:guest#kchristou@gsco.gov.gr::" providerId="AD" clId="Web-{391AA782-47D1-B34C-F1A9-9F41A1EBC6CE}" dt="2025-07-22T16:42:20.711" v="0"/>
        <pc:sldMkLst>
          <pc:docMk/>
          <pc:sldMk cId="349407066" sldId="2146849242"/>
        </pc:sldMkLst>
      </pc:sldChg>
      <pc:sldChg chg="add">
        <pc:chgData name="kchristou@gsco.gov.gr" userId="S::urn:spo:guest#kchristou@gsco.gov.gr::" providerId="AD" clId="Web-{391AA782-47D1-B34C-F1A9-9F41A1EBC6CE}" dt="2025-07-22T16:42:20.961" v="1"/>
        <pc:sldMkLst>
          <pc:docMk/>
          <pc:sldMk cId="3008117883" sldId="2146849243"/>
        </pc:sldMkLst>
      </pc:sldChg>
      <pc:sldChg chg="add">
        <pc:chgData name="kchristou@gsco.gov.gr" userId="S::urn:spo:guest#kchristou@gsco.gov.gr::" providerId="AD" clId="Web-{391AA782-47D1-B34C-F1A9-9F41A1EBC6CE}" dt="2025-07-22T16:42:21.133" v="2"/>
        <pc:sldMkLst>
          <pc:docMk/>
          <pc:sldMk cId="2025672321" sldId="2146849244"/>
        </pc:sldMkLst>
      </pc:sldChg>
      <pc:sldChg chg="add">
        <pc:chgData name="kchristou@gsco.gov.gr" userId="S::urn:spo:guest#kchristou@gsco.gov.gr::" providerId="AD" clId="Web-{391AA782-47D1-B34C-F1A9-9F41A1EBC6CE}" dt="2025-07-22T16:42:21.648" v="4"/>
        <pc:sldMkLst>
          <pc:docMk/>
          <pc:sldMk cId="2004633229" sldId="2146849246"/>
        </pc:sldMkLst>
      </pc:sldChg>
      <pc:sldChg chg="add">
        <pc:chgData name="kchristou@gsco.gov.gr" userId="S::urn:spo:guest#kchristou@gsco.gov.gr::" providerId="AD" clId="Web-{391AA782-47D1-B34C-F1A9-9F41A1EBC6CE}" dt="2025-07-22T16:42:21.305" v="3"/>
        <pc:sldMkLst>
          <pc:docMk/>
          <pc:sldMk cId="3483231230" sldId="2146849248"/>
        </pc:sldMkLst>
      </pc:sldChg>
      <pc:sldChg chg="add">
        <pc:chgData name="kchristou@gsco.gov.gr" userId="S::urn:spo:guest#kchristou@gsco.gov.gr::" providerId="AD" clId="Web-{391AA782-47D1-B34C-F1A9-9F41A1EBC6CE}" dt="2025-07-22T16:42:22.133" v="6"/>
        <pc:sldMkLst>
          <pc:docMk/>
          <pc:sldMk cId="3091645634" sldId="2146849249"/>
        </pc:sldMkLst>
      </pc:sldChg>
      <pc:sldChg chg="add">
        <pc:chgData name="kchristou@gsco.gov.gr" userId="S::urn:spo:guest#kchristou@gsco.gov.gr::" providerId="AD" clId="Web-{391AA782-47D1-B34C-F1A9-9F41A1EBC6CE}" dt="2025-07-22T16:42:22.336" v="7"/>
        <pc:sldMkLst>
          <pc:docMk/>
          <pc:sldMk cId="1728658558" sldId="2146849250"/>
        </pc:sldMkLst>
      </pc:sldChg>
      <pc:sldChg chg="add">
        <pc:chgData name="kchristou@gsco.gov.gr" userId="S::urn:spo:guest#kchristou@gsco.gov.gr::" providerId="AD" clId="Web-{391AA782-47D1-B34C-F1A9-9F41A1EBC6CE}" dt="2025-07-22T16:42:22.430" v="8"/>
        <pc:sldMkLst>
          <pc:docMk/>
          <pc:sldMk cId="545221625" sldId="2146849251"/>
        </pc:sldMkLst>
      </pc:sldChg>
      <pc:sldChg chg="add">
        <pc:chgData name="kchristou@gsco.gov.gr" userId="S::urn:spo:guest#kchristou@gsco.gov.gr::" providerId="AD" clId="Web-{391AA782-47D1-B34C-F1A9-9F41A1EBC6CE}" dt="2025-07-22T16:42:22.539" v="9"/>
        <pc:sldMkLst>
          <pc:docMk/>
          <pc:sldMk cId="2714680556" sldId="2146849252"/>
        </pc:sldMkLst>
      </pc:sldChg>
      <pc:sldChg chg="add">
        <pc:chgData name="kchristou@gsco.gov.gr" userId="S::urn:spo:guest#kchristou@gsco.gov.gr::" providerId="AD" clId="Web-{391AA782-47D1-B34C-F1A9-9F41A1EBC6CE}" dt="2025-07-22T16:42:22.633" v="10"/>
        <pc:sldMkLst>
          <pc:docMk/>
          <pc:sldMk cId="2797691041" sldId="2146849253"/>
        </pc:sldMkLst>
      </pc:sldChg>
      <pc:sldChg chg="add">
        <pc:chgData name="kchristou@gsco.gov.gr" userId="S::urn:spo:guest#kchristou@gsco.gov.gr::" providerId="AD" clId="Web-{391AA782-47D1-B34C-F1A9-9F41A1EBC6CE}" dt="2025-07-22T16:42:22.727" v="11"/>
        <pc:sldMkLst>
          <pc:docMk/>
          <pc:sldMk cId="1190054649" sldId="2146849254"/>
        </pc:sldMkLst>
      </pc:sldChg>
      <pc:sldChg chg="addSp delSp modSp add">
        <pc:chgData name="kchristou@gsco.gov.gr" userId="S::urn:spo:guest#kchristou@gsco.gov.gr::" providerId="AD" clId="Web-{391AA782-47D1-B34C-F1A9-9F41A1EBC6CE}" dt="2025-07-22T16:43:25.244" v="25"/>
        <pc:sldMkLst>
          <pc:docMk/>
          <pc:sldMk cId="3072967258" sldId="2146849255"/>
        </pc:sldMkLst>
        <pc:picChg chg="add del mod">
          <ac:chgData name="kchristou@gsco.gov.gr" userId="S::urn:spo:guest#kchristou@gsco.gov.gr::" providerId="AD" clId="Web-{391AA782-47D1-B34C-F1A9-9F41A1EBC6CE}" dt="2025-07-22T16:43:25.244" v="25"/>
          <ac:picMkLst>
            <pc:docMk/>
            <pc:sldMk cId="3072967258" sldId="2146849255"/>
            <ac:picMk id="2" creationId="{9F7B5558-CE58-FF90-568F-5EAC47B83C06}"/>
          </ac:picMkLst>
        </pc:picChg>
        <pc:picChg chg="add del">
          <ac:chgData name="kchristou@gsco.gov.gr" userId="S::urn:spo:guest#kchristou@gsco.gov.gr::" providerId="AD" clId="Web-{391AA782-47D1-B34C-F1A9-9F41A1EBC6CE}" dt="2025-07-22T16:43:24.635" v="24"/>
          <ac:picMkLst>
            <pc:docMk/>
            <pc:sldMk cId="3072967258" sldId="2146849255"/>
            <ac:picMk id="26" creationId="{14AC0239-3444-F808-74DB-A22634D9E0A9}"/>
          </ac:picMkLst>
        </pc:picChg>
      </pc:sldChg>
      <pc:sldChg chg="add">
        <pc:chgData name="kchristou@gsco.gov.gr" userId="S::urn:spo:guest#kchristou@gsco.gov.gr::" providerId="AD" clId="Web-{391AA782-47D1-B34C-F1A9-9F41A1EBC6CE}" dt="2025-07-22T16:42:22.961" v="13"/>
        <pc:sldMkLst>
          <pc:docMk/>
          <pc:sldMk cId="200449534" sldId="2146849256"/>
        </pc:sldMkLst>
      </pc:sldChg>
      <pc:sldChg chg="add">
        <pc:chgData name="kchristou@gsco.gov.gr" userId="S::urn:spo:guest#kchristou@gsco.gov.gr::" providerId="AD" clId="Web-{391AA782-47D1-B34C-F1A9-9F41A1EBC6CE}" dt="2025-07-22T16:42:23.555" v="14"/>
        <pc:sldMkLst>
          <pc:docMk/>
          <pc:sldMk cId="566887028" sldId="2146849257"/>
        </pc:sldMkLst>
      </pc:sldChg>
      <pc:sldChg chg="add">
        <pc:chgData name="kchristou@gsco.gov.gr" userId="S::urn:spo:guest#kchristou@gsco.gov.gr::" providerId="AD" clId="Web-{391AA782-47D1-B34C-F1A9-9F41A1EBC6CE}" dt="2025-07-22T16:42:23.773" v="15"/>
        <pc:sldMkLst>
          <pc:docMk/>
          <pc:sldMk cId="3987272497" sldId="2146849259"/>
        </pc:sldMkLst>
      </pc:sldChg>
      <pc:sldChg chg="add">
        <pc:chgData name="kchristou@gsco.gov.gr" userId="S::urn:spo:guest#kchristou@gsco.gov.gr::" providerId="AD" clId="Web-{391AA782-47D1-B34C-F1A9-9F41A1EBC6CE}" dt="2025-07-22T16:42:23.883" v="16"/>
        <pc:sldMkLst>
          <pc:docMk/>
          <pc:sldMk cId="1795317235" sldId="2146849260"/>
        </pc:sldMkLst>
      </pc:sldChg>
      <pc:sldChg chg="add">
        <pc:chgData name="kchristou@gsco.gov.gr" userId="S::urn:spo:guest#kchristou@gsco.gov.gr::" providerId="AD" clId="Web-{391AA782-47D1-B34C-F1A9-9F41A1EBC6CE}" dt="2025-07-22T16:42:24.039" v="17"/>
        <pc:sldMkLst>
          <pc:docMk/>
          <pc:sldMk cId="319709201" sldId="2146849261"/>
        </pc:sldMkLst>
      </pc:sldChg>
      <pc:sldMasterChg chg="addSldLayout">
        <pc:chgData name="kchristou@gsco.gov.gr" userId="S::urn:spo:guest#kchristou@gsco.gov.gr::" providerId="AD" clId="Web-{391AA782-47D1-B34C-F1A9-9F41A1EBC6CE}" dt="2025-07-22T16:42:23.555" v="14"/>
        <pc:sldMasterMkLst>
          <pc:docMk/>
          <pc:sldMasterMk cId="0" sldId="2147483648"/>
        </pc:sldMasterMkLst>
        <pc:sldLayoutChg chg="add">
          <pc:chgData name="kchristou@gsco.gov.gr" userId="S::urn:spo:guest#kchristou@gsco.gov.gr::" providerId="AD" clId="Web-{391AA782-47D1-B34C-F1A9-9F41A1EBC6CE}" dt="2025-07-22T16:42:22.430" v="8"/>
          <pc:sldLayoutMkLst>
            <pc:docMk/>
            <pc:sldMasterMk cId="0" sldId="2147483648"/>
            <pc:sldLayoutMk cId="2470000905" sldId="2147483774"/>
          </pc:sldLayoutMkLst>
        </pc:sldLayoutChg>
        <pc:sldLayoutChg chg="add">
          <pc:chgData name="kchristou@gsco.gov.gr" userId="S::urn:spo:guest#kchristou@gsco.gov.gr::" providerId="AD" clId="Web-{391AA782-47D1-B34C-F1A9-9F41A1EBC6CE}" dt="2025-07-22T16:42:23.555" v="14"/>
          <pc:sldLayoutMkLst>
            <pc:docMk/>
            <pc:sldMasterMk cId="0" sldId="2147483648"/>
            <pc:sldLayoutMk cId="597531340" sldId="2147483775"/>
          </pc:sldLayoutMkLst>
        </pc:sldLayoutChg>
      </pc:sldMasterChg>
    </pc:docChg>
  </pc:docChgLst>
  <pc:docChgLst>
    <pc:chgData name="kchristou@gsco.gov.gr" userId="S::urn:spo:guest#kchristou@gsco.gov.gr::" providerId="AD" clId="Web-{00F9E948-6916-7E2C-8FEC-8A4F771B1719}"/>
    <pc:docChg chg="addSld delSld modSld">
      <pc:chgData name="kchristou@gsco.gov.gr" userId="S::urn:spo:guest#kchristou@gsco.gov.gr::" providerId="AD" clId="Web-{00F9E948-6916-7E2C-8FEC-8A4F771B1719}" dt="2025-07-22T16:36:51.791" v="501" actId="20577"/>
      <pc:docMkLst>
        <pc:docMk/>
      </pc:docMkLst>
      <pc:sldChg chg="addSp delSp modSp">
        <pc:chgData name="kchristou@gsco.gov.gr" userId="S::urn:spo:guest#kchristou@gsco.gov.gr::" providerId="AD" clId="Web-{00F9E948-6916-7E2C-8FEC-8A4F771B1719}" dt="2025-07-22T16:00:16.946" v="131" actId="1076"/>
        <pc:sldMkLst>
          <pc:docMk/>
          <pc:sldMk cId="374853499" sldId="1267"/>
        </pc:sldMkLst>
        <pc:spChg chg="add mod">
          <ac:chgData name="kchristou@gsco.gov.gr" userId="S::urn:spo:guest#kchristou@gsco.gov.gr::" providerId="AD" clId="Web-{00F9E948-6916-7E2C-8FEC-8A4F771B1719}" dt="2025-07-22T15:58:06.019" v="83" actId="1076"/>
          <ac:spMkLst>
            <pc:docMk/>
            <pc:sldMk cId="374853499" sldId="1267"/>
            <ac:spMk id="2" creationId="{5E3BC567-94BB-4262-628A-EE78058B9468}"/>
          </ac:spMkLst>
        </pc:spChg>
        <pc:spChg chg="add mod">
          <ac:chgData name="kchristou@gsco.gov.gr" userId="S::urn:spo:guest#kchristou@gsco.gov.gr::" providerId="AD" clId="Web-{00F9E948-6916-7E2C-8FEC-8A4F771B1719}" dt="2025-07-22T15:58:06.035" v="84" actId="1076"/>
          <ac:spMkLst>
            <pc:docMk/>
            <pc:sldMk cId="374853499" sldId="1267"/>
            <ac:spMk id="3" creationId="{5C3ED296-4734-FEB5-4ECD-9F68976E2D92}"/>
          </ac:spMkLst>
        </pc:spChg>
        <pc:spChg chg="add mod">
          <ac:chgData name="kchristou@gsco.gov.gr" userId="S::urn:spo:guest#kchristou@gsco.gov.gr::" providerId="AD" clId="Web-{00F9E948-6916-7E2C-8FEC-8A4F771B1719}" dt="2025-07-22T15:58:06.035" v="85" actId="1076"/>
          <ac:spMkLst>
            <pc:docMk/>
            <pc:sldMk cId="374853499" sldId="1267"/>
            <ac:spMk id="4" creationId="{8A4718D7-3DF5-788D-2116-1E6ABDDE8122}"/>
          </ac:spMkLst>
        </pc:spChg>
        <pc:spChg chg="mod">
          <ac:chgData name="kchristou@gsco.gov.gr" userId="S::urn:spo:guest#kchristou@gsco.gov.gr::" providerId="AD" clId="Web-{00F9E948-6916-7E2C-8FEC-8A4F771B1719}" dt="2025-07-22T15:57:36.862" v="68" actId="14100"/>
          <ac:spMkLst>
            <pc:docMk/>
            <pc:sldMk cId="374853499" sldId="1267"/>
            <ac:spMk id="5" creationId="{B8EA7ED4-B212-59B7-C659-3FC289D973C8}"/>
          </ac:spMkLst>
        </pc:spChg>
        <pc:spChg chg="add del mod">
          <ac:chgData name="kchristou@gsco.gov.gr" userId="S::urn:spo:guest#kchristou@gsco.gov.gr::" providerId="AD" clId="Web-{00F9E948-6916-7E2C-8FEC-8A4F771B1719}" dt="2025-07-22T15:55:31.169" v="53"/>
          <ac:spMkLst>
            <pc:docMk/>
            <pc:sldMk cId="374853499" sldId="1267"/>
            <ac:spMk id="6" creationId="{A8F0B739-F6F6-E062-C76C-F918A2EBD941}"/>
          </ac:spMkLst>
        </pc:spChg>
        <pc:spChg chg="mod">
          <ac:chgData name="kchristou@gsco.gov.gr" userId="S::urn:spo:guest#kchristou@gsco.gov.gr::" providerId="AD" clId="Web-{00F9E948-6916-7E2C-8FEC-8A4F771B1719}" dt="2025-07-22T15:57:44.221" v="71" actId="1076"/>
          <ac:spMkLst>
            <pc:docMk/>
            <pc:sldMk cId="374853499" sldId="1267"/>
            <ac:spMk id="7" creationId="{0D2772A5-47A2-1F68-6C94-B7BC05677D07}"/>
          </ac:spMkLst>
        </pc:spChg>
        <pc:spChg chg="mod">
          <ac:chgData name="kchristou@gsco.gov.gr" userId="S::urn:spo:guest#kchristou@gsco.gov.gr::" providerId="AD" clId="Web-{00F9E948-6916-7E2C-8FEC-8A4F771B1719}" dt="2025-07-22T16:00:15.024" v="130" actId="1076"/>
          <ac:spMkLst>
            <pc:docMk/>
            <pc:sldMk cId="374853499" sldId="1267"/>
            <ac:spMk id="9" creationId="{19473346-F42F-721C-680B-ED62BF16D8C9}"/>
          </ac:spMkLst>
        </pc:spChg>
        <pc:spChg chg="add mod">
          <ac:chgData name="kchristou@gsco.gov.gr" userId="S::urn:spo:guest#kchristou@gsco.gov.gr::" providerId="AD" clId="Web-{00F9E948-6916-7E2C-8FEC-8A4F771B1719}" dt="2025-07-22T15:58:20.613" v="95" actId="20577"/>
          <ac:spMkLst>
            <pc:docMk/>
            <pc:sldMk cId="374853499" sldId="1267"/>
            <ac:spMk id="10" creationId="{1AD9C01A-9629-964C-DCB2-CC8715F16F09}"/>
          </ac:spMkLst>
        </pc:spChg>
        <pc:spChg chg="mod">
          <ac:chgData name="kchristou@gsco.gov.gr" userId="S::urn:spo:guest#kchristou@gsco.gov.gr::" providerId="AD" clId="Web-{00F9E948-6916-7E2C-8FEC-8A4F771B1719}" dt="2025-07-22T16:00:16.946" v="131" actId="1076"/>
          <ac:spMkLst>
            <pc:docMk/>
            <pc:sldMk cId="374853499" sldId="1267"/>
            <ac:spMk id="11" creationId="{2565FF2C-3AF4-0419-D85C-52163AC3C65B}"/>
          </ac:spMkLst>
        </pc:spChg>
        <pc:spChg chg="del">
          <ac:chgData name="kchristou@gsco.gov.gr" userId="S::urn:spo:guest#kchristou@gsco.gov.gr::" providerId="AD" clId="Web-{00F9E948-6916-7E2C-8FEC-8A4F771B1719}" dt="2025-07-22T15:45:40.974" v="13"/>
          <ac:spMkLst>
            <pc:docMk/>
            <pc:sldMk cId="374853499" sldId="1267"/>
            <ac:spMk id="15" creationId="{21B5D593-CC59-76DC-C044-F3755E22001A}"/>
          </ac:spMkLst>
        </pc:spChg>
        <pc:cxnChg chg="add">
          <ac:chgData name="kchristou@gsco.gov.gr" userId="S::urn:spo:guest#kchristou@gsco.gov.gr::" providerId="AD" clId="Web-{00F9E948-6916-7E2C-8FEC-8A4F771B1719}" dt="2025-07-22T15:58:12.441" v="87"/>
          <ac:cxnSpMkLst>
            <pc:docMk/>
            <pc:sldMk cId="374853499" sldId="1267"/>
            <ac:cxnSpMk id="13" creationId="{108F13BC-B362-991F-4820-7CB659245D3C}"/>
          </ac:cxnSpMkLst>
        </pc:cxnChg>
        <pc:cxnChg chg="del">
          <ac:chgData name="kchristou@gsco.gov.gr" userId="S::urn:spo:guest#kchristou@gsco.gov.gr::" providerId="AD" clId="Web-{00F9E948-6916-7E2C-8FEC-8A4F771B1719}" dt="2025-07-22T15:45:40.974" v="12"/>
          <ac:cxnSpMkLst>
            <pc:docMk/>
            <pc:sldMk cId="374853499" sldId="1267"/>
            <ac:cxnSpMk id="17" creationId="{2F747670-45C4-02BE-BFFD-9112CAE408E4}"/>
          </ac:cxnSpMkLst>
        </pc:cxnChg>
      </pc:sldChg>
      <pc:sldChg chg="add del">
        <pc:chgData name="kchristou@gsco.gov.gr" userId="S::urn:spo:guest#kchristou@gsco.gov.gr::" providerId="AD" clId="Web-{00F9E948-6916-7E2C-8FEC-8A4F771B1719}" dt="2025-07-22T15:45:34.802" v="11"/>
        <pc:sldMkLst>
          <pc:docMk/>
          <pc:sldMk cId="4192009020" sldId="1285"/>
        </pc:sldMkLst>
      </pc:sldChg>
      <pc:sldChg chg="modSp">
        <pc:chgData name="kchristou@gsco.gov.gr" userId="S::urn:spo:guest#kchristou@gsco.gov.gr::" providerId="AD" clId="Web-{00F9E948-6916-7E2C-8FEC-8A4F771B1719}" dt="2025-07-22T16:01:32.449" v="132" actId="1076"/>
        <pc:sldMkLst>
          <pc:docMk/>
          <pc:sldMk cId="169613936" sldId="1292"/>
        </pc:sldMkLst>
        <pc:spChg chg="mod">
          <ac:chgData name="kchristou@gsco.gov.gr" userId="S::urn:spo:guest#kchristou@gsco.gov.gr::" providerId="AD" clId="Web-{00F9E948-6916-7E2C-8FEC-8A4F771B1719}" dt="2025-07-22T16:01:32.449" v="132" actId="1076"/>
          <ac:spMkLst>
            <pc:docMk/>
            <pc:sldMk cId="169613936" sldId="1292"/>
            <ac:spMk id="19" creationId="{D18F7219-103A-C31E-7FBB-93F508DAABBC}"/>
          </ac:spMkLst>
        </pc:spChg>
      </pc:sldChg>
      <pc:sldChg chg="modSp">
        <pc:chgData name="kchristou@gsco.gov.gr" userId="S::urn:spo:guest#kchristou@gsco.gov.gr::" providerId="AD" clId="Web-{00F9E948-6916-7E2C-8FEC-8A4F771B1719}" dt="2025-07-22T16:10:57.101" v="275" actId="20577"/>
        <pc:sldMkLst>
          <pc:docMk/>
          <pc:sldMk cId="0" sldId="1321"/>
        </pc:sldMkLst>
        <pc:spChg chg="mod">
          <ac:chgData name="kchristou@gsco.gov.gr" userId="S::urn:spo:guest#kchristou@gsco.gov.gr::" providerId="AD" clId="Web-{00F9E948-6916-7E2C-8FEC-8A4F771B1719}" dt="2025-07-22T16:07:19.937" v="241" actId="1076"/>
          <ac:spMkLst>
            <pc:docMk/>
            <pc:sldMk cId="0" sldId="1321"/>
            <ac:spMk id="16" creationId="{CC14ED2B-D108-7501-B40C-93C1828F4DB0}"/>
          </ac:spMkLst>
        </pc:spChg>
        <pc:spChg chg="mod">
          <ac:chgData name="kchristou@gsco.gov.gr" userId="S::urn:spo:guest#kchristou@gsco.gov.gr::" providerId="AD" clId="Web-{00F9E948-6916-7E2C-8FEC-8A4F771B1719}" dt="2025-07-22T16:07:28.828" v="245" actId="14100"/>
          <ac:spMkLst>
            <pc:docMk/>
            <pc:sldMk cId="0" sldId="1321"/>
            <ac:spMk id="18" creationId="{9E9EEF10-89A0-DECF-190E-6AE9C18E2C65}"/>
          </ac:spMkLst>
        </pc:spChg>
        <pc:spChg chg="mod">
          <ac:chgData name="kchristou@gsco.gov.gr" userId="S::urn:spo:guest#kchristou@gsco.gov.gr::" providerId="AD" clId="Web-{00F9E948-6916-7E2C-8FEC-8A4F771B1719}" dt="2025-07-22T16:10:57.101" v="275" actId="20577"/>
          <ac:spMkLst>
            <pc:docMk/>
            <pc:sldMk cId="0" sldId="1321"/>
            <ac:spMk id="38" creationId="{CC0FF5CB-9B81-7ACB-CA78-CB0EA52EE6E3}"/>
          </ac:spMkLst>
        </pc:spChg>
      </pc:sldChg>
      <pc:sldChg chg="modSp">
        <pc:chgData name="kchristou@gsco.gov.gr" userId="S::urn:spo:guest#kchristou@gsco.gov.gr::" providerId="AD" clId="Web-{00F9E948-6916-7E2C-8FEC-8A4F771B1719}" dt="2025-07-22T16:30:16.228" v="465" actId="14100"/>
        <pc:sldMkLst>
          <pc:docMk/>
          <pc:sldMk cId="773167784" sldId="1425"/>
        </pc:sldMkLst>
        <pc:spChg chg="mod">
          <ac:chgData name="kchristou@gsco.gov.gr" userId="S::urn:spo:guest#kchristou@gsco.gov.gr::" providerId="AD" clId="Web-{00F9E948-6916-7E2C-8FEC-8A4F771B1719}" dt="2025-07-22T16:28:17.677" v="434" actId="20577"/>
          <ac:spMkLst>
            <pc:docMk/>
            <pc:sldMk cId="773167784" sldId="1425"/>
            <ac:spMk id="18" creationId="{320A502A-ED57-B16A-170F-7781CE3948F0}"/>
          </ac:spMkLst>
        </pc:spChg>
        <pc:spChg chg="mod">
          <ac:chgData name="kchristou@gsco.gov.gr" userId="S::urn:spo:guest#kchristou@gsco.gov.gr::" providerId="AD" clId="Web-{00F9E948-6916-7E2C-8FEC-8A4F771B1719}" dt="2025-07-22T16:28:43.100" v="451" actId="20577"/>
          <ac:spMkLst>
            <pc:docMk/>
            <pc:sldMk cId="773167784" sldId="1425"/>
            <ac:spMk id="25" creationId="{C3E8A3A1-82F2-BD00-3355-CED7C50EBC8E}"/>
          </ac:spMkLst>
        </pc:spChg>
        <pc:spChg chg="mod">
          <ac:chgData name="kchristou@gsco.gov.gr" userId="S::urn:spo:guest#kchristou@gsco.gov.gr::" providerId="AD" clId="Web-{00F9E948-6916-7E2C-8FEC-8A4F771B1719}" dt="2025-07-22T16:28:46.272" v="452" actId="1076"/>
          <ac:spMkLst>
            <pc:docMk/>
            <pc:sldMk cId="773167784" sldId="1425"/>
            <ac:spMk id="27" creationId="{075B6790-2994-3C2B-1019-D2E9E4B3115F}"/>
          </ac:spMkLst>
        </pc:spChg>
        <pc:spChg chg="mod">
          <ac:chgData name="kchristou@gsco.gov.gr" userId="S::urn:spo:guest#kchristou@gsco.gov.gr::" providerId="AD" clId="Web-{00F9E948-6916-7E2C-8FEC-8A4F771B1719}" dt="2025-07-22T16:28:49.163" v="453" actId="1076"/>
          <ac:spMkLst>
            <pc:docMk/>
            <pc:sldMk cId="773167784" sldId="1425"/>
            <ac:spMk id="29" creationId="{D3DBC357-4596-7ADF-BE91-8233D8B0D2B0}"/>
          </ac:spMkLst>
        </pc:spChg>
        <pc:spChg chg="mod">
          <ac:chgData name="kchristou@gsco.gov.gr" userId="S::urn:spo:guest#kchristou@gsco.gov.gr::" providerId="AD" clId="Web-{00F9E948-6916-7E2C-8FEC-8A4F771B1719}" dt="2025-07-22T16:30:07.337" v="463" actId="14100"/>
          <ac:spMkLst>
            <pc:docMk/>
            <pc:sldMk cId="773167784" sldId="1425"/>
            <ac:spMk id="30" creationId="{A6CCC9A4-8256-99CF-8C60-B77251FD1142}"/>
          </ac:spMkLst>
        </pc:spChg>
        <pc:spChg chg="mod">
          <ac:chgData name="kchristou@gsco.gov.gr" userId="S::urn:spo:guest#kchristou@gsco.gov.gr::" providerId="AD" clId="Web-{00F9E948-6916-7E2C-8FEC-8A4F771B1719}" dt="2025-07-22T16:30:16.228" v="465" actId="14100"/>
          <ac:spMkLst>
            <pc:docMk/>
            <pc:sldMk cId="773167784" sldId="1425"/>
            <ac:spMk id="35" creationId="{A1CFAA10-9B21-FD7C-31B6-B87E183A525F}"/>
          </ac:spMkLst>
        </pc:spChg>
        <pc:spChg chg="mod">
          <ac:chgData name="kchristou@gsco.gov.gr" userId="S::urn:spo:guest#kchristou@gsco.gov.gr::" providerId="AD" clId="Web-{00F9E948-6916-7E2C-8FEC-8A4F771B1719}" dt="2025-07-22T16:30:12.074" v="464" actId="14100"/>
          <ac:spMkLst>
            <pc:docMk/>
            <pc:sldMk cId="773167784" sldId="1425"/>
            <ac:spMk id="36" creationId="{9E9B1F5C-5F4B-1631-8B72-7756CFE435BA}"/>
          </ac:spMkLst>
        </pc:spChg>
      </pc:sldChg>
      <pc:sldChg chg="modSp">
        <pc:chgData name="kchristou@gsco.gov.gr" userId="S::urn:spo:guest#kchristou@gsco.gov.gr::" providerId="AD" clId="Web-{00F9E948-6916-7E2C-8FEC-8A4F771B1719}" dt="2025-07-22T16:03:10.453" v="171" actId="1076"/>
        <pc:sldMkLst>
          <pc:docMk/>
          <pc:sldMk cId="0" sldId="1468"/>
        </pc:sldMkLst>
        <pc:spChg chg="mod">
          <ac:chgData name="kchristou@gsco.gov.gr" userId="S::urn:spo:guest#kchristou@gsco.gov.gr::" providerId="AD" clId="Web-{00F9E948-6916-7E2C-8FEC-8A4F771B1719}" dt="2025-07-22T16:02:53.999" v="167" actId="20577"/>
          <ac:spMkLst>
            <pc:docMk/>
            <pc:sldMk cId="0" sldId="1468"/>
            <ac:spMk id="12" creationId="{6CD7C697-0F67-9D5E-E9E6-6017710DF89E}"/>
          </ac:spMkLst>
        </pc:spChg>
        <pc:spChg chg="mod">
          <ac:chgData name="kchristou@gsco.gov.gr" userId="S::urn:spo:guest#kchristou@gsco.gov.gr::" providerId="AD" clId="Web-{00F9E948-6916-7E2C-8FEC-8A4F771B1719}" dt="2025-07-22T16:03:01.780" v="169" actId="1076"/>
          <ac:spMkLst>
            <pc:docMk/>
            <pc:sldMk cId="0" sldId="1468"/>
            <ac:spMk id="14" creationId="{FB6DE809-C670-68FC-DE37-5EFF04F2EACB}"/>
          </ac:spMkLst>
        </pc:spChg>
        <pc:spChg chg="mod">
          <ac:chgData name="kchristou@gsco.gov.gr" userId="S::urn:spo:guest#kchristou@gsco.gov.gr::" providerId="AD" clId="Web-{00F9E948-6916-7E2C-8FEC-8A4F771B1719}" dt="2025-07-22T16:02:12.779" v="156" actId="1076"/>
          <ac:spMkLst>
            <pc:docMk/>
            <pc:sldMk cId="0" sldId="1468"/>
            <ac:spMk id="15" creationId="{67F6C22B-9095-D61A-B9A9-21811407917C}"/>
          </ac:spMkLst>
        </pc:spChg>
        <pc:spChg chg="mod">
          <ac:chgData name="kchristou@gsco.gov.gr" userId="S::urn:spo:guest#kchristou@gsco.gov.gr::" providerId="AD" clId="Web-{00F9E948-6916-7E2C-8FEC-8A4F771B1719}" dt="2025-07-22T16:03:10.453" v="171" actId="1076"/>
          <ac:spMkLst>
            <pc:docMk/>
            <pc:sldMk cId="0" sldId="1468"/>
            <ac:spMk id="16" creationId="{806761AA-C4AC-4897-4589-03237A753379}"/>
          </ac:spMkLst>
        </pc:spChg>
        <pc:spChg chg="mod">
          <ac:chgData name="kchristou@gsco.gov.gr" userId="S::urn:spo:guest#kchristou@gsco.gov.gr::" providerId="AD" clId="Web-{00F9E948-6916-7E2C-8FEC-8A4F771B1719}" dt="2025-07-22T16:02:23.216" v="160" actId="20577"/>
          <ac:spMkLst>
            <pc:docMk/>
            <pc:sldMk cId="0" sldId="1468"/>
            <ac:spMk id="17" creationId="{BA1EACE6-BB19-CE5C-3D77-9E423585D9E4}"/>
          </ac:spMkLst>
        </pc:spChg>
      </pc:sldChg>
      <pc:sldChg chg="modSp">
        <pc:chgData name="kchristou@gsco.gov.gr" userId="S::urn:spo:guest#kchristou@gsco.gov.gr::" providerId="AD" clId="Web-{00F9E948-6916-7E2C-8FEC-8A4F771B1719}" dt="2025-07-22T16:31:48.044" v="487" actId="1076"/>
        <pc:sldMkLst>
          <pc:docMk/>
          <pc:sldMk cId="2722838732" sldId="1485"/>
        </pc:sldMkLst>
        <pc:spChg chg="mod">
          <ac:chgData name="kchristou@gsco.gov.gr" userId="S::urn:spo:guest#kchristou@gsco.gov.gr::" providerId="AD" clId="Web-{00F9E948-6916-7E2C-8FEC-8A4F771B1719}" dt="2025-07-22T16:31:42.529" v="486" actId="20577"/>
          <ac:spMkLst>
            <pc:docMk/>
            <pc:sldMk cId="2722838732" sldId="1485"/>
            <ac:spMk id="11" creationId="{449A0A78-45D9-8508-038A-605E44F2E0F3}"/>
          </ac:spMkLst>
        </pc:spChg>
        <pc:spChg chg="mod">
          <ac:chgData name="kchristou@gsco.gov.gr" userId="S::urn:spo:guest#kchristou@gsco.gov.gr::" providerId="AD" clId="Web-{00F9E948-6916-7E2C-8FEC-8A4F771B1719}" dt="2025-07-22T16:31:48.044" v="487" actId="1076"/>
          <ac:spMkLst>
            <pc:docMk/>
            <pc:sldMk cId="2722838732" sldId="1485"/>
            <ac:spMk id="13" creationId="{EA8F8405-5F51-58F7-127A-196F569CE535}"/>
          </ac:spMkLst>
        </pc:spChg>
      </pc:sldChg>
      <pc:sldChg chg="modSp">
        <pc:chgData name="kchristou@gsco.gov.gr" userId="S::urn:spo:guest#kchristou@gsco.gov.gr::" providerId="AD" clId="Web-{00F9E948-6916-7E2C-8FEC-8A4F771B1719}" dt="2025-07-22T16:05:22.301" v="214" actId="1076"/>
        <pc:sldMkLst>
          <pc:docMk/>
          <pc:sldMk cId="3463634899" sldId="1703"/>
        </pc:sldMkLst>
        <pc:spChg chg="mod">
          <ac:chgData name="kchristou@gsco.gov.gr" userId="S::urn:spo:guest#kchristou@gsco.gov.gr::" providerId="AD" clId="Web-{00F9E948-6916-7E2C-8FEC-8A4F771B1719}" dt="2025-07-22T16:04:22.455" v="188" actId="1076"/>
          <ac:spMkLst>
            <pc:docMk/>
            <pc:sldMk cId="3463634899" sldId="1703"/>
            <ac:spMk id="15" creationId="{3BE62FD4-6A10-2F45-5A04-2847ED1761DF}"/>
          </ac:spMkLst>
        </pc:spChg>
        <pc:spChg chg="mod">
          <ac:chgData name="kchristou@gsco.gov.gr" userId="S::urn:spo:guest#kchristou@gsco.gov.gr::" providerId="AD" clId="Web-{00F9E948-6916-7E2C-8FEC-8A4F771B1719}" dt="2025-07-22T16:04:27.518" v="190" actId="20577"/>
          <ac:spMkLst>
            <pc:docMk/>
            <pc:sldMk cId="3463634899" sldId="1703"/>
            <ac:spMk id="17" creationId="{10D46CA2-4AD8-E9CB-BCF8-813205E52C71}"/>
          </ac:spMkLst>
        </pc:spChg>
        <pc:spChg chg="mod">
          <ac:chgData name="kchristou@gsco.gov.gr" userId="S::urn:spo:guest#kchristou@gsco.gov.gr::" providerId="AD" clId="Web-{00F9E948-6916-7E2C-8FEC-8A4F771B1719}" dt="2025-07-22T16:04:24.409" v="189" actId="1076"/>
          <ac:spMkLst>
            <pc:docMk/>
            <pc:sldMk cId="3463634899" sldId="1703"/>
            <ac:spMk id="18" creationId="{C1F424DE-3F95-8701-F974-B7A44E845B6C}"/>
          </ac:spMkLst>
        </pc:spChg>
        <pc:spChg chg="mod">
          <ac:chgData name="kchristou@gsco.gov.gr" userId="S::urn:spo:guest#kchristou@gsco.gov.gr::" providerId="AD" clId="Web-{00F9E948-6916-7E2C-8FEC-8A4F771B1719}" dt="2025-07-22T16:05:19.067" v="213" actId="1076"/>
          <ac:spMkLst>
            <pc:docMk/>
            <pc:sldMk cId="3463634899" sldId="1703"/>
            <ac:spMk id="22" creationId="{083D2D35-BB8F-B4B4-4B0D-C71CA088EC0F}"/>
          </ac:spMkLst>
        </pc:spChg>
        <pc:spChg chg="mod">
          <ac:chgData name="kchristou@gsco.gov.gr" userId="S::urn:spo:guest#kchristou@gsco.gov.gr::" providerId="AD" clId="Web-{00F9E948-6916-7E2C-8FEC-8A4F771B1719}" dt="2025-07-22T16:05:22.301" v="214" actId="1076"/>
          <ac:spMkLst>
            <pc:docMk/>
            <pc:sldMk cId="3463634899" sldId="1703"/>
            <ac:spMk id="23" creationId="{6106CDB5-1DF3-31E5-0ADE-8CE12C35E6B3}"/>
          </ac:spMkLst>
        </pc:spChg>
        <pc:spChg chg="mod">
          <ac:chgData name="kchristou@gsco.gov.gr" userId="S::urn:spo:guest#kchristou@gsco.gov.gr::" providerId="AD" clId="Web-{00F9E948-6916-7E2C-8FEC-8A4F771B1719}" dt="2025-07-22T16:05:09.551" v="210" actId="1076"/>
          <ac:spMkLst>
            <pc:docMk/>
            <pc:sldMk cId="3463634899" sldId="1703"/>
            <ac:spMk id="25" creationId="{7531C973-372F-5071-ECD4-5E10EB7D75AE}"/>
          </ac:spMkLst>
        </pc:spChg>
      </pc:sldChg>
      <pc:sldChg chg="modSp">
        <pc:chgData name="kchristou@gsco.gov.gr" userId="S::urn:spo:guest#kchristou@gsco.gov.gr::" providerId="AD" clId="Web-{00F9E948-6916-7E2C-8FEC-8A4F771B1719}" dt="2025-07-22T15:38:22.207" v="9" actId="20577"/>
        <pc:sldMkLst>
          <pc:docMk/>
          <pc:sldMk cId="0" sldId="1705"/>
        </pc:sldMkLst>
        <pc:spChg chg="mod">
          <ac:chgData name="kchristou@gsco.gov.gr" userId="S::urn:spo:guest#kchristou@gsco.gov.gr::" providerId="AD" clId="Web-{00F9E948-6916-7E2C-8FEC-8A4F771B1719}" dt="2025-07-22T15:38:22.207" v="9" actId="20577"/>
          <ac:spMkLst>
            <pc:docMk/>
            <pc:sldMk cId="0" sldId="1705"/>
            <ac:spMk id="60" creationId="{19CE3614-21E5-3C02-69D2-21EC96491640}"/>
          </ac:spMkLst>
        </pc:spChg>
        <pc:spChg chg="mod">
          <ac:chgData name="kchristou@gsco.gov.gr" userId="S::urn:spo:guest#kchristou@gsco.gov.gr::" providerId="AD" clId="Web-{00F9E948-6916-7E2C-8FEC-8A4F771B1719}" dt="2025-07-22T15:38:14.051" v="4" actId="1076"/>
          <ac:spMkLst>
            <pc:docMk/>
            <pc:sldMk cId="0" sldId="1705"/>
            <ac:spMk id="61" creationId="{7646A0DD-DCAC-8B29-11B5-3BC110E011F8}"/>
          </ac:spMkLst>
        </pc:spChg>
      </pc:sldChg>
      <pc:sldChg chg="modSp">
        <pc:chgData name="kchristou@gsco.gov.gr" userId="S::urn:spo:guest#kchristou@gsco.gov.gr::" providerId="AD" clId="Web-{00F9E948-6916-7E2C-8FEC-8A4F771B1719}" dt="2025-07-22T16:36:51.791" v="501" actId="20577"/>
        <pc:sldMkLst>
          <pc:docMk/>
          <pc:sldMk cId="3072905272" sldId="1735"/>
        </pc:sldMkLst>
        <pc:spChg chg="mod">
          <ac:chgData name="kchristou@gsco.gov.gr" userId="S::urn:spo:guest#kchristou@gsco.gov.gr::" providerId="AD" clId="Web-{00F9E948-6916-7E2C-8FEC-8A4F771B1719}" dt="2025-07-22T16:36:51.791" v="501" actId="20577"/>
          <ac:spMkLst>
            <pc:docMk/>
            <pc:sldMk cId="3072905272" sldId="1735"/>
            <ac:spMk id="4" creationId="{CB3FF14B-CF8A-73C4-1970-5F2F448D75D6}"/>
          </ac:spMkLst>
        </pc:spChg>
        <pc:spChg chg="mod">
          <ac:chgData name="kchristou@gsco.gov.gr" userId="S::urn:spo:guest#kchristou@gsco.gov.gr::" providerId="AD" clId="Web-{00F9E948-6916-7E2C-8FEC-8A4F771B1719}" dt="2025-07-22T16:34:10.144" v="497" actId="1076"/>
          <ac:spMkLst>
            <pc:docMk/>
            <pc:sldMk cId="3072905272" sldId="1735"/>
            <ac:spMk id="23" creationId="{DAE1D20A-95B7-6BF3-9F4C-F03695730974}"/>
          </ac:spMkLst>
        </pc:spChg>
        <pc:spChg chg="mod">
          <ac:chgData name="kchristou@gsco.gov.gr" userId="S::urn:spo:guest#kchristou@gsco.gov.gr::" providerId="AD" clId="Web-{00F9E948-6916-7E2C-8FEC-8A4F771B1719}" dt="2025-07-22T16:34:29.426" v="499" actId="20577"/>
          <ac:spMkLst>
            <pc:docMk/>
            <pc:sldMk cId="3072905272" sldId="1735"/>
            <ac:spMk id="27" creationId="{E34DBD71-E386-6175-6D16-124333880AC6}"/>
          </ac:spMkLst>
        </pc:spChg>
      </pc:sldChg>
      <pc:sldChg chg="modSp">
        <pc:chgData name="kchristou@gsco.gov.gr" userId="S::urn:spo:guest#kchristou@gsco.gov.gr::" providerId="AD" clId="Web-{00F9E948-6916-7E2C-8FEC-8A4F771B1719}" dt="2025-07-22T16:19:12.980" v="416" actId="14100"/>
        <pc:sldMkLst>
          <pc:docMk/>
          <pc:sldMk cId="391153355" sldId="1752"/>
        </pc:sldMkLst>
        <pc:spChg chg="mod">
          <ac:chgData name="kchristou@gsco.gov.gr" userId="S::urn:spo:guest#kchristou@gsco.gov.gr::" providerId="AD" clId="Web-{00F9E948-6916-7E2C-8FEC-8A4F771B1719}" dt="2025-07-22T16:13:46.171" v="375" actId="14100"/>
          <ac:spMkLst>
            <pc:docMk/>
            <pc:sldMk cId="391153355" sldId="1752"/>
            <ac:spMk id="6" creationId="{F88CA7E1-AA23-4DE7-64EB-E6DB24896E46}"/>
          </ac:spMkLst>
        </pc:spChg>
        <pc:spChg chg="mod">
          <ac:chgData name="kchristou@gsco.gov.gr" userId="S::urn:spo:guest#kchristou@gsco.gov.gr::" providerId="AD" clId="Web-{00F9E948-6916-7E2C-8FEC-8A4F771B1719}" dt="2025-07-22T16:13:25.670" v="355" actId="20577"/>
          <ac:spMkLst>
            <pc:docMk/>
            <pc:sldMk cId="391153355" sldId="1752"/>
            <ac:spMk id="7" creationId="{19E4A608-D052-1BBD-B781-F51E2402723B}"/>
          </ac:spMkLst>
        </pc:spChg>
        <pc:spChg chg="mod">
          <ac:chgData name="kchristou@gsco.gov.gr" userId="S::urn:spo:guest#kchristou@gsco.gov.gr::" providerId="AD" clId="Web-{00F9E948-6916-7E2C-8FEC-8A4F771B1719}" dt="2025-07-22T16:14:07.437" v="379" actId="1076"/>
          <ac:spMkLst>
            <pc:docMk/>
            <pc:sldMk cId="391153355" sldId="1752"/>
            <ac:spMk id="9" creationId="{31C120B8-B422-BD61-DEA8-1C9CC57241B7}"/>
          </ac:spMkLst>
        </pc:spChg>
        <pc:spChg chg="mod">
          <ac:chgData name="kchristou@gsco.gov.gr" userId="S::urn:spo:guest#kchristou@gsco.gov.gr::" providerId="AD" clId="Web-{00F9E948-6916-7E2C-8FEC-8A4F771B1719}" dt="2025-07-22T16:14:11.187" v="380" actId="1076"/>
          <ac:spMkLst>
            <pc:docMk/>
            <pc:sldMk cId="391153355" sldId="1752"/>
            <ac:spMk id="11" creationId="{33EE2C13-97DE-5E5E-9DF4-D10FD205549F}"/>
          </ac:spMkLst>
        </pc:spChg>
        <pc:spChg chg="mod">
          <ac:chgData name="kchristou@gsco.gov.gr" userId="S::urn:spo:guest#kchristou@gsco.gov.gr::" providerId="AD" clId="Web-{00F9E948-6916-7E2C-8FEC-8A4F771B1719}" dt="2025-07-22T16:12:30.152" v="308" actId="14100"/>
          <ac:spMkLst>
            <pc:docMk/>
            <pc:sldMk cId="391153355" sldId="1752"/>
            <ac:spMk id="12" creationId="{B70193AA-4506-465A-0FFB-832D11A4020F}"/>
          </ac:spMkLst>
        </pc:spChg>
        <pc:spChg chg="mod">
          <ac:chgData name="kchristou@gsco.gov.gr" userId="S::urn:spo:guest#kchristou@gsco.gov.gr::" providerId="AD" clId="Web-{00F9E948-6916-7E2C-8FEC-8A4F771B1719}" dt="2025-07-22T16:12:26.277" v="307" actId="1076"/>
          <ac:spMkLst>
            <pc:docMk/>
            <pc:sldMk cId="391153355" sldId="1752"/>
            <ac:spMk id="16" creationId="{3732CCF2-7AB2-BF0C-A20B-34FDCD377628}"/>
          </ac:spMkLst>
        </pc:spChg>
        <pc:spChg chg="mod">
          <ac:chgData name="kchristou@gsco.gov.gr" userId="S::urn:spo:guest#kchristou@gsco.gov.gr::" providerId="AD" clId="Web-{00F9E948-6916-7E2C-8FEC-8A4F771B1719}" dt="2025-07-22T16:12:23.324" v="306" actId="20577"/>
          <ac:spMkLst>
            <pc:docMk/>
            <pc:sldMk cId="391153355" sldId="1752"/>
            <ac:spMk id="18" creationId="{1D79E54E-7BF3-504D-B0B4-2EDF44B8BE50}"/>
          </ac:spMkLst>
        </pc:spChg>
        <pc:spChg chg="mod">
          <ac:chgData name="kchristou@gsco.gov.gr" userId="S::urn:spo:guest#kchristou@gsco.gov.gr::" providerId="AD" clId="Web-{00F9E948-6916-7E2C-8FEC-8A4F771B1719}" dt="2025-07-22T16:13:01.106" v="335" actId="1076"/>
          <ac:spMkLst>
            <pc:docMk/>
            <pc:sldMk cId="391153355" sldId="1752"/>
            <ac:spMk id="23" creationId="{AE378E99-C688-0CB4-31B1-7960BAA3E2AD}"/>
          </ac:spMkLst>
        </pc:spChg>
        <pc:spChg chg="mod">
          <ac:chgData name="kchristou@gsco.gov.gr" userId="S::urn:spo:guest#kchristou@gsco.gov.gr::" providerId="AD" clId="Web-{00F9E948-6916-7E2C-8FEC-8A4F771B1719}" dt="2025-07-22T16:14:58.642" v="389" actId="1076"/>
          <ac:spMkLst>
            <pc:docMk/>
            <pc:sldMk cId="391153355" sldId="1752"/>
            <ac:spMk id="26" creationId="{8A63E27B-13E8-F075-2157-E27449157D52}"/>
          </ac:spMkLst>
        </pc:spChg>
        <pc:spChg chg="mod">
          <ac:chgData name="kchristou@gsco.gov.gr" userId="S::urn:spo:guest#kchristou@gsco.gov.gr::" providerId="AD" clId="Web-{00F9E948-6916-7E2C-8FEC-8A4F771B1719}" dt="2025-07-22T16:15:02.267" v="390" actId="1076"/>
          <ac:spMkLst>
            <pc:docMk/>
            <pc:sldMk cId="391153355" sldId="1752"/>
            <ac:spMk id="27" creationId="{D0A6F310-EB40-FEA2-2324-934CC359A3E8}"/>
          </ac:spMkLst>
        </pc:spChg>
        <pc:spChg chg="mod">
          <ac:chgData name="kchristou@gsco.gov.gr" userId="S::urn:spo:guest#kchristou@gsco.gov.gr::" providerId="AD" clId="Web-{00F9E948-6916-7E2C-8FEC-8A4F771B1719}" dt="2025-07-22T16:17:40.930" v="404" actId="1076"/>
          <ac:spMkLst>
            <pc:docMk/>
            <pc:sldMk cId="391153355" sldId="1752"/>
            <ac:spMk id="28" creationId="{D9F50B4B-E834-4BF7-B912-CBA5EEC654ED}"/>
          </ac:spMkLst>
        </pc:spChg>
        <pc:spChg chg="mod">
          <ac:chgData name="kchristou@gsco.gov.gr" userId="S::urn:spo:guest#kchristou@gsco.gov.gr::" providerId="AD" clId="Web-{00F9E948-6916-7E2C-8FEC-8A4F771B1719}" dt="2025-07-22T16:17:44.133" v="405" actId="1076"/>
          <ac:spMkLst>
            <pc:docMk/>
            <pc:sldMk cId="391153355" sldId="1752"/>
            <ac:spMk id="30" creationId="{1667F513-E40B-C905-A43A-0CBB723F1EAE}"/>
          </ac:spMkLst>
        </pc:spChg>
        <pc:spChg chg="mod">
          <ac:chgData name="kchristou@gsco.gov.gr" userId="S::urn:spo:guest#kchristou@gsco.gov.gr::" providerId="AD" clId="Web-{00F9E948-6916-7E2C-8FEC-8A4F771B1719}" dt="2025-07-22T16:17:31.007" v="402" actId="1076"/>
          <ac:spMkLst>
            <pc:docMk/>
            <pc:sldMk cId="391153355" sldId="1752"/>
            <ac:spMk id="31" creationId="{9B68985F-7E3E-76D1-EF3A-3ECBF62D521E}"/>
          </ac:spMkLst>
        </pc:spChg>
        <pc:spChg chg="mod">
          <ac:chgData name="kchristou@gsco.gov.gr" userId="S::urn:spo:guest#kchristou@gsco.gov.gr::" providerId="AD" clId="Web-{00F9E948-6916-7E2C-8FEC-8A4F771B1719}" dt="2025-07-22T16:19:10.386" v="415" actId="14100"/>
          <ac:spMkLst>
            <pc:docMk/>
            <pc:sldMk cId="391153355" sldId="1752"/>
            <ac:spMk id="32" creationId="{7F189610-26D9-A6F2-5392-7EE30233CA98}"/>
          </ac:spMkLst>
        </pc:spChg>
        <pc:spChg chg="mod">
          <ac:chgData name="kchristou@gsco.gov.gr" userId="S::urn:spo:guest#kchristou@gsco.gov.gr::" providerId="AD" clId="Web-{00F9E948-6916-7E2C-8FEC-8A4F771B1719}" dt="2025-07-22T16:19:12.980" v="416" actId="14100"/>
          <ac:spMkLst>
            <pc:docMk/>
            <pc:sldMk cId="391153355" sldId="1752"/>
            <ac:spMk id="34" creationId="{A9B701F6-840C-5488-A40D-2960BFCE4CD9}"/>
          </ac:spMkLst>
        </pc:spChg>
        <pc:spChg chg="mod">
          <ac:chgData name="kchristou@gsco.gov.gr" userId="S::urn:spo:guest#kchristou@gsco.gov.gr::" providerId="AD" clId="Web-{00F9E948-6916-7E2C-8FEC-8A4F771B1719}" dt="2025-07-22T16:18:32.478" v="412" actId="20577"/>
          <ac:spMkLst>
            <pc:docMk/>
            <pc:sldMk cId="391153355" sldId="1752"/>
            <ac:spMk id="35" creationId="{98A2A4B9-F02D-7B80-888B-2B3AEDE0C762}"/>
          </ac:spMkLst>
        </pc:spChg>
      </pc:sldChg>
      <pc:sldChg chg="modSp">
        <pc:chgData name="kchristou@gsco.gov.gr" userId="S::urn:spo:guest#kchristou@gsco.gov.gr::" providerId="AD" clId="Web-{00F9E948-6916-7E2C-8FEC-8A4F771B1719}" dt="2025-07-22T16:31:00.121" v="466" actId="20577"/>
        <pc:sldMkLst>
          <pc:docMk/>
          <pc:sldMk cId="3053627698" sldId="1756"/>
        </pc:sldMkLst>
        <pc:spChg chg="mod">
          <ac:chgData name="kchristou@gsco.gov.gr" userId="S::urn:spo:guest#kchristou@gsco.gov.gr::" providerId="AD" clId="Web-{00F9E948-6916-7E2C-8FEC-8A4F771B1719}" dt="2025-07-22T16:31:00.121" v="466" actId="20577"/>
          <ac:spMkLst>
            <pc:docMk/>
            <pc:sldMk cId="3053627698" sldId="1756"/>
            <ac:spMk id="13" creationId="{9F875449-5844-42A7-E8D1-CD912546CD84}"/>
          </ac:spMkLst>
        </pc:spChg>
      </pc:sldChg>
    </pc:docChg>
  </pc:docChgLst>
  <pc:docChgLst>
    <pc:chgData name="dgiannouli" userId="S::dgiannouli_gsco.gov.gr#ext#@mindiggsis.onmicrosoft.com::65fed034-9e6f-4832-ad50-6d27b6d49711" providerId="AD" clId="Web-{5D7EA088-F1F2-7CE9-3967-291EC5AAF9B3}"/>
    <pc:docChg chg="modSld">
      <pc:chgData name="dgiannouli" userId="S::dgiannouli_gsco.gov.gr#ext#@mindiggsis.onmicrosoft.com::65fed034-9e6f-4832-ad50-6d27b6d49711" providerId="AD" clId="Web-{5D7EA088-F1F2-7CE9-3967-291EC5AAF9B3}" dt="2025-04-08T16:30:04.067" v="1"/>
      <pc:docMkLst>
        <pc:docMk/>
      </pc:docMkLst>
      <pc:sldChg chg="modSp">
        <pc:chgData name="dgiannouli" userId="S::dgiannouli_gsco.gov.gr#ext#@mindiggsis.onmicrosoft.com::65fed034-9e6f-4832-ad50-6d27b6d49711" providerId="AD" clId="Web-{5D7EA088-F1F2-7CE9-3967-291EC5AAF9B3}" dt="2025-04-08T16:30:04.067" v="1"/>
        <pc:sldMkLst>
          <pc:docMk/>
          <pc:sldMk cId="1755689343" sldId="1325"/>
        </pc:sldMkLst>
      </pc:sldChg>
    </pc:docChg>
  </pc:docChgLst>
  <pc:docChgLst>
    <pc:chgData name="kchristou@gsco.gov.gr" userId="S::urn:spo:guest#kchristou@gsco.gov.gr::" providerId="AD" clId="Web-{C35932ED-8414-28FD-4A04-BD38E6014B4E}"/>
    <pc:docChg chg="addSld delSld modSld sldOrd">
      <pc:chgData name="kchristou@gsco.gov.gr" userId="S::urn:spo:guest#kchristou@gsco.gov.gr::" providerId="AD" clId="Web-{C35932ED-8414-28FD-4A04-BD38E6014B4E}" dt="2025-07-22T15:37:50.555" v="8145" actId="20577"/>
      <pc:docMkLst>
        <pc:docMk/>
      </pc:docMkLst>
      <pc:sldChg chg="addSp delSp modSp add">
        <pc:chgData name="kchristou@gsco.gov.gr" userId="S::urn:spo:guest#kchristou@gsco.gov.gr::" providerId="AD" clId="Web-{C35932ED-8414-28FD-4A04-BD38E6014B4E}" dt="2025-07-22T13:02:08.193" v="5700" actId="1076"/>
        <pc:sldMkLst>
          <pc:docMk/>
          <pc:sldMk cId="2395453747" sldId="279"/>
        </pc:sldMkLst>
        <pc:spChg chg="mod">
          <ac:chgData name="kchristou@gsco.gov.gr" userId="S::urn:spo:guest#kchristou@gsco.gov.gr::" providerId="AD" clId="Web-{C35932ED-8414-28FD-4A04-BD38E6014B4E}" dt="2025-07-22T13:01:09.925" v="5687" actId="1076"/>
          <ac:spMkLst>
            <pc:docMk/>
            <pc:sldMk cId="2395453747" sldId="279"/>
            <ac:spMk id="7" creationId="{81D34EB3-FF1F-7665-FDD8-180C03ACC9B7}"/>
          </ac:spMkLst>
        </pc:spChg>
        <pc:spChg chg="mod">
          <ac:chgData name="kchristou@gsco.gov.gr" userId="S::urn:spo:guest#kchristou@gsco.gov.gr::" providerId="AD" clId="Web-{C35932ED-8414-28FD-4A04-BD38E6014B4E}" dt="2025-07-22T13:01:28.614" v="5691" actId="1076"/>
          <ac:spMkLst>
            <pc:docMk/>
            <pc:sldMk cId="2395453747" sldId="279"/>
            <ac:spMk id="8" creationId="{9AFD8FE8-C7FF-4928-DFF4-A1F4B5A64D12}"/>
          </ac:spMkLst>
        </pc:spChg>
        <pc:spChg chg="add del mod">
          <ac:chgData name="kchristou@gsco.gov.gr" userId="S::urn:spo:guest#kchristou@gsco.gov.gr::" providerId="AD" clId="Web-{C35932ED-8414-28FD-4A04-BD38E6014B4E}" dt="2025-07-22T10:56:14.510" v="5067"/>
          <ac:spMkLst>
            <pc:docMk/>
            <pc:sldMk cId="2395453747" sldId="279"/>
            <ac:spMk id="9" creationId="{9A963F2D-884E-3D1C-CEAD-629C458EE6E0}"/>
          </ac:spMkLst>
        </pc:spChg>
        <pc:spChg chg="add mod">
          <ac:chgData name="kchristou@gsco.gov.gr" userId="S::urn:spo:guest#kchristou@gsco.gov.gr::" providerId="AD" clId="Web-{C35932ED-8414-28FD-4A04-BD38E6014B4E}" dt="2025-07-22T12:58:24.997" v="5665" actId="1076"/>
          <ac:spMkLst>
            <pc:docMk/>
            <pc:sldMk cId="2395453747" sldId="279"/>
            <ac:spMk id="9" creationId="{C938718F-9283-E540-BE2B-01C6EF0C99E2}"/>
          </ac:spMkLst>
        </pc:spChg>
        <pc:spChg chg="add mod">
          <ac:chgData name="kchristou@gsco.gov.gr" userId="S::urn:spo:guest#kchristou@gsco.gov.gr::" providerId="AD" clId="Web-{C35932ED-8414-28FD-4A04-BD38E6014B4E}" dt="2025-07-22T10:56:35.557" v="5073" actId="14100"/>
          <ac:spMkLst>
            <pc:docMk/>
            <pc:sldMk cId="2395453747" sldId="279"/>
            <ac:spMk id="11" creationId="{33876B89-7E2D-BB50-9EC2-E00022F77F56}"/>
          </ac:spMkLst>
        </pc:spChg>
        <pc:spChg chg="add mod">
          <ac:chgData name="kchristou@gsco.gov.gr" userId="S::urn:spo:guest#kchristou@gsco.gov.gr::" providerId="AD" clId="Web-{C35932ED-8414-28FD-4A04-BD38E6014B4E}" dt="2025-07-22T13:02:08.193" v="5700" actId="1076"/>
          <ac:spMkLst>
            <pc:docMk/>
            <pc:sldMk cId="2395453747" sldId="279"/>
            <ac:spMk id="12" creationId="{B8891765-7DA3-B472-FDD5-ECCF59CAC2B1}"/>
          </ac:spMkLst>
        </pc:spChg>
        <pc:spChg chg="add mod">
          <ac:chgData name="kchristou@gsco.gov.gr" userId="S::urn:spo:guest#kchristou@gsco.gov.gr::" providerId="AD" clId="Web-{C35932ED-8414-28FD-4A04-BD38E6014B4E}" dt="2025-07-22T13:01:47.364" v="5694" actId="1076"/>
          <ac:spMkLst>
            <pc:docMk/>
            <pc:sldMk cId="2395453747" sldId="279"/>
            <ac:spMk id="15" creationId="{9114572C-3316-C090-8605-B82B60A20870}"/>
          </ac:spMkLst>
        </pc:spChg>
        <pc:spChg chg="add mod">
          <ac:chgData name="kchristou@gsco.gov.gr" userId="S::urn:spo:guest#kchristou@gsco.gov.gr::" providerId="AD" clId="Web-{C35932ED-8414-28FD-4A04-BD38E6014B4E}" dt="2025-07-22T13:01:21.488" v="5690" actId="1076"/>
          <ac:spMkLst>
            <pc:docMk/>
            <pc:sldMk cId="2395453747" sldId="279"/>
            <ac:spMk id="17" creationId="{A6788291-91BC-4DC7-66C5-8E35FFA82A9A}"/>
          </ac:spMkLst>
        </pc:spChg>
        <pc:spChg chg="add mod">
          <ac:chgData name="kchristou@gsco.gov.gr" userId="S::urn:spo:guest#kchristou@gsco.gov.gr::" providerId="AD" clId="Web-{C35932ED-8414-28FD-4A04-BD38E6014B4E}" dt="2025-07-22T13:01:19.348" v="5689" actId="1076"/>
          <ac:spMkLst>
            <pc:docMk/>
            <pc:sldMk cId="2395453747" sldId="279"/>
            <ac:spMk id="19" creationId="{8C9B7FB4-E5B5-1C68-E83A-A62229C6A212}"/>
          </ac:spMkLst>
        </pc:spChg>
        <pc:spChg chg="add mod">
          <ac:chgData name="kchristou@gsco.gov.gr" userId="S::urn:spo:guest#kchristou@gsco.gov.gr::" providerId="AD" clId="Web-{C35932ED-8414-28FD-4A04-BD38E6014B4E}" dt="2025-07-22T13:02:05.601" v="5699" actId="1076"/>
          <ac:spMkLst>
            <pc:docMk/>
            <pc:sldMk cId="2395453747" sldId="279"/>
            <ac:spMk id="21" creationId="{76270BEE-3502-B9DB-5FD0-B96851F5CDB1}"/>
          </ac:spMkLst>
        </pc:spChg>
        <pc:spChg chg="del">
          <ac:chgData name="kchristou@gsco.gov.gr" userId="S::urn:spo:guest#kchristou@gsco.gov.gr::" providerId="AD" clId="Web-{C35932ED-8414-28FD-4A04-BD38E6014B4E}" dt="2025-07-22T10:56:05.447" v="5066"/>
          <ac:spMkLst>
            <pc:docMk/>
            <pc:sldMk cId="2395453747" sldId="279"/>
            <ac:spMk id="82" creationId="{5A2DA415-6EBC-AB9E-C495-CF62FBE5615C}"/>
          </ac:spMkLst>
        </pc:spChg>
        <pc:spChg chg="mod">
          <ac:chgData name="kchristou@gsco.gov.gr" userId="S::urn:spo:guest#kchristou@gsco.gov.gr::" providerId="AD" clId="Web-{C35932ED-8414-28FD-4A04-BD38E6014B4E}" dt="2025-07-22T12:57:07.056" v="5625"/>
          <ac:spMkLst>
            <pc:docMk/>
            <pc:sldMk cId="2395453747" sldId="279"/>
            <ac:spMk id="1476" creationId="{A60BE08E-5A84-208D-66A4-A44DC826F417}"/>
          </ac:spMkLst>
        </pc:spChg>
        <pc:spChg chg="mod">
          <ac:chgData name="kchristou@gsco.gov.gr" userId="S::urn:spo:guest#kchristou@gsco.gov.gr::" providerId="AD" clId="Web-{C35932ED-8414-28FD-4A04-BD38E6014B4E}" dt="2025-07-22T12:57:07.056" v="5626"/>
          <ac:spMkLst>
            <pc:docMk/>
            <pc:sldMk cId="2395453747" sldId="279"/>
            <ac:spMk id="1477" creationId="{577A07D1-19F1-3197-C8AD-EA092B95942B}"/>
          </ac:spMkLst>
        </pc:spChg>
        <pc:spChg chg="mod">
          <ac:chgData name="kchristou@gsco.gov.gr" userId="S::urn:spo:guest#kchristou@gsco.gov.gr::" providerId="AD" clId="Web-{C35932ED-8414-28FD-4A04-BD38E6014B4E}" dt="2025-07-22T12:57:14.838" v="5644" actId="20577"/>
          <ac:spMkLst>
            <pc:docMk/>
            <pc:sldMk cId="2395453747" sldId="279"/>
            <ac:spMk id="1480" creationId="{D97555DB-A771-9F1F-62F8-637398738136}"/>
          </ac:spMkLst>
        </pc:spChg>
        <pc:spChg chg="mod">
          <ac:chgData name="kchristou@gsco.gov.gr" userId="S::urn:spo:guest#kchristou@gsco.gov.gr::" providerId="AD" clId="Web-{C35932ED-8414-28FD-4A04-BD38E6014B4E}" dt="2025-07-22T12:57:07.056" v="5627"/>
          <ac:spMkLst>
            <pc:docMk/>
            <pc:sldMk cId="2395453747" sldId="279"/>
            <ac:spMk id="1483" creationId="{35427DBE-5139-0DE1-B3FC-8BE608D75397}"/>
          </ac:spMkLst>
        </pc:spChg>
        <pc:spChg chg="mod">
          <ac:chgData name="kchristou@gsco.gov.gr" userId="S::urn:spo:guest#kchristou@gsco.gov.gr::" providerId="AD" clId="Web-{C35932ED-8414-28FD-4A04-BD38E6014B4E}" dt="2025-07-22T12:57:07.056" v="5628"/>
          <ac:spMkLst>
            <pc:docMk/>
            <pc:sldMk cId="2395453747" sldId="279"/>
            <ac:spMk id="1484" creationId="{DEAABC7B-F19E-4D04-80A1-A5A53358BE80}"/>
          </ac:spMkLst>
        </pc:spChg>
        <pc:spChg chg="mod">
          <ac:chgData name="kchristou@gsco.gov.gr" userId="S::urn:spo:guest#kchristou@gsco.gov.gr::" providerId="AD" clId="Web-{C35932ED-8414-28FD-4A04-BD38E6014B4E}" dt="2025-07-22T12:58:43.560" v="5668" actId="1076"/>
          <ac:spMkLst>
            <pc:docMk/>
            <pc:sldMk cId="2395453747" sldId="279"/>
            <ac:spMk id="1491" creationId="{7869A7C1-65E7-9699-43CF-37C1DE3D437A}"/>
          </ac:spMkLst>
        </pc:spChg>
        <pc:spChg chg="mod">
          <ac:chgData name="kchristou@gsco.gov.gr" userId="S::urn:spo:guest#kchristou@gsco.gov.gr::" providerId="AD" clId="Web-{C35932ED-8414-28FD-4A04-BD38E6014B4E}" dt="2025-07-22T12:57:07.056" v="5630"/>
          <ac:spMkLst>
            <pc:docMk/>
            <pc:sldMk cId="2395453747" sldId="279"/>
            <ac:spMk id="1494" creationId="{37D6D611-B9A9-170F-EACC-D809AFD4B647}"/>
          </ac:spMkLst>
        </pc:spChg>
        <pc:spChg chg="mod">
          <ac:chgData name="kchristou@gsco.gov.gr" userId="S::urn:spo:guest#kchristou@gsco.gov.gr::" providerId="AD" clId="Web-{C35932ED-8414-28FD-4A04-BD38E6014B4E}" dt="2025-07-22T12:57:07.056" v="5631"/>
          <ac:spMkLst>
            <pc:docMk/>
            <pc:sldMk cId="2395453747" sldId="279"/>
            <ac:spMk id="1495" creationId="{8DF90F56-6EAE-D9D1-D6E1-5CA143DBE031}"/>
          </ac:spMkLst>
        </pc:spChg>
        <pc:spChg chg="mod">
          <ac:chgData name="kchristou@gsco.gov.gr" userId="S::urn:spo:guest#kchristou@gsco.gov.gr::" providerId="AD" clId="Web-{C35932ED-8414-28FD-4A04-BD38E6014B4E}" dt="2025-07-22T12:57:07.056" v="5632"/>
          <ac:spMkLst>
            <pc:docMk/>
            <pc:sldMk cId="2395453747" sldId="279"/>
            <ac:spMk id="1502" creationId="{9493A091-B866-A25E-CBC3-C6EAA3255965}"/>
          </ac:spMkLst>
        </pc:spChg>
        <pc:spChg chg="mod">
          <ac:chgData name="kchristou@gsco.gov.gr" userId="S::urn:spo:guest#kchristou@gsco.gov.gr::" providerId="AD" clId="Web-{C35932ED-8414-28FD-4A04-BD38E6014B4E}" dt="2025-07-22T12:57:07.056" v="5633"/>
          <ac:spMkLst>
            <pc:docMk/>
            <pc:sldMk cId="2395453747" sldId="279"/>
            <ac:spMk id="1503" creationId="{DE8C578E-1D95-8998-0EBB-888184705715}"/>
          </ac:spMkLst>
        </pc:spChg>
        <pc:spChg chg="mod">
          <ac:chgData name="kchristou@gsco.gov.gr" userId="S::urn:spo:guest#kchristou@gsco.gov.gr::" providerId="AD" clId="Web-{C35932ED-8414-28FD-4A04-BD38E6014B4E}" dt="2025-07-22T12:58:47.935" v="5669" actId="1076"/>
          <ac:spMkLst>
            <pc:docMk/>
            <pc:sldMk cId="2395453747" sldId="279"/>
            <ac:spMk id="1510" creationId="{4DBE8B12-A9DD-2362-7C9B-5D023D4683D4}"/>
          </ac:spMkLst>
        </pc:spChg>
        <pc:spChg chg="mod">
          <ac:chgData name="kchristou@gsco.gov.gr" userId="S::urn:spo:guest#kchristou@gsco.gov.gr::" providerId="AD" clId="Web-{C35932ED-8414-28FD-4A04-BD38E6014B4E}" dt="2025-07-22T12:57:07.056" v="5635"/>
          <ac:spMkLst>
            <pc:docMk/>
            <pc:sldMk cId="2395453747" sldId="279"/>
            <ac:spMk id="1517" creationId="{967CF3E3-7295-0793-0CFB-B811BDCA3A46}"/>
          </ac:spMkLst>
        </pc:spChg>
        <pc:spChg chg="mod">
          <ac:chgData name="kchristou@gsco.gov.gr" userId="S::urn:spo:guest#kchristou@gsco.gov.gr::" providerId="AD" clId="Web-{C35932ED-8414-28FD-4A04-BD38E6014B4E}" dt="2025-07-22T12:57:07.056" v="5636"/>
          <ac:spMkLst>
            <pc:docMk/>
            <pc:sldMk cId="2395453747" sldId="279"/>
            <ac:spMk id="1518" creationId="{E1F6103D-71F9-C6A8-A971-328C563A90F4}"/>
          </ac:spMkLst>
        </pc:spChg>
        <pc:spChg chg="mod">
          <ac:chgData name="kchristou@gsco.gov.gr" userId="S::urn:spo:guest#kchristou@gsco.gov.gr::" providerId="AD" clId="Web-{C35932ED-8414-28FD-4A04-BD38E6014B4E}" dt="2025-07-22T12:58:57.592" v="5670" actId="1076"/>
          <ac:spMkLst>
            <pc:docMk/>
            <pc:sldMk cId="2395453747" sldId="279"/>
            <ac:spMk id="1522" creationId="{082F8036-FC8F-3719-D713-B88E6F4CA429}"/>
          </ac:spMkLst>
        </pc:spChg>
        <pc:spChg chg="mod">
          <ac:chgData name="kchristou@gsco.gov.gr" userId="S::urn:spo:guest#kchristou@gsco.gov.gr::" providerId="AD" clId="Web-{C35932ED-8414-28FD-4A04-BD38E6014B4E}" dt="2025-07-22T12:57:07.056" v="5637"/>
          <ac:spMkLst>
            <pc:docMk/>
            <pc:sldMk cId="2395453747" sldId="279"/>
            <ac:spMk id="1524" creationId="{EAEDA5C8-FC50-0B4E-47DF-06BDCC6B9927}"/>
          </ac:spMkLst>
        </pc:spChg>
        <pc:spChg chg="mod">
          <ac:chgData name="kchristou@gsco.gov.gr" userId="S::urn:spo:guest#kchristou@gsco.gov.gr::" providerId="AD" clId="Web-{C35932ED-8414-28FD-4A04-BD38E6014B4E}" dt="2025-07-22T12:57:07.056" v="5638"/>
          <ac:spMkLst>
            <pc:docMk/>
            <pc:sldMk cId="2395453747" sldId="279"/>
            <ac:spMk id="1525" creationId="{AADFBB99-F9F1-3AA3-DB02-2FE653E41B25}"/>
          </ac:spMkLst>
        </pc:spChg>
        <pc:spChg chg="mod">
          <ac:chgData name="kchristou@gsco.gov.gr" userId="S::urn:spo:guest#kchristou@gsco.gov.gr::" providerId="AD" clId="Web-{C35932ED-8414-28FD-4A04-BD38E6014B4E}" dt="2025-07-22T12:57:07.056" v="5639"/>
          <ac:spMkLst>
            <pc:docMk/>
            <pc:sldMk cId="2395453747" sldId="279"/>
            <ac:spMk id="1533" creationId="{B0372687-CCC9-9FF8-5BCB-D320447D755A}"/>
          </ac:spMkLst>
        </pc:spChg>
        <pc:spChg chg="mod">
          <ac:chgData name="kchristou@gsco.gov.gr" userId="S::urn:spo:guest#kchristou@gsco.gov.gr::" providerId="AD" clId="Web-{C35932ED-8414-28FD-4A04-BD38E6014B4E}" dt="2025-07-22T12:57:07.056" v="5640"/>
          <ac:spMkLst>
            <pc:docMk/>
            <pc:sldMk cId="2395453747" sldId="279"/>
            <ac:spMk id="1534" creationId="{1A5672CE-AACD-D8FB-DBE4-A75D85CF0374}"/>
          </ac:spMkLst>
        </pc:spChg>
        <pc:spChg chg="mod">
          <ac:chgData name="kchristou@gsco.gov.gr" userId="S::urn:spo:guest#kchristou@gsco.gov.gr::" providerId="AD" clId="Web-{C35932ED-8414-28FD-4A04-BD38E6014B4E}" dt="2025-07-22T12:57:07.056" v="5641"/>
          <ac:spMkLst>
            <pc:docMk/>
            <pc:sldMk cId="2395453747" sldId="279"/>
            <ac:spMk id="1540" creationId="{64F3599E-EF1E-F165-74B9-39D1B552F2AF}"/>
          </ac:spMkLst>
        </pc:spChg>
        <pc:spChg chg="mod">
          <ac:chgData name="kchristou@gsco.gov.gr" userId="S::urn:spo:guest#kchristou@gsco.gov.gr::" providerId="AD" clId="Web-{C35932ED-8414-28FD-4A04-BD38E6014B4E}" dt="2025-07-22T12:57:07.056" v="5642"/>
          <ac:spMkLst>
            <pc:docMk/>
            <pc:sldMk cId="2395453747" sldId="279"/>
            <ac:spMk id="1541" creationId="{24F5F19E-EFB8-A064-4AFD-695958EF1302}"/>
          </ac:spMkLst>
        </pc:spChg>
        <pc:cxnChg chg="add">
          <ac:chgData name="kchristou@gsco.gov.gr" userId="S::urn:spo:guest#kchristou@gsco.gov.gr::" providerId="AD" clId="Web-{C35932ED-8414-28FD-4A04-BD38E6014B4E}" dt="2025-07-22T10:56:21.963" v="5069"/>
          <ac:cxnSpMkLst>
            <pc:docMk/>
            <pc:sldMk cId="2395453747" sldId="279"/>
            <ac:cxnSpMk id="13" creationId="{6A126171-B1E1-989C-CB54-17581AD85A47}"/>
          </ac:cxnSpMkLst>
        </pc:cxnChg>
      </pc:sldChg>
      <pc:sldChg chg="del">
        <pc:chgData name="kchristou@gsco.gov.gr" userId="S::urn:spo:guest#kchristou@gsco.gov.gr::" providerId="AD" clId="Web-{C35932ED-8414-28FD-4A04-BD38E6014B4E}" dt="2025-07-22T13:27:51.490" v="6255"/>
        <pc:sldMkLst>
          <pc:docMk/>
          <pc:sldMk cId="2207159038" sldId="835"/>
        </pc:sldMkLst>
      </pc:sldChg>
      <pc:sldChg chg="del">
        <pc:chgData name="kchristou@gsco.gov.gr" userId="S::urn:spo:guest#kchristou@gsco.gov.gr::" providerId="AD" clId="Web-{C35932ED-8414-28FD-4A04-BD38E6014B4E}" dt="2025-07-22T13:34:57.695" v="6311"/>
        <pc:sldMkLst>
          <pc:docMk/>
          <pc:sldMk cId="2035213608" sldId="1184"/>
        </pc:sldMkLst>
      </pc:sldChg>
      <pc:sldChg chg="modSp del">
        <pc:chgData name="kchristou@gsco.gov.gr" userId="S::urn:spo:guest#kchristou@gsco.gov.gr::" providerId="AD" clId="Web-{C35932ED-8414-28FD-4A04-BD38E6014B4E}" dt="2025-07-22T13:35:12.492" v="6312"/>
        <pc:sldMkLst>
          <pc:docMk/>
          <pc:sldMk cId="2736772068" sldId="1216"/>
        </pc:sldMkLst>
        <pc:spChg chg="mod">
          <ac:chgData name="kchristou@gsco.gov.gr" userId="S::urn:spo:guest#kchristou@gsco.gov.gr::" providerId="AD" clId="Web-{C35932ED-8414-28FD-4A04-BD38E6014B4E}" dt="2025-07-22T13:27:41.365" v="6254" actId="20577"/>
          <ac:spMkLst>
            <pc:docMk/>
            <pc:sldMk cId="2736772068" sldId="1216"/>
            <ac:spMk id="154" creationId="{D743D0CC-FC3E-7BCC-839B-7C4A7BF35964}"/>
          </ac:spMkLst>
        </pc:spChg>
      </pc:sldChg>
      <pc:sldChg chg="modSp">
        <pc:chgData name="kchristou@gsco.gov.gr" userId="S::urn:spo:guest#kchristou@gsco.gov.gr::" providerId="AD" clId="Web-{C35932ED-8414-28FD-4A04-BD38E6014B4E}" dt="2025-07-22T15:16:04.143" v="8013" actId="20577"/>
        <pc:sldMkLst>
          <pc:docMk/>
          <pc:sldMk cId="2084428776" sldId="1257"/>
        </pc:sldMkLst>
        <pc:spChg chg="mod">
          <ac:chgData name="kchristou@gsco.gov.gr" userId="S::urn:spo:guest#kchristou@gsco.gov.gr::" providerId="AD" clId="Web-{C35932ED-8414-28FD-4A04-BD38E6014B4E}" dt="2025-07-22T15:16:04.143" v="8013" actId="20577"/>
          <ac:spMkLst>
            <pc:docMk/>
            <pc:sldMk cId="2084428776" sldId="1257"/>
            <ac:spMk id="9" creationId="{BDD1ADA9-BE1F-E0C0-498F-0DA24445E568}"/>
          </ac:spMkLst>
        </pc:spChg>
      </pc:sldChg>
      <pc:sldChg chg="modSp">
        <pc:chgData name="kchristou@gsco.gov.gr" userId="S::urn:spo:guest#kchristou@gsco.gov.gr::" providerId="AD" clId="Web-{C35932ED-8414-28FD-4A04-BD38E6014B4E}" dt="2025-07-22T08:29:41.798" v="651" actId="1076"/>
        <pc:sldMkLst>
          <pc:docMk/>
          <pc:sldMk cId="0" sldId="1321"/>
        </pc:sldMkLst>
        <pc:spChg chg="mod">
          <ac:chgData name="kchristou@gsco.gov.gr" userId="S::urn:spo:guest#kchristou@gsco.gov.gr::" providerId="AD" clId="Web-{C35932ED-8414-28FD-4A04-BD38E6014B4E}" dt="2025-07-22T08:29:41.798" v="651" actId="1076"/>
          <ac:spMkLst>
            <pc:docMk/>
            <pc:sldMk cId="0" sldId="1321"/>
            <ac:spMk id="28" creationId="{A2D68E18-F01C-2087-E4BB-428726E0843A}"/>
          </ac:spMkLst>
        </pc:spChg>
      </pc:sldChg>
      <pc:sldChg chg="del">
        <pc:chgData name="kchristou@gsco.gov.gr" userId="S::urn:spo:guest#kchristou@gsco.gov.gr::" providerId="AD" clId="Web-{C35932ED-8414-28FD-4A04-BD38E6014B4E}" dt="2025-07-22T10:35:04.658" v="4384"/>
        <pc:sldMkLst>
          <pc:docMk/>
          <pc:sldMk cId="3765546581" sldId="1336"/>
        </pc:sldMkLst>
      </pc:sldChg>
      <pc:sldChg chg="del">
        <pc:chgData name="kchristou@gsco.gov.gr" userId="S::urn:spo:guest#kchristou@gsco.gov.gr::" providerId="AD" clId="Web-{C35932ED-8414-28FD-4A04-BD38E6014B4E}" dt="2025-07-22T10:35:28.815" v="4389"/>
        <pc:sldMkLst>
          <pc:docMk/>
          <pc:sldMk cId="1674435858" sldId="1337"/>
        </pc:sldMkLst>
      </pc:sldChg>
      <pc:sldChg chg="addSp delSp modSp">
        <pc:chgData name="kchristou@gsco.gov.gr" userId="S::urn:spo:guest#kchristou@gsco.gov.gr::" providerId="AD" clId="Web-{C35932ED-8414-28FD-4A04-BD38E6014B4E}" dt="2025-07-22T14:16:50.546" v="7113" actId="1076"/>
        <pc:sldMkLst>
          <pc:docMk/>
          <pc:sldMk cId="773167784" sldId="1425"/>
        </pc:sldMkLst>
        <pc:spChg chg="add mod">
          <ac:chgData name="kchristou@gsco.gov.gr" userId="S::urn:spo:guest#kchristou@gsco.gov.gr::" providerId="AD" clId="Web-{C35932ED-8414-28FD-4A04-BD38E6014B4E}" dt="2025-07-22T14:13:48.164" v="7104" actId="1076"/>
          <ac:spMkLst>
            <pc:docMk/>
            <pc:sldMk cId="773167784" sldId="1425"/>
            <ac:spMk id="2" creationId="{FE310346-1034-C4CC-2912-090C15E6AA1B}"/>
          </ac:spMkLst>
        </pc:spChg>
        <pc:spChg chg="add mod">
          <ac:chgData name="kchristou@gsco.gov.gr" userId="S::urn:spo:guest#kchristou@gsco.gov.gr::" providerId="AD" clId="Web-{C35932ED-8414-28FD-4A04-BD38E6014B4E}" dt="2025-07-22T14:14:31.853" v="7112" actId="1076"/>
          <ac:spMkLst>
            <pc:docMk/>
            <pc:sldMk cId="773167784" sldId="1425"/>
            <ac:spMk id="3" creationId="{97E9C5DB-7906-3C33-63E2-B6C86143D044}"/>
          </ac:spMkLst>
        </pc:spChg>
        <pc:spChg chg="add mod">
          <ac:chgData name="kchristou@gsco.gov.gr" userId="S::urn:spo:guest#kchristou@gsco.gov.gr::" providerId="AD" clId="Web-{C35932ED-8414-28FD-4A04-BD38E6014B4E}" dt="2025-07-22T14:11:51.862" v="7082" actId="1076"/>
          <ac:spMkLst>
            <pc:docMk/>
            <pc:sldMk cId="773167784" sldId="1425"/>
            <ac:spMk id="4" creationId="{539C84EB-0F12-B240-F05E-657386377C8B}"/>
          </ac:spMkLst>
        </pc:spChg>
        <pc:spChg chg="add mod">
          <ac:chgData name="kchristou@gsco.gov.gr" userId="S::urn:spo:guest#kchristou@gsco.gov.gr::" providerId="AD" clId="Web-{C35932ED-8414-28FD-4A04-BD38E6014B4E}" dt="2025-07-22T14:11:47.518" v="7081" actId="1076"/>
          <ac:spMkLst>
            <pc:docMk/>
            <pc:sldMk cId="773167784" sldId="1425"/>
            <ac:spMk id="6" creationId="{50D7C314-2C92-8CC8-9202-8EE625EF4D0E}"/>
          </ac:spMkLst>
        </pc:spChg>
        <pc:spChg chg="mod">
          <ac:chgData name="kchristou@gsco.gov.gr" userId="S::urn:spo:guest#kchristou@gsco.gov.gr::" providerId="AD" clId="Web-{C35932ED-8414-28FD-4A04-BD38E6014B4E}" dt="2025-07-22T14:03:46.483" v="6668" actId="20577"/>
          <ac:spMkLst>
            <pc:docMk/>
            <pc:sldMk cId="773167784" sldId="1425"/>
            <ac:spMk id="7" creationId="{4EDBA7AA-78C5-4E8C-718D-D5AC33449018}"/>
          </ac:spMkLst>
        </pc:spChg>
        <pc:spChg chg="add del mod">
          <ac:chgData name="kchristou@gsco.gov.gr" userId="S::urn:spo:guest#kchristou@gsco.gov.gr::" providerId="AD" clId="Web-{C35932ED-8414-28FD-4A04-BD38E6014B4E}" dt="2025-07-22T14:06:35.084" v="6849"/>
          <ac:spMkLst>
            <pc:docMk/>
            <pc:sldMk cId="773167784" sldId="1425"/>
            <ac:spMk id="8" creationId="{E6E66535-68FE-2184-405A-D79C32B8DD0E}"/>
          </ac:spMkLst>
        </pc:spChg>
        <pc:spChg chg="add del mod">
          <ac:chgData name="kchristou@gsco.gov.gr" userId="S::urn:spo:guest#kchristou@gsco.gov.gr::" providerId="AD" clId="Web-{C35932ED-8414-28FD-4A04-BD38E6014B4E}" dt="2025-07-22T14:14:20.728" v="7110"/>
          <ac:spMkLst>
            <pc:docMk/>
            <pc:sldMk cId="773167784" sldId="1425"/>
            <ac:spMk id="9" creationId="{8B7A142B-E416-DA1C-C454-E9E086AC0CF4}"/>
          </ac:spMkLst>
        </pc:spChg>
        <pc:spChg chg="add del mod">
          <ac:chgData name="kchristou@gsco.gov.gr" userId="S::urn:spo:guest#kchristou@gsco.gov.gr::" providerId="AD" clId="Web-{C35932ED-8414-28FD-4A04-BD38E6014B4E}" dt="2025-07-22T14:04:02.671" v="6674"/>
          <ac:spMkLst>
            <pc:docMk/>
            <pc:sldMk cId="773167784" sldId="1425"/>
            <ac:spMk id="10" creationId="{AD7B445A-8AD6-DA00-776F-3C10DADC638A}"/>
          </ac:spMkLst>
        </pc:spChg>
        <pc:spChg chg="add mod">
          <ac:chgData name="kchristou@gsco.gov.gr" userId="S::urn:spo:guest#kchristou@gsco.gov.gr::" providerId="AD" clId="Web-{C35932ED-8414-28FD-4A04-BD38E6014B4E}" dt="2025-07-22T14:16:50.546" v="7113" actId="1076"/>
          <ac:spMkLst>
            <pc:docMk/>
            <pc:sldMk cId="773167784" sldId="1425"/>
            <ac:spMk id="12" creationId="{160C68F2-6C8E-7100-D0F7-18BF01E7F77F}"/>
          </ac:spMkLst>
        </pc:spChg>
        <pc:spChg chg="mod">
          <ac:chgData name="kchristou@gsco.gov.gr" userId="S::urn:spo:guest#kchristou@gsco.gov.gr::" providerId="AD" clId="Web-{C35932ED-8414-28FD-4A04-BD38E6014B4E}" dt="2025-07-22T14:00:05.818" v="6656" actId="1076"/>
          <ac:spMkLst>
            <pc:docMk/>
            <pc:sldMk cId="773167784" sldId="1425"/>
            <ac:spMk id="24" creationId="{1269B2A4-9882-01CD-DA20-53C68D54542E}"/>
          </ac:spMkLst>
        </pc:spChg>
        <pc:spChg chg="mod">
          <ac:chgData name="kchristou@gsco.gov.gr" userId="S::urn:spo:guest#kchristou@gsco.gov.gr::" providerId="AD" clId="Web-{C35932ED-8414-28FD-4A04-BD38E6014B4E}" dt="2025-07-22T14:05:17.706" v="6738" actId="1076"/>
          <ac:spMkLst>
            <pc:docMk/>
            <pc:sldMk cId="773167784" sldId="1425"/>
            <ac:spMk id="30" creationId="{A6CCC9A4-8256-99CF-8C60-B77251FD1142}"/>
          </ac:spMkLst>
        </pc:spChg>
        <pc:spChg chg="mod">
          <ac:chgData name="kchristou@gsco.gov.gr" userId="S::urn:spo:guest#kchristou@gsco.gov.gr::" providerId="AD" clId="Web-{C35932ED-8414-28FD-4A04-BD38E6014B4E}" dt="2025-07-22T14:05:17.784" v="6739" actId="1076"/>
          <ac:spMkLst>
            <pc:docMk/>
            <pc:sldMk cId="773167784" sldId="1425"/>
            <ac:spMk id="31" creationId="{011F5A8F-D726-52D1-F044-4E2E4F747175}"/>
          </ac:spMkLst>
        </pc:spChg>
        <pc:spChg chg="mod">
          <ac:chgData name="kchristou@gsco.gov.gr" userId="S::urn:spo:guest#kchristou@gsco.gov.gr::" providerId="AD" clId="Web-{C35932ED-8414-28FD-4A04-BD38E6014B4E}" dt="2025-07-22T14:05:17.831" v="6740" actId="1076"/>
          <ac:spMkLst>
            <pc:docMk/>
            <pc:sldMk cId="773167784" sldId="1425"/>
            <ac:spMk id="35" creationId="{A1CFAA10-9B21-FD7C-31B6-B87E183A525F}"/>
          </ac:spMkLst>
        </pc:spChg>
        <pc:spChg chg="mod">
          <ac:chgData name="kchristou@gsco.gov.gr" userId="S::urn:spo:guest#kchristou@gsco.gov.gr::" providerId="AD" clId="Web-{C35932ED-8414-28FD-4A04-BD38E6014B4E}" dt="2025-07-22T14:05:17.909" v="6741" actId="1076"/>
          <ac:spMkLst>
            <pc:docMk/>
            <pc:sldMk cId="773167784" sldId="1425"/>
            <ac:spMk id="36" creationId="{9E9B1F5C-5F4B-1631-8B72-7756CFE435BA}"/>
          </ac:spMkLst>
        </pc:spChg>
      </pc:sldChg>
      <pc:sldChg chg="addSp delSp modSp">
        <pc:chgData name="kchristou@gsco.gov.gr" userId="S::urn:spo:guest#kchristou@gsco.gov.gr::" providerId="AD" clId="Web-{C35932ED-8414-28FD-4A04-BD38E6014B4E}" dt="2025-07-22T14:28:03.292" v="7441" actId="14100"/>
        <pc:sldMkLst>
          <pc:docMk/>
          <pc:sldMk cId="0" sldId="1468"/>
        </pc:sldMkLst>
        <pc:spChg chg="add del mod">
          <ac:chgData name="kchristou@gsco.gov.gr" userId="S::urn:spo:guest#kchristou@gsco.gov.gr::" providerId="AD" clId="Web-{C35932ED-8414-28FD-4A04-BD38E6014B4E}" dt="2025-07-22T14:19:36.365" v="7152"/>
          <ac:spMkLst>
            <pc:docMk/>
            <pc:sldMk cId="0" sldId="1468"/>
            <ac:spMk id="2" creationId="{79A4C964-623C-29EC-D27F-28A52F0C216F}"/>
          </ac:spMkLst>
        </pc:spChg>
        <pc:spChg chg="add del mod">
          <ac:chgData name="kchristou@gsco.gov.gr" userId="S::urn:spo:guest#kchristou@gsco.gov.gr::" providerId="AD" clId="Web-{C35932ED-8414-28FD-4A04-BD38E6014B4E}" dt="2025-07-22T14:19:36.365" v="7151"/>
          <ac:spMkLst>
            <pc:docMk/>
            <pc:sldMk cId="0" sldId="1468"/>
            <ac:spMk id="3" creationId="{FAC07972-35F4-F21B-CC04-C4E9B2AAD98F}"/>
          </ac:spMkLst>
        </pc:spChg>
        <pc:spChg chg="add del mod">
          <ac:chgData name="kchristou@gsco.gov.gr" userId="S::urn:spo:guest#kchristou@gsco.gov.gr::" providerId="AD" clId="Web-{C35932ED-8414-28FD-4A04-BD38E6014B4E}" dt="2025-07-22T14:19:36.365" v="7150"/>
          <ac:spMkLst>
            <pc:docMk/>
            <pc:sldMk cId="0" sldId="1468"/>
            <ac:spMk id="4" creationId="{74BB1976-072E-5497-C350-758B7B85D134}"/>
          </ac:spMkLst>
        </pc:spChg>
        <pc:spChg chg="add del mod">
          <ac:chgData name="kchristou@gsco.gov.gr" userId="S::urn:spo:guest#kchristou@gsco.gov.gr::" providerId="AD" clId="Web-{C35932ED-8414-28FD-4A04-BD38E6014B4E}" dt="2025-07-22T14:19:36.365" v="7149"/>
          <ac:spMkLst>
            <pc:docMk/>
            <pc:sldMk cId="0" sldId="1468"/>
            <ac:spMk id="5" creationId="{4334913E-A277-ACD3-B610-320650506D7D}"/>
          </ac:spMkLst>
        </pc:spChg>
        <pc:spChg chg="add mod">
          <ac:chgData name="kchristou@gsco.gov.gr" userId="S::urn:spo:guest#kchristou@gsco.gov.gr::" providerId="AD" clId="Web-{C35932ED-8414-28FD-4A04-BD38E6014B4E}" dt="2025-07-22T14:28:03.292" v="7441" actId="14100"/>
          <ac:spMkLst>
            <pc:docMk/>
            <pc:sldMk cId="0" sldId="1468"/>
            <ac:spMk id="6" creationId="{67DE8A3C-454E-284E-65D4-BE6A995FF015}"/>
          </ac:spMkLst>
        </pc:spChg>
        <pc:spChg chg="mod">
          <ac:chgData name="kchristou@gsco.gov.gr" userId="S::urn:spo:guest#kchristou@gsco.gov.gr::" providerId="AD" clId="Web-{C35932ED-8414-28FD-4A04-BD38E6014B4E}" dt="2025-07-22T14:20:08.570" v="7194" actId="20577"/>
          <ac:spMkLst>
            <pc:docMk/>
            <pc:sldMk cId="0" sldId="1468"/>
            <ac:spMk id="7" creationId="{42D900E0-5A42-1464-131C-4705BC1B352D}"/>
          </ac:spMkLst>
        </pc:spChg>
        <pc:spChg chg="add mod">
          <ac:chgData name="kchristou@gsco.gov.gr" userId="S::urn:spo:guest#kchristou@gsco.gov.gr::" providerId="AD" clId="Web-{C35932ED-8414-28FD-4A04-BD38E6014B4E}" dt="2025-07-22T14:21:56.262" v="7235" actId="20577"/>
          <ac:spMkLst>
            <pc:docMk/>
            <pc:sldMk cId="0" sldId="1468"/>
            <ac:spMk id="8" creationId="{B7A28AEC-C2B9-CA8C-583E-0849D82190B5}"/>
          </ac:spMkLst>
        </pc:spChg>
        <pc:spChg chg="add del mod">
          <ac:chgData name="kchristou@gsco.gov.gr" userId="S::urn:spo:guest#kchristou@gsco.gov.gr::" providerId="AD" clId="Web-{C35932ED-8414-28FD-4A04-BD38E6014B4E}" dt="2025-07-22T14:25:10.785" v="7414"/>
          <ac:spMkLst>
            <pc:docMk/>
            <pc:sldMk cId="0" sldId="1468"/>
            <ac:spMk id="10" creationId="{0F866B1C-9C44-4C91-E5C6-070847B632A2}"/>
          </ac:spMkLst>
        </pc:spChg>
        <pc:spChg chg="mod">
          <ac:chgData name="kchristou@gsco.gov.gr" userId="S::urn:spo:guest#kchristou@gsco.gov.gr::" providerId="AD" clId="Web-{C35932ED-8414-28FD-4A04-BD38E6014B4E}" dt="2025-07-22T14:19:51.725" v="7161" actId="1076"/>
          <ac:spMkLst>
            <pc:docMk/>
            <pc:sldMk cId="0" sldId="1468"/>
            <ac:spMk id="11" creationId="{3CEBBD6B-5994-26D3-8431-8EC598A1A63E}"/>
          </ac:spMkLst>
        </pc:spChg>
        <pc:spChg chg="add mod">
          <ac:chgData name="kchristou@gsco.gov.gr" userId="S::urn:spo:guest#kchristou@gsco.gov.gr::" providerId="AD" clId="Web-{C35932ED-8414-28FD-4A04-BD38E6014B4E}" dt="2025-07-22T14:27:51.198" v="7439" actId="1076"/>
          <ac:spMkLst>
            <pc:docMk/>
            <pc:sldMk cId="0" sldId="1468"/>
            <ac:spMk id="12" creationId="{6CD7C697-0F67-9D5E-E9E6-6017710DF89E}"/>
          </ac:spMkLst>
        </pc:spChg>
        <pc:spChg chg="mod">
          <ac:chgData name="kchristou@gsco.gov.gr" userId="S::urn:spo:guest#kchristou@gsco.gov.gr::" providerId="AD" clId="Web-{C35932ED-8414-28FD-4A04-BD38E6014B4E}" dt="2025-07-22T14:20:18.601" v="7204" actId="20577"/>
          <ac:spMkLst>
            <pc:docMk/>
            <pc:sldMk cId="0" sldId="1468"/>
            <ac:spMk id="13" creationId="{56AC5970-CEC5-504B-C824-73718DA2C925}"/>
          </ac:spMkLst>
        </pc:spChg>
        <pc:spChg chg="add mod">
          <ac:chgData name="kchristou@gsco.gov.gr" userId="S::urn:spo:guest#kchristou@gsco.gov.gr::" providerId="AD" clId="Web-{C35932ED-8414-28FD-4A04-BD38E6014B4E}" dt="2025-07-22T14:26:56.617" v="7436" actId="20577"/>
          <ac:spMkLst>
            <pc:docMk/>
            <pc:sldMk cId="0" sldId="1468"/>
            <ac:spMk id="14" creationId="{FB6DE809-C670-68FC-DE37-5EFF04F2EACB}"/>
          </ac:spMkLst>
        </pc:spChg>
        <pc:spChg chg="mod">
          <ac:chgData name="kchristou@gsco.gov.gr" userId="S::urn:spo:guest#kchristou@gsco.gov.gr::" providerId="AD" clId="Web-{C35932ED-8414-28FD-4A04-BD38E6014B4E}" dt="2025-07-22T14:27:00.118" v="7437" actId="20577"/>
          <ac:spMkLst>
            <pc:docMk/>
            <pc:sldMk cId="0" sldId="1468"/>
            <ac:spMk id="15" creationId="{67F6C22B-9095-D61A-B9A9-21811407917C}"/>
          </ac:spMkLst>
        </pc:spChg>
        <pc:spChg chg="add mod">
          <ac:chgData name="kchristou@gsco.gov.gr" userId="S::urn:spo:guest#kchristou@gsco.gov.gr::" providerId="AD" clId="Web-{C35932ED-8414-28FD-4A04-BD38E6014B4E}" dt="2025-07-22T14:27:43.276" v="7438" actId="20577"/>
          <ac:spMkLst>
            <pc:docMk/>
            <pc:sldMk cId="0" sldId="1468"/>
            <ac:spMk id="16" creationId="{806761AA-C4AC-4897-4589-03237A753379}"/>
          </ac:spMkLst>
        </pc:spChg>
        <pc:spChg chg="mod">
          <ac:chgData name="kchristou@gsco.gov.gr" userId="S::urn:spo:guest#kchristou@gsco.gov.gr::" providerId="AD" clId="Web-{C35932ED-8414-28FD-4A04-BD38E6014B4E}" dt="2025-07-22T14:27:56.276" v="7440" actId="1076"/>
          <ac:spMkLst>
            <pc:docMk/>
            <pc:sldMk cId="0" sldId="1468"/>
            <ac:spMk id="17" creationId="{BA1EACE6-BB19-CE5C-3D77-9E423585D9E4}"/>
          </ac:spMkLst>
        </pc:spChg>
      </pc:sldChg>
      <pc:sldChg chg="delSp del">
        <pc:chgData name="kchristou@gsco.gov.gr" userId="S::urn:spo:guest#kchristou@gsco.gov.gr::" providerId="AD" clId="Web-{C35932ED-8414-28FD-4A04-BD38E6014B4E}" dt="2025-07-22T08:09:44.135" v="242"/>
        <pc:sldMkLst>
          <pc:docMk/>
          <pc:sldMk cId="0" sldId="1505"/>
        </pc:sldMkLst>
        <pc:spChg chg="del">
          <ac:chgData name="kchristou@gsco.gov.gr" userId="S::urn:spo:guest#kchristou@gsco.gov.gr::" providerId="AD" clId="Web-{C35932ED-8414-28FD-4A04-BD38E6014B4E}" dt="2025-07-22T08:04:57.080" v="55"/>
          <ac:spMkLst>
            <pc:docMk/>
            <pc:sldMk cId="0" sldId="1505"/>
            <ac:spMk id="7" creationId="{B1DEAD8F-CFCF-3804-C165-EFADC039C794}"/>
          </ac:spMkLst>
        </pc:spChg>
      </pc:sldChg>
      <pc:sldChg chg="del">
        <pc:chgData name="kchristou@gsco.gov.gr" userId="S::urn:spo:guest#kchristou@gsco.gov.gr::" providerId="AD" clId="Web-{C35932ED-8414-28FD-4A04-BD38E6014B4E}" dt="2025-07-22T08:22:47.191" v="641"/>
        <pc:sldMkLst>
          <pc:docMk/>
          <pc:sldMk cId="1574770486" sldId="1506"/>
        </pc:sldMkLst>
      </pc:sldChg>
      <pc:sldChg chg="modSp">
        <pc:chgData name="kchristou@gsco.gov.gr" userId="S::urn:spo:guest#kchristou@gsco.gov.gr::" providerId="AD" clId="Web-{C35932ED-8414-28FD-4A04-BD38E6014B4E}" dt="2025-07-22T08:33:30.196" v="657" actId="20577"/>
        <pc:sldMkLst>
          <pc:docMk/>
          <pc:sldMk cId="1452844303" sldId="1614"/>
        </pc:sldMkLst>
        <pc:spChg chg="mod">
          <ac:chgData name="kchristou@gsco.gov.gr" userId="S::urn:spo:guest#kchristou@gsco.gov.gr::" providerId="AD" clId="Web-{C35932ED-8414-28FD-4A04-BD38E6014B4E}" dt="2025-07-22T08:33:30.196" v="657" actId="20577"/>
          <ac:spMkLst>
            <pc:docMk/>
            <pc:sldMk cId="1452844303" sldId="1614"/>
            <ac:spMk id="159" creationId="{00000000-0000-0000-0000-000000000000}"/>
          </ac:spMkLst>
        </pc:spChg>
      </pc:sldChg>
      <pc:sldChg chg="del">
        <pc:chgData name="kchristou@gsco.gov.gr" userId="S::urn:spo:guest#kchristou@gsco.gov.gr::" providerId="AD" clId="Web-{C35932ED-8414-28FD-4A04-BD38E6014B4E}" dt="2025-07-22T08:36:31.279" v="849"/>
        <pc:sldMkLst>
          <pc:docMk/>
          <pc:sldMk cId="3014268341" sldId="1615"/>
        </pc:sldMkLst>
      </pc:sldChg>
      <pc:sldChg chg="del">
        <pc:chgData name="kchristou@gsco.gov.gr" userId="S::urn:spo:guest#kchristou@gsco.gov.gr::" providerId="AD" clId="Web-{C35932ED-8414-28FD-4A04-BD38E6014B4E}" dt="2025-07-22T08:42:36.509" v="995"/>
        <pc:sldMkLst>
          <pc:docMk/>
          <pc:sldMk cId="3103732848" sldId="1616"/>
        </pc:sldMkLst>
      </pc:sldChg>
      <pc:sldChg chg="del">
        <pc:chgData name="kchristou@gsco.gov.gr" userId="S::urn:spo:guest#kchristou@gsco.gov.gr::" providerId="AD" clId="Web-{C35932ED-8414-28FD-4A04-BD38E6014B4E}" dt="2025-07-22T08:58:16.554" v="1250"/>
        <pc:sldMkLst>
          <pc:docMk/>
          <pc:sldMk cId="3797578475" sldId="1617"/>
        </pc:sldMkLst>
      </pc:sldChg>
      <pc:sldChg chg="del">
        <pc:chgData name="kchristou@gsco.gov.gr" userId="S::urn:spo:guest#kchristou@gsco.gov.gr::" providerId="AD" clId="Web-{C35932ED-8414-28FD-4A04-BD38E6014B4E}" dt="2025-07-22T09:14:45.507" v="1491"/>
        <pc:sldMkLst>
          <pc:docMk/>
          <pc:sldMk cId="1508313631" sldId="1618"/>
        </pc:sldMkLst>
      </pc:sldChg>
      <pc:sldChg chg="del">
        <pc:chgData name="kchristou@gsco.gov.gr" userId="S::urn:spo:guest#kchristou@gsco.gov.gr::" providerId="AD" clId="Web-{C35932ED-8414-28FD-4A04-BD38E6014B4E}" dt="2025-07-22T08:30:36.065" v="652"/>
        <pc:sldMkLst>
          <pc:docMk/>
          <pc:sldMk cId="531652350" sldId="1619"/>
        </pc:sldMkLst>
      </pc:sldChg>
      <pc:sldChg chg="delSp del">
        <pc:chgData name="kchristou@gsco.gov.gr" userId="S::urn:spo:guest#kchristou@gsco.gov.gr::" providerId="AD" clId="Web-{C35932ED-8414-28FD-4A04-BD38E6014B4E}" dt="2025-07-22T09:25:18.918" v="1773"/>
        <pc:sldMkLst>
          <pc:docMk/>
          <pc:sldMk cId="2649966634" sldId="1621"/>
        </pc:sldMkLst>
        <pc:graphicFrameChg chg="del">
          <ac:chgData name="kchristou@gsco.gov.gr" userId="S::urn:spo:guest#kchristou@gsco.gov.gr::" providerId="AD" clId="Web-{C35932ED-8414-28FD-4A04-BD38E6014B4E}" dt="2025-07-22T09:22:36.241" v="1659"/>
          <ac:graphicFrameMkLst>
            <pc:docMk/>
            <pc:sldMk cId="2649966634" sldId="1621"/>
            <ac:graphicFrameMk id="3" creationId="{5FCCF036-DBF1-B356-F1BE-C2DE4310DFAA}"/>
          </ac:graphicFrameMkLst>
        </pc:graphicFrameChg>
      </pc:sldChg>
      <pc:sldChg chg="addSp delSp modSp">
        <pc:chgData name="kchristou@gsco.gov.gr" userId="S::urn:spo:guest#kchristou@gsco.gov.gr::" providerId="AD" clId="Web-{C35932ED-8414-28FD-4A04-BD38E6014B4E}" dt="2025-07-22T15:37:50.555" v="8145" actId="20577"/>
        <pc:sldMkLst>
          <pc:docMk/>
          <pc:sldMk cId="0" sldId="1705"/>
        </pc:sldMkLst>
        <pc:spChg chg="add del mod">
          <ac:chgData name="kchristou@gsco.gov.gr" userId="S::urn:spo:guest#kchristou@gsco.gov.gr::" providerId="AD" clId="Web-{C35932ED-8414-28FD-4A04-BD38E6014B4E}" dt="2025-07-22T09:43:42.358" v="2285"/>
          <ac:spMkLst>
            <pc:docMk/>
            <pc:sldMk cId="0" sldId="1705"/>
            <ac:spMk id="3" creationId="{C1694848-ED7E-CF00-BBF4-0D230991E128}"/>
          </ac:spMkLst>
        </pc:spChg>
        <pc:spChg chg="del">
          <ac:chgData name="kchristou@gsco.gov.gr" userId="S::urn:spo:guest#kchristou@gsco.gov.gr::" providerId="AD" clId="Web-{C35932ED-8414-28FD-4A04-BD38E6014B4E}" dt="2025-07-22T09:42:27.512" v="2282"/>
          <ac:spMkLst>
            <pc:docMk/>
            <pc:sldMk cId="0" sldId="1705"/>
            <ac:spMk id="6" creationId="{00000000-0000-0000-0000-000000000000}"/>
          </ac:spMkLst>
        </pc:spChg>
        <pc:spChg chg="add mod">
          <ac:chgData name="kchristou@gsco.gov.gr" userId="S::urn:spo:guest#kchristou@gsco.gov.gr::" providerId="AD" clId="Web-{C35932ED-8414-28FD-4A04-BD38E6014B4E}" dt="2025-07-22T09:57:18.899" v="2977" actId="14100"/>
          <ac:spMkLst>
            <pc:docMk/>
            <pc:sldMk cId="0" sldId="1705"/>
            <ac:spMk id="8" creationId="{83E2E25E-569E-A52E-E029-54881B596C06}"/>
          </ac:spMkLst>
        </pc:spChg>
        <pc:spChg chg="add mod">
          <ac:chgData name="kchristou@gsco.gov.gr" userId="S::urn:spo:guest#kchristou@gsco.gov.gr::" providerId="AD" clId="Web-{C35932ED-8414-28FD-4A04-BD38E6014B4E}" dt="2025-07-22T09:43:50.124" v="2287" actId="1076"/>
          <ac:spMkLst>
            <pc:docMk/>
            <pc:sldMk cId="0" sldId="1705"/>
            <ac:spMk id="10" creationId="{BB1DAD36-145F-9EEE-EDD9-505AFA4A2A78}"/>
          </ac:spMkLst>
        </pc:spChg>
        <pc:spChg chg="add mod">
          <ac:chgData name="kchristou@gsco.gov.gr" userId="S::urn:spo:guest#kchristou@gsco.gov.gr::" providerId="AD" clId="Web-{C35932ED-8414-28FD-4A04-BD38E6014B4E}" dt="2025-07-22T09:43:50.140" v="2288" actId="1076"/>
          <ac:spMkLst>
            <pc:docMk/>
            <pc:sldMk cId="0" sldId="1705"/>
            <ac:spMk id="12" creationId="{A40412B9-95DB-C9CC-4713-6DDBD4C6D09C}"/>
          </ac:spMkLst>
        </pc:spChg>
        <pc:spChg chg="add del mod">
          <ac:chgData name="kchristou@gsco.gov.gr" userId="S::urn:spo:guest#kchristou@gsco.gov.gr::" providerId="AD" clId="Web-{C35932ED-8414-28FD-4A04-BD38E6014B4E}" dt="2025-07-22T09:40:59.369" v="2150"/>
          <ac:spMkLst>
            <pc:docMk/>
            <pc:sldMk cId="0" sldId="1705"/>
            <ac:spMk id="14" creationId="{0C066665-C835-DE4D-9F01-EF3BF8AF6036}"/>
          </ac:spMkLst>
        </pc:spChg>
        <pc:spChg chg="add del mod">
          <ac:chgData name="kchristou@gsco.gov.gr" userId="S::urn:spo:guest#kchristou@gsco.gov.gr::" providerId="AD" clId="Web-{C35932ED-8414-28FD-4A04-BD38E6014B4E}" dt="2025-07-22T09:37:15.581" v="1946"/>
          <ac:spMkLst>
            <pc:docMk/>
            <pc:sldMk cId="0" sldId="1705"/>
            <ac:spMk id="15" creationId="{E5F64F65-FD23-7C53-01A0-BBCBAE67EBBB}"/>
          </ac:spMkLst>
        </pc:spChg>
        <pc:spChg chg="add del mod">
          <ac:chgData name="kchristou@gsco.gov.gr" userId="S::urn:spo:guest#kchristou@gsco.gov.gr::" providerId="AD" clId="Web-{C35932ED-8414-28FD-4A04-BD38E6014B4E}" dt="2025-07-22T09:38:32.489" v="2054"/>
          <ac:spMkLst>
            <pc:docMk/>
            <pc:sldMk cId="0" sldId="1705"/>
            <ac:spMk id="17" creationId="{E5D9185D-8273-3656-585A-E2AF1457AF33}"/>
          </ac:spMkLst>
        </pc:spChg>
        <pc:spChg chg="add mod">
          <ac:chgData name="kchristou@gsco.gov.gr" userId="S::urn:spo:guest#kchristou@gsco.gov.gr::" providerId="AD" clId="Web-{C35932ED-8414-28FD-4A04-BD38E6014B4E}" dt="2025-07-22T09:57:22.540" v="2978" actId="14100"/>
          <ac:spMkLst>
            <pc:docMk/>
            <pc:sldMk cId="0" sldId="1705"/>
            <ac:spMk id="18" creationId="{849C313A-D518-559B-0A09-679A03FBAF47}"/>
          </ac:spMkLst>
        </pc:spChg>
        <pc:spChg chg="add mod">
          <ac:chgData name="kchristou@gsco.gov.gr" userId="S::urn:spo:guest#kchristou@gsco.gov.gr::" providerId="AD" clId="Web-{C35932ED-8414-28FD-4A04-BD38E6014B4E}" dt="2025-07-22T09:44:40.407" v="2363" actId="20577"/>
          <ac:spMkLst>
            <pc:docMk/>
            <pc:sldMk cId="0" sldId="1705"/>
            <ac:spMk id="19" creationId="{52672512-8CA6-EE78-FD86-15DC076CC701}"/>
          </ac:spMkLst>
        </pc:spChg>
        <pc:spChg chg="add mod">
          <ac:chgData name="kchristou@gsco.gov.gr" userId="S::urn:spo:guest#kchristou@gsco.gov.gr::" providerId="AD" clId="Web-{C35932ED-8414-28FD-4A04-BD38E6014B4E}" dt="2025-07-22T09:46:26.176" v="2472" actId="20577"/>
          <ac:spMkLst>
            <pc:docMk/>
            <pc:sldMk cId="0" sldId="1705"/>
            <ac:spMk id="20" creationId="{63B5AF09-22C8-51E7-219E-35EBA2C1A1D8}"/>
          </ac:spMkLst>
        </pc:spChg>
        <pc:spChg chg="add del mod">
          <ac:chgData name="kchristou@gsco.gov.gr" userId="S::urn:spo:guest#kchristou@gsco.gov.gr::" providerId="AD" clId="Web-{C35932ED-8414-28FD-4A04-BD38E6014B4E}" dt="2025-07-22T09:46:28.113" v="2473"/>
          <ac:spMkLst>
            <pc:docMk/>
            <pc:sldMk cId="0" sldId="1705"/>
            <ac:spMk id="22" creationId="{D04A4E72-FF5E-13C5-0E4E-5C16F7846A25}"/>
          </ac:spMkLst>
        </pc:spChg>
        <pc:spChg chg="add del mod">
          <ac:chgData name="kchristou@gsco.gov.gr" userId="S::urn:spo:guest#kchristou@gsco.gov.gr::" providerId="AD" clId="Web-{C35932ED-8414-28FD-4A04-BD38E6014B4E}" dt="2025-07-22T09:45:45.925" v="2398"/>
          <ac:spMkLst>
            <pc:docMk/>
            <pc:sldMk cId="0" sldId="1705"/>
            <ac:spMk id="24" creationId="{A849B502-77A1-7BA6-C4BD-3EE0A457A216}"/>
          </ac:spMkLst>
        </pc:spChg>
        <pc:spChg chg="add mod">
          <ac:chgData name="kchristou@gsco.gov.gr" userId="S::urn:spo:guest#kchristou@gsco.gov.gr::" providerId="AD" clId="Web-{C35932ED-8414-28FD-4A04-BD38E6014B4E}" dt="2025-07-22T09:57:27.103" v="2979" actId="14100"/>
          <ac:spMkLst>
            <pc:docMk/>
            <pc:sldMk cId="0" sldId="1705"/>
            <ac:spMk id="25" creationId="{717E42A4-20C4-A81E-C28C-8F657CDAFD6E}"/>
          </ac:spMkLst>
        </pc:spChg>
        <pc:spChg chg="add mod">
          <ac:chgData name="kchristou@gsco.gov.gr" userId="S::urn:spo:guest#kchristou@gsco.gov.gr::" providerId="AD" clId="Web-{C35932ED-8414-28FD-4A04-BD38E6014B4E}" dt="2025-07-22T09:56:54.993" v="2969" actId="14100"/>
          <ac:spMkLst>
            <pc:docMk/>
            <pc:sldMk cId="0" sldId="1705"/>
            <ac:spMk id="26" creationId="{C45002D9-CBAE-CDAF-80E7-63BA6748F77B}"/>
          </ac:spMkLst>
        </pc:spChg>
        <pc:spChg chg="add mod">
          <ac:chgData name="kchristou@gsco.gov.gr" userId="S::urn:spo:guest#kchristou@gsco.gov.gr::" providerId="AD" clId="Web-{C35932ED-8414-28FD-4A04-BD38E6014B4E}" dt="2025-07-22T09:52:03.952" v="2678" actId="1076"/>
          <ac:spMkLst>
            <pc:docMk/>
            <pc:sldMk cId="0" sldId="1705"/>
            <ac:spMk id="27" creationId="{0513AF0D-5214-937B-3367-604089CB7E64}"/>
          </ac:spMkLst>
        </pc:spChg>
        <pc:spChg chg="add mod">
          <ac:chgData name="kchristou@gsco.gov.gr" userId="S::urn:spo:guest#kchristou@gsco.gov.gr::" providerId="AD" clId="Web-{C35932ED-8414-28FD-4A04-BD38E6014B4E}" dt="2025-07-22T09:56:30.601" v="2964" actId="20577"/>
          <ac:spMkLst>
            <pc:docMk/>
            <pc:sldMk cId="0" sldId="1705"/>
            <ac:spMk id="34" creationId="{24408E75-5427-D6EF-276B-9964BD623683}"/>
          </ac:spMkLst>
        </pc:spChg>
        <pc:spChg chg="add mod">
          <ac:chgData name="kchristou@gsco.gov.gr" userId="S::urn:spo:guest#kchristou@gsco.gov.gr::" providerId="AD" clId="Web-{C35932ED-8414-28FD-4A04-BD38E6014B4E}" dt="2025-07-22T10:20:00.676" v="3715" actId="14100"/>
          <ac:spMkLst>
            <pc:docMk/>
            <pc:sldMk cId="0" sldId="1705"/>
            <ac:spMk id="35" creationId="{788A3283-B6C9-A343-27C7-4A604BD7A8A9}"/>
          </ac:spMkLst>
        </pc:spChg>
        <pc:spChg chg="add mod">
          <ac:chgData name="kchristou@gsco.gov.gr" userId="S::urn:spo:guest#kchristou@gsco.gov.gr::" providerId="AD" clId="Web-{C35932ED-8414-28FD-4A04-BD38E6014B4E}" dt="2025-07-22T10:05:48.775" v="3258" actId="1076"/>
          <ac:spMkLst>
            <pc:docMk/>
            <pc:sldMk cId="0" sldId="1705"/>
            <ac:spMk id="36" creationId="{69CDB06C-54BF-816D-B290-CF43FC55A2B1}"/>
          </ac:spMkLst>
        </pc:spChg>
        <pc:spChg chg="add mod">
          <ac:chgData name="kchristou@gsco.gov.gr" userId="S::urn:spo:guest#kchristou@gsco.gov.gr::" providerId="AD" clId="Web-{C35932ED-8414-28FD-4A04-BD38E6014B4E}" dt="2025-07-22T10:05:48.790" v="3259" actId="1076"/>
          <ac:spMkLst>
            <pc:docMk/>
            <pc:sldMk cId="0" sldId="1705"/>
            <ac:spMk id="37" creationId="{75A65A9C-8066-17A6-9BC5-E9CF85FF9FB0}"/>
          </ac:spMkLst>
        </pc:spChg>
        <pc:spChg chg="add mod">
          <ac:chgData name="kchristou@gsco.gov.gr" userId="S::urn:spo:guest#kchristou@gsco.gov.gr::" providerId="AD" clId="Web-{C35932ED-8414-28FD-4A04-BD38E6014B4E}" dt="2025-07-22T15:35:43.034" v="8129" actId="14100"/>
          <ac:spMkLst>
            <pc:docMk/>
            <pc:sldMk cId="0" sldId="1705"/>
            <ac:spMk id="42" creationId="{6C4B1FE6-7E23-9C74-80C1-E3E6FB8F6844}"/>
          </ac:spMkLst>
        </pc:spChg>
        <pc:spChg chg="add del mod">
          <ac:chgData name="kchristou@gsco.gov.gr" userId="S::urn:spo:guest#kchristou@gsco.gov.gr::" providerId="AD" clId="Web-{C35932ED-8414-28FD-4A04-BD38E6014B4E}" dt="2025-07-22T09:59:57.357" v="3070"/>
          <ac:spMkLst>
            <pc:docMk/>
            <pc:sldMk cId="0" sldId="1705"/>
            <ac:spMk id="43" creationId="{FB87184F-B6D2-6CFE-AD31-0C4541DB71F9}"/>
          </ac:spMkLst>
        </pc:spChg>
        <pc:spChg chg="add mod">
          <ac:chgData name="kchristou@gsco.gov.gr" userId="S::urn:spo:guest#kchristou@gsco.gov.gr::" providerId="AD" clId="Web-{C35932ED-8414-28FD-4A04-BD38E6014B4E}" dt="2025-07-22T15:35:37.690" v="8127" actId="14100"/>
          <ac:spMkLst>
            <pc:docMk/>
            <pc:sldMk cId="0" sldId="1705"/>
            <ac:spMk id="44" creationId="{4B07D193-B5F4-F45C-9383-C43860A2E9DB}"/>
          </ac:spMkLst>
        </pc:spChg>
        <pc:spChg chg="add del">
          <ac:chgData name="kchristou@gsco.gov.gr" userId="S::urn:spo:guest#kchristou@gsco.gov.gr::" providerId="AD" clId="Web-{C35932ED-8414-28FD-4A04-BD38E6014B4E}" dt="2025-07-22T10:06:51.433" v="3271"/>
          <ac:spMkLst>
            <pc:docMk/>
            <pc:sldMk cId="0" sldId="1705"/>
            <ac:spMk id="45" creationId="{B01A4DAE-6EB7-121B-5E46-6A18B523ABE7}"/>
          </ac:spMkLst>
        </pc:spChg>
        <pc:spChg chg="add del">
          <ac:chgData name="kchristou@gsco.gov.gr" userId="S::urn:spo:guest#kchristou@gsco.gov.gr::" providerId="AD" clId="Web-{C35932ED-8414-28FD-4A04-BD38E6014B4E}" dt="2025-07-22T10:06:51.433" v="3270"/>
          <ac:spMkLst>
            <pc:docMk/>
            <pc:sldMk cId="0" sldId="1705"/>
            <ac:spMk id="46" creationId="{CA127DA3-D7F3-B140-E033-339042E07520}"/>
          </ac:spMkLst>
        </pc:spChg>
        <pc:spChg chg="add del">
          <ac:chgData name="kchristou@gsco.gov.gr" userId="S::urn:spo:guest#kchristou@gsco.gov.gr::" providerId="AD" clId="Web-{C35932ED-8414-28FD-4A04-BD38E6014B4E}" dt="2025-07-22T10:06:51.433" v="3269"/>
          <ac:spMkLst>
            <pc:docMk/>
            <pc:sldMk cId="0" sldId="1705"/>
            <ac:spMk id="47" creationId="{A7AEE409-E688-0119-DF5D-792F44AF801F}"/>
          </ac:spMkLst>
        </pc:spChg>
        <pc:spChg chg="add del">
          <ac:chgData name="kchristou@gsco.gov.gr" userId="S::urn:spo:guest#kchristou@gsco.gov.gr::" providerId="AD" clId="Web-{C35932ED-8414-28FD-4A04-BD38E6014B4E}" dt="2025-07-22T10:06:51.433" v="3268"/>
          <ac:spMkLst>
            <pc:docMk/>
            <pc:sldMk cId="0" sldId="1705"/>
            <ac:spMk id="48" creationId="{6E893101-956A-EBA2-2CA8-6F2ACC384C97}"/>
          </ac:spMkLst>
        </pc:spChg>
        <pc:spChg chg="add del">
          <ac:chgData name="kchristou@gsco.gov.gr" userId="S::urn:spo:guest#kchristou@gsco.gov.gr::" providerId="AD" clId="Web-{C35932ED-8414-28FD-4A04-BD38E6014B4E}" dt="2025-07-22T10:06:51.433" v="3267"/>
          <ac:spMkLst>
            <pc:docMk/>
            <pc:sldMk cId="0" sldId="1705"/>
            <ac:spMk id="49" creationId="{4058583B-E30A-480C-C449-7D361A496CA7}"/>
          </ac:spMkLst>
        </pc:spChg>
        <pc:spChg chg="add mod">
          <ac:chgData name="kchristou@gsco.gov.gr" userId="S::urn:spo:guest#kchristou@gsco.gov.gr::" providerId="AD" clId="Web-{C35932ED-8414-28FD-4A04-BD38E6014B4E}" dt="2025-07-22T15:36:00.519" v="8130" actId="14100"/>
          <ac:spMkLst>
            <pc:docMk/>
            <pc:sldMk cId="0" sldId="1705"/>
            <ac:spMk id="50" creationId="{A0A9301C-AFD4-070B-53F2-6FE87861D8FB}"/>
          </ac:spMkLst>
        </pc:spChg>
        <pc:spChg chg="add mod">
          <ac:chgData name="kchristou@gsco.gov.gr" userId="S::urn:spo:guest#kchristou@gsco.gov.gr::" providerId="AD" clId="Web-{C35932ED-8414-28FD-4A04-BD38E6014B4E}" dt="2025-07-22T10:12:33.569" v="3538" actId="1076"/>
          <ac:spMkLst>
            <pc:docMk/>
            <pc:sldMk cId="0" sldId="1705"/>
            <ac:spMk id="51" creationId="{01CED56A-2809-F785-C4DC-C40AA5EA9B0E}"/>
          </ac:spMkLst>
        </pc:spChg>
        <pc:spChg chg="add mod">
          <ac:chgData name="kchristou@gsco.gov.gr" userId="S::urn:spo:guest#kchristou@gsco.gov.gr::" providerId="AD" clId="Web-{C35932ED-8414-28FD-4A04-BD38E6014B4E}" dt="2025-07-22T10:12:33.615" v="3539" actId="1076"/>
          <ac:spMkLst>
            <pc:docMk/>
            <pc:sldMk cId="0" sldId="1705"/>
            <ac:spMk id="52" creationId="{63570D95-BE2B-6BE7-F1E5-6C5697489FD2}"/>
          </ac:spMkLst>
        </pc:spChg>
        <pc:spChg chg="add mod">
          <ac:chgData name="kchristou@gsco.gov.gr" userId="S::urn:spo:guest#kchristou@gsco.gov.gr::" providerId="AD" clId="Web-{C35932ED-8414-28FD-4A04-BD38E6014B4E}" dt="2025-07-22T15:36:43.896" v="8141" actId="20577"/>
          <ac:spMkLst>
            <pc:docMk/>
            <pc:sldMk cId="0" sldId="1705"/>
            <ac:spMk id="53" creationId="{8677309B-3984-83F0-AF76-2198C598BAB3}"/>
          </ac:spMkLst>
        </pc:spChg>
        <pc:spChg chg="add mod">
          <ac:chgData name="kchristou@gsco.gov.gr" userId="S::urn:spo:guest#kchristou@gsco.gov.gr::" providerId="AD" clId="Web-{C35932ED-8414-28FD-4A04-BD38E6014B4E}" dt="2025-07-22T15:36:35.599" v="8138" actId="1076"/>
          <ac:spMkLst>
            <pc:docMk/>
            <pc:sldMk cId="0" sldId="1705"/>
            <ac:spMk id="54" creationId="{E3F34816-9B31-911F-6C5F-5792205BEA68}"/>
          </ac:spMkLst>
        </pc:spChg>
        <pc:spChg chg="add mod">
          <ac:chgData name="kchristou@gsco.gov.gr" userId="S::urn:spo:guest#kchristou@gsco.gov.gr::" providerId="AD" clId="Web-{C35932ED-8414-28FD-4A04-BD38E6014B4E}" dt="2025-07-22T10:19:52.957" v="3713" actId="14100"/>
          <ac:spMkLst>
            <pc:docMk/>
            <pc:sldMk cId="0" sldId="1705"/>
            <ac:spMk id="57" creationId="{2F1B4243-0181-93A0-89A8-F22090C69CBE}"/>
          </ac:spMkLst>
        </pc:spChg>
        <pc:spChg chg="add mod">
          <ac:chgData name="kchristou@gsco.gov.gr" userId="S::urn:spo:guest#kchristou@gsco.gov.gr::" providerId="AD" clId="Web-{C35932ED-8414-28FD-4A04-BD38E6014B4E}" dt="2025-07-22T10:17:57.547" v="3682" actId="1076"/>
          <ac:spMkLst>
            <pc:docMk/>
            <pc:sldMk cId="0" sldId="1705"/>
            <ac:spMk id="58" creationId="{029766B1-9EBB-86BC-4907-252C4A16962F}"/>
          </ac:spMkLst>
        </pc:spChg>
        <pc:spChg chg="add mod">
          <ac:chgData name="kchristou@gsco.gov.gr" userId="S::urn:spo:guest#kchristou@gsco.gov.gr::" providerId="AD" clId="Web-{C35932ED-8414-28FD-4A04-BD38E6014B4E}" dt="2025-07-22T10:12:43.585" v="3544" actId="1076"/>
          <ac:spMkLst>
            <pc:docMk/>
            <pc:sldMk cId="0" sldId="1705"/>
            <ac:spMk id="59" creationId="{3643520C-9A49-23E5-DB53-54CEE01CC121}"/>
          </ac:spMkLst>
        </pc:spChg>
        <pc:spChg chg="add mod">
          <ac:chgData name="kchristou@gsco.gov.gr" userId="S::urn:spo:guest#kchristou@gsco.gov.gr::" providerId="AD" clId="Web-{C35932ED-8414-28FD-4A04-BD38E6014B4E}" dt="2025-07-22T15:37:50.555" v="8145" actId="20577"/>
          <ac:spMkLst>
            <pc:docMk/>
            <pc:sldMk cId="0" sldId="1705"/>
            <ac:spMk id="60" creationId="{19CE3614-21E5-3C02-69D2-21EC96491640}"/>
          </ac:spMkLst>
        </pc:spChg>
        <pc:spChg chg="add mod">
          <ac:chgData name="kchristou@gsco.gov.gr" userId="S::urn:spo:guest#kchristou@gsco.gov.gr::" providerId="AD" clId="Web-{C35932ED-8414-28FD-4A04-BD38E6014B4E}" dt="2025-07-22T10:19:47.441" v="3712" actId="14100"/>
          <ac:spMkLst>
            <pc:docMk/>
            <pc:sldMk cId="0" sldId="1705"/>
            <ac:spMk id="61" creationId="{7646A0DD-DCAC-8B29-11B5-3BC110E011F8}"/>
          </ac:spMkLst>
        </pc:spChg>
        <pc:spChg chg="del mod">
          <ac:chgData name="kchristou@gsco.gov.gr" userId="S::urn:spo:guest#kchristou@gsco.gov.gr::" providerId="AD" clId="Web-{C35932ED-8414-28FD-4A04-BD38E6014B4E}" dt="2025-07-22T09:38:29.505" v="2053"/>
          <ac:spMkLst>
            <pc:docMk/>
            <pc:sldMk cId="0" sldId="1705"/>
            <ac:spMk id="211" creationId="{00000000-0000-0000-0000-000000000000}"/>
          </ac:spMkLst>
        </pc:spChg>
        <pc:spChg chg="del mod">
          <ac:chgData name="kchristou@gsco.gov.gr" userId="S::urn:spo:guest#kchristou@gsco.gov.gr::" providerId="AD" clId="Web-{C35932ED-8414-28FD-4A04-BD38E6014B4E}" dt="2025-07-22T09:42:24.543" v="2281"/>
          <ac:spMkLst>
            <pc:docMk/>
            <pc:sldMk cId="0" sldId="1705"/>
            <ac:spMk id="212" creationId="{00000000-0000-0000-0000-000000000000}"/>
          </ac:spMkLst>
        </pc:spChg>
        <pc:spChg chg="del">
          <ac:chgData name="kchristou@gsco.gov.gr" userId="S::urn:spo:guest#kchristou@gsco.gov.gr::" providerId="AD" clId="Web-{C35932ED-8414-28FD-4A04-BD38E6014B4E}" dt="2025-07-22T09:42:29.465" v="2283"/>
          <ac:spMkLst>
            <pc:docMk/>
            <pc:sldMk cId="0" sldId="1705"/>
            <ac:spMk id="213" creationId="{00000000-0000-0000-0000-000000000000}"/>
          </ac:spMkLst>
        </pc:spChg>
        <pc:graphicFrameChg chg="add del mod modGraphic">
          <ac:chgData name="kchristou@gsco.gov.gr" userId="S::urn:spo:guest#kchristou@gsco.gov.gr::" providerId="AD" clId="Web-{C35932ED-8414-28FD-4A04-BD38E6014B4E}" dt="2025-07-22T09:56:10.960" v="2957"/>
          <ac:graphicFrameMkLst>
            <pc:docMk/>
            <pc:sldMk cId="0" sldId="1705"/>
            <ac:graphicFrameMk id="29" creationId="{7DD70FE0-199D-E9A5-3BAD-C0D057362404}"/>
          </ac:graphicFrameMkLst>
        </pc:graphicFrameChg>
        <pc:graphicFrameChg chg="add del">
          <ac:chgData name="kchristou@gsco.gov.gr" userId="S::urn:spo:guest#kchristou@gsco.gov.gr::" providerId="AD" clId="Web-{C35932ED-8414-28FD-4A04-BD38E6014B4E}" dt="2025-07-22T09:49:39.198" v="2612"/>
          <ac:graphicFrameMkLst>
            <pc:docMk/>
            <pc:sldMk cId="0" sldId="1705"/>
            <ac:graphicFrameMk id="31" creationId="{081D0D42-E286-CB70-F3DB-F07B7394D7A3}"/>
          </ac:graphicFrameMkLst>
        </pc:graphicFrameChg>
        <pc:graphicFrameChg chg="add del">
          <ac:chgData name="kchristou@gsco.gov.gr" userId="S::urn:spo:guest#kchristou@gsco.gov.gr::" providerId="AD" clId="Web-{C35932ED-8414-28FD-4A04-BD38E6014B4E}" dt="2025-07-22T09:49:45.838" v="2614"/>
          <ac:graphicFrameMkLst>
            <pc:docMk/>
            <pc:sldMk cId="0" sldId="1705"/>
            <ac:graphicFrameMk id="33" creationId="{B53D61F0-A996-85BE-A4E1-133C5E1CAA8E}"/>
          </ac:graphicFrameMkLst>
        </pc:graphicFrameChg>
        <pc:graphicFrameChg chg="add del mod modGraphic">
          <ac:chgData name="kchristou@gsco.gov.gr" userId="S::urn:spo:guest#kchristou@gsco.gov.gr::" providerId="AD" clId="Web-{C35932ED-8414-28FD-4A04-BD38E6014B4E}" dt="2025-07-22T10:01:52.814" v="3253"/>
          <ac:graphicFrameMkLst>
            <pc:docMk/>
            <pc:sldMk cId="0" sldId="1705"/>
            <ac:graphicFrameMk id="39" creationId="{A9C315E8-F25B-A3FF-D44F-19A18C551681}"/>
          </ac:graphicFrameMkLst>
        </pc:graphicFrameChg>
        <pc:graphicFrameChg chg="add del">
          <ac:chgData name="kchristou@gsco.gov.gr" userId="S::urn:spo:guest#kchristou@gsco.gov.gr::" providerId="AD" clId="Web-{C35932ED-8414-28FD-4A04-BD38E6014B4E}" dt="2025-07-22T09:59:24.122" v="3053"/>
          <ac:graphicFrameMkLst>
            <pc:docMk/>
            <pc:sldMk cId="0" sldId="1705"/>
            <ac:graphicFrameMk id="41" creationId="{2D51819D-C42E-4173-507C-9CE9C1D74E90}"/>
          </ac:graphicFrameMkLst>
        </pc:graphicFrameChg>
        <pc:graphicFrameChg chg="add del mod modGraphic">
          <ac:chgData name="kchristou@gsco.gov.gr" userId="S::urn:spo:guest#kchristou@gsco.gov.gr::" providerId="AD" clId="Web-{C35932ED-8414-28FD-4A04-BD38E6014B4E}" dt="2025-07-22T10:12:05.193" v="3525"/>
          <ac:graphicFrameMkLst>
            <pc:docMk/>
            <pc:sldMk cId="0" sldId="1705"/>
            <ac:graphicFrameMk id="56" creationId="{7D824F41-9460-4820-27BE-60C92A0A3197}"/>
          </ac:graphicFrameMkLst>
        </pc:graphicFrameChg>
        <pc:graphicFrameChg chg="add del mod modGraphic">
          <ac:chgData name="kchristou@gsco.gov.gr" userId="S::urn:spo:guest#kchristou@gsco.gov.gr::" providerId="AD" clId="Web-{C35932ED-8414-28FD-4A04-BD38E6014B4E}" dt="2025-07-22T10:19:00.346" v="3694"/>
          <ac:graphicFrameMkLst>
            <pc:docMk/>
            <pc:sldMk cId="0" sldId="1705"/>
            <ac:graphicFrameMk id="63" creationId="{E87E37DA-546A-ECF8-6D28-46D6D3FC6594}"/>
          </ac:graphicFrameMkLst>
        </pc:graphicFrameChg>
        <pc:picChg chg="del mod">
          <ac:chgData name="kchristou@gsco.gov.gr" userId="S::urn:spo:guest#kchristou@gsco.gov.gr::" providerId="AD" clId="Web-{C35932ED-8414-28FD-4A04-BD38E6014B4E}" dt="2025-07-22T09:29:32.707" v="1904"/>
          <ac:picMkLst>
            <pc:docMk/>
            <pc:sldMk cId="0" sldId="1705"/>
            <ac:picMk id="214" creationId="{00000000-0000-0000-0000-000000000000}"/>
          </ac:picMkLst>
        </pc:picChg>
        <pc:cxnChg chg="add del">
          <ac:chgData name="kchristou@gsco.gov.gr" userId="S::urn:spo:guest#kchristou@gsco.gov.gr::" providerId="AD" clId="Web-{C35932ED-8414-28FD-4A04-BD38E6014B4E}" dt="2025-07-22T09:43:42.358" v="2284"/>
          <ac:cxnSpMkLst>
            <pc:docMk/>
            <pc:sldMk cId="0" sldId="1705"/>
            <ac:cxnSpMk id="5" creationId="{E87301BA-1CB5-B895-31E3-4CD06C37B079}"/>
          </ac:cxnSpMkLst>
        </pc:cxnChg>
      </pc:sldChg>
      <pc:sldChg chg="addSp delSp modSp del">
        <pc:chgData name="kchristou@gsco.gov.gr" userId="S::urn:spo:guest#kchristou@gsco.gov.gr::" providerId="AD" clId="Web-{C35932ED-8414-28FD-4A04-BD38E6014B4E}" dt="2025-07-22T09:46:29.785" v="2474"/>
        <pc:sldMkLst>
          <pc:docMk/>
          <pc:sldMk cId="0" sldId="1708"/>
        </pc:sldMkLst>
        <pc:spChg chg="add del mod">
          <ac:chgData name="kchristou@gsco.gov.gr" userId="S::urn:spo:guest#kchristou@gsco.gov.gr::" providerId="AD" clId="Web-{C35932ED-8414-28FD-4A04-BD38E6014B4E}" dt="2025-07-22T09:44:53.126" v="2366"/>
          <ac:spMkLst>
            <pc:docMk/>
            <pc:sldMk cId="0" sldId="1708"/>
            <ac:spMk id="3" creationId="{381C64FC-8511-9F60-A8FE-4DA27C62B1A6}"/>
          </ac:spMkLst>
        </pc:spChg>
        <pc:spChg chg="del mod">
          <ac:chgData name="kchristou@gsco.gov.gr" userId="S::urn:spo:guest#kchristou@gsco.gov.gr::" providerId="AD" clId="Web-{C35932ED-8414-28FD-4A04-BD38E6014B4E}" dt="2025-07-22T09:44:49.782" v="2365"/>
          <ac:spMkLst>
            <pc:docMk/>
            <pc:sldMk cId="0" sldId="1708"/>
            <ac:spMk id="252" creationId="{00000000-0000-0000-0000-000000000000}"/>
          </ac:spMkLst>
        </pc:spChg>
        <pc:picChg chg="del">
          <ac:chgData name="kchristou@gsco.gov.gr" userId="S::urn:spo:guest#kchristou@gsco.gov.gr::" providerId="AD" clId="Web-{C35932ED-8414-28FD-4A04-BD38E6014B4E}" dt="2025-07-22T09:44:54.970" v="2367"/>
          <ac:picMkLst>
            <pc:docMk/>
            <pc:sldMk cId="0" sldId="1708"/>
            <ac:picMk id="254" creationId="{00000000-0000-0000-0000-000000000000}"/>
          </ac:picMkLst>
        </pc:picChg>
      </pc:sldChg>
      <pc:sldChg chg="del">
        <pc:chgData name="kchristou@gsco.gov.gr" userId="S::urn:spo:guest#kchristou@gsco.gov.gr::" providerId="AD" clId="Web-{C35932ED-8414-28FD-4A04-BD38E6014B4E}" dt="2025-07-22T09:57:02.352" v="2970"/>
        <pc:sldMkLst>
          <pc:docMk/>
          <pc:sldMk cId="3051949749" sldId="1713"/>
        </pc:sldMkLst>
      </pc:sldChg>
      <pc:sldChg chg="del">
        <pc:chgData name="kchristou@gsco.gov.gr" userId="S::urn:spo:guest#kchristou@gsco.gov.gr::" providerId="AD" clId="Web-{C35932ED-8414-28FD-4A04-BD38E6014B4E}" dt="2025-07-22T08:31:04.894" v="653"/>
        <pc:sldMkLst>
          <pc:docMk/>
          <pc:sldMk cId="2627248558" sldId="1714"/>
        </pc:sldMkLst>
      </pc:sldChg>
      <pc:sldChg chg="del">
        <pc:chgData name="kchristou@gsco.gov.gr" userId="S::urn:spo:guest#kchristou@gsco.gov.gr::" providerId="AD" clId="Web-{C35932ED-8414-28FD-4A04-BD38E6014B4E}" dt="2025-07-22T10:02:06.830" v="3256"/>
        <pc:sldMkLst>
          <pc:docMk/>
          <pc:sldMk cId="1314444016" sldId="1720"/>
        </pc:sldMkLst>
      </pc:sldChg>
      <pc:sldChg chg="del">
        <pc:chgData name="kchristou@gsco.gov.gr" userId="S::urn:spo:guest#kchristou@gsco.gov.gr::" providerId="AD" clId="Web-{C35932ED-8414-28FD-4A04-BD38E6014B4E}" dt="2025-07-22T10:12:07.599" v="3526"/>
        <pc:sldMkLst>
          <pc:docMk/>
          <pc:sldMk cId="591212870" sldId="1721"/>
        </pc:sldMkLst>
      </pc:sldChg>
      <pc:sldChg chg="delSp add del">
        <pc:chgData name="kchristou@gsco.gov.gr" userId="S::urn:spo:guest#kchristou@gsco.gov.gr::" providerId="AD" clId="Web-{C35932ED-8414-28FD-4A04-BD38E6014B4E}" dt="2025-07-22T09:26:22.935" v="1777"/>
        <pc:sldMkLst>
          <pc:docMk/>
          <pc:sldMk cId="2346058396" sldId="1725"/>
        </pc:sldMkLst>
        <pc:graphicFrameChg chg="del">
          <ac:chgData name="kchristou@gsco.gov.gr" userId="S::urn:spo:guest#kchristou@gsco.gov.gr::" providerId="AD" clId="Web-{C35932ED-8414-28FD-4A04-BD38E6014B4E}" dt="2025-07-22T08:31:38.926" v="656"/>
          <ac:graphicFrameMkLst>
            <pc:docMk/>
            <pc:sldMk cId="2346058396" sldId="1725"/>
            <ac:graphicFrameMk id="221" creationId="{00000000-0000-0000-0000-000000000000}"/>
          </ac:graphicFrameMkLst>
        </pc:graphicFrameChg>
      </pc:sldChg>
      <pc:sldChg chg="del">
        <pc:chgData name="kchristou@gsco.gov.gr" userId="S::urn:spo:guest#kchristou@gsco.gov.gr::" providerId="AD" clId="Web-{C35932ED-8414-28FD-4A04-BD38E6014B4E}" dt="2025-07-22T10:18:48.643" v="3693"/>
        <pc:sldMkLst>
          <pc:docMk/>
          <pc:sldMk cId="898350534" sldId="1726"/>
        </pc:sldMkLst>
      </pc:sldChg>
      <pc:sldChg chg="delSp add del">
        <pc:chgData name="kchristou@gsco.gov.gr" userId="S::urn:spo:guest#kchristou@gsco.gov.gr::" providerId="AD" clId="Web-{C35932ED-8414-28FD-4A04-BD38E6014B4E}" dt="2025-07-22T10:55:33.977" v="5062"/>
        <pc:sldMkLst>
          <pc:docMk/>
          <pc:sldMk cId="2094030454" sldId="1726"/>
        </pc:sldMkLst>
        <pc:cxnChg chg="del">
          <ac:chgData name="kchristou@gsco.gov.gr" userId="S::urn:spo:guest#kchristou@gsco.gov.gr::" providerId="AD" clId="Web-{C35932ED-8414-28FD-4A04-BD38E6014B4E}" dt="2025-07-22T10:55:10.914" v="5061"/>
          <ac:cxnSpMkLst>
            <pc:docMk/>
            <pc:sldMk cId="2094030454" sldId="1726"/>
            <ac:cxnSpMk id="7" creationId="{D7F8B288-C277-0A0F-7C85-F4CD0A50A506}"/>
          </ac:cxnSpMkLst>
        </pc:cxnChg>
      </pc:sldChg>
      <pc:sldChg chg="modSp add">
        <pc:chgData name="kchristou@gsco.gov.gr" userId="S::urn:spo:guest#kchristou@gsco.gov.gr::" providerId="AD" clId="Web-{C35932ED-8414-28FD-4A04-BD38E6014B4E}" dt="2025-07-22T12:15:59.769" v="5203" actId="20577"/>
        <pc:sldMkLst>
          <pc:docMk/>
          <pc:sldMk cId="0" sldId="1727"/>
        </pc:sldMkLst>
        <pc:spChg chg="mod">
          <ac:chgData name="kchristou@gsco.gov.gr" userId="S::urn:spo:guest#kchristou@gsco.gov.gr::" providerId="AD" clId="Web-{C35932ED-8414-28FD-4A04-BD38E6014B4E}" dt="2025-07-22T12:15:59.769" v="5203" actId="20577"/>
          <ac:spMkLst>
            <pc:docMk/>
            <pc:sldMk cId="0" sldId="1727"/>
            <ac:spMk id="3" creationId="{D5F67DE0-CCEF-9D07-8B9F-AB95F0AE7D12}"/>
          </ac:spMkLst>
        </pc:spChg>
      </pc:sldChg>
      <pc:sldChg chg="addSp modSp">
        <pc:chgData name="kchristou@gsco.gov.gr" userId="S::urn:spo:guest#kchristou@gsco.gov.gr::" providerId="AD" clId="Web-{C35932ED-8414-28FD-4A04-BD38E6014B4E}" dt="2025-07-22T13:48:59.401" v="6493" actId="1076"/>
        <pc:sldMkLst>
          <pc:docMk/>
          <pc:sldMk cId="3072905272" sldId="1735"/>
        </pc:sldMkLst>
        <pc:spChg chg="add mod">
          <ac:chgData name="kchristou@gsco.gov.gr" userId="S::urn:spo:guest#kchristou@gsco.gov.gr::" providerId="AD" clId="Web-{C35932ED-8414-28FD-4A04-BD38E6014B4E}" dt="2025-07-22T13:48:29.821" v="6485" actId="1076"/>
          <ac:spMkLst>
            <pc:docMk/>
            <pc:sldMk cId="3072905272" sldId="1735"/>
            <ac:spMk id="2" creationId="{FDF718AD-F56F-BBE5-0C4E-6881DB550C89}"/>
          </ac:spMkLst>
        </pc:spChg>
        <pc:spChg chg="add mod">
          <ac:chgData name="kchristou@gsco.gov.gr" userId="S::urn:spo:guest#kchristou@gsco.gov.gr::" providerId="AD" clId="Web-{C35932ED-8414-28FD-4A04-BD38E6014B4E}" dt="2025-07-22T13:48:29.852" v="6486" actId="1076"/>
          <ac:spMkLst>
            <pc:docMk/>
            <pc:sldMk cId="3072905272" sldId="1735"/>
            <ac:spMk id="3" creationId="{BC9E78B4-6E51-BBD3-9BC5-013F6A1E7752}"/>
          </ac:spMkLst>
        </pc:spChg>
        <pc:spChg chg="add mod">
          <ac:chgData name="kchristou@gsco.gov.gr" userId="S::urn:spo:guest#kchristou@gsco.gov.gr::" providerId="AD" clId="Web-{C35932ED-8414-28FD-4A04-BD38E6014B4E}" dt="2025-07-22T13:48:29.868" v="6487" actId="1076"/>
          <ac:spMkLst>
            <pc:docMk/>
            <pc:sldMk cId="3072905272" sldId="1735"/>
            <ac:spMk id="4" creationId="{CB3FF14B-CF8A-73C4-1970-5F2F448D75D6}"/>
          </ac:spMkLst>
        </pc:spChg>
        <pc:spChg chg="add mod">
          <ac:chgData name="kchristou@gsco.gov.gr" userId="S::urn:spo:guest#kchristou@gsco.gov.gr::" providerId="AD" clId="Web-{C35932ED-8414-28FD-4A04-BD38E6014B4E}" dt="2025-07-22T13:48:59.401" v="6493" actId="1076"/>
          <ac:spMkLst>
            <pc:docMk/>
            <pc:sldMk cId="3072905272" sldId="1735"/>
            <ac:spMk id="5" creationId="{E4EFA157-8FEE-9408-6A56-18B26342428E}"/>
          </ac:spMkLst>
        </pc:spChg>
        <pc:spChg chg="mod">
          <ac:chgData name="kchristou@gsco.gov.gr" userId="S::urn:spo:guest#kchristou@gsco.gov.gr::" providerId="AD" clId="Web-{C35932ED-8414-28FD-4A04-BD38E6014B4E}" dt="2025-07-22T13:48:17.133" v="6477" actId="1076"/>
          <ac:spMkLst>
            <pc:docMk/>
            <pc:sldMk cId="3072905272" sldId="1735"/>
            <ac:spMk id="15" creationId="{403935F5-B6E5-4AA6-948A-6F7130264969}"/>
          </ac:spMkLst>
        </pc:spChg>
        <pc:spChg chg="mod">
          <ac:chgData name="kchristou@gsco.gov.gr" userId="S::urn:spo:guest#kchristou@gsco.gov.gr::" providerId="AD" clId="Web-{C35932ED-8414-28FD-4A04-BD38E6014B4E}" dt="2025-07-22T13:48:17.149" v="6478" actId="1076"/>
          <ac:spMkLst>
            <pc:docMk/>
            <pc:sldMk cId="3072905272" sldId="1735"/>
            <ac:spMk id="17" creationId="{EFC5EEDC-E669-F295-8310-1C3F5DE693C0}"/>
          </ac:spMkLst>
        </pc:spChg>
        <pc:spChg chg="mod">
          <ac:chgData name="kchristou@gsco.gov.gr" userId="S::urn:spo:guest#kchristou@gsco.gov.gr::" providerId="AD" clId="Web-{C35932ED-8414-28FD-4A04-BD38E6014B4E}" dt="2025-07-22T13:48:21.915" v="6481" actId="1076"/>
          <ac:spMkLst>
            <pc:docMk/>
            <pc:sldMk cId="3072905272" sldId="1735"/>
            <ac:spMk id="19" creationId="{B9021CD0-F440-F512-310F-2624B35418C2}"/>
          </ac:spMkLst>
        </pc:spChg>
        <pc:spChg chg="mod">
          <ac:chgData name="kchristou@gsco.gov.gr" userId="S::urn:spo:guest#kchristou@gsco.gov.gr::" providerId="AD" clId="Web-{C35932ED-8414-28FD-4A04-BD38E6014B4E}" dt="2025-07-22T13:48:21.946" v="6482" actId="1076"/>
          <ac:spMkLst>
            <pc:docMk/>
            <pc:sldMk cId="3072905272" sldId="1735"/>
            <ac:spMk id="21" creationId="{5614788A-7EFF-36F6-79B4-D96AACB398BE}"/>
          </ac:spMkLst>
        </pc:spChg>
        <pc:spChg chg="mod">
          <ac:chgData name="kchristou@gsco.gov.gr" userId="S::urn:spo:guest#kchristou@gsco.gov.gr::" providerId="AD" clId="Web-{C35932ED-8414-28FD-4A04-BD38E6014B4E}" dt="2025-07-22T13:48:17.180" v="6479" actId="1076"/>
          <ac:spMkLst>
            <pc:docMk/>
            <pc:sldMk cId="3072905272" sldId="1735"/>
            <ac:spMk id="23" creationId="{DAE1D20A-95B7-6BF3-9F4C-F03695730974}"/>
          </ac:spMkLst>
        </pc:spChg>
        <pc:spChg chg="mod">
          <ac:chgData name="kchristou@gsco.gov.gr" userId="S::urn:spo:guest#kchristou@gsco.gov.gr::" providerId="AD" clId="Web-{C35932ED-8414-28FD-4A04-BD38E6014B4E}" dt="2025-07-22T13:48:17.211" v="6480" actId="1076"/>
          <ac:spMkLst>
            <pc:docMk/>
            <pc:sldMk cId="3072905272" sldId="1735"/>
            <ac:spMk id="25" creationId="{E7DD79B6-3DC0-CD19-6898-35846B58A725}"/>
          </ac:spMkLst>
        </pc:spChg>
        <pc:spChg chg="mod">
          <ac:chgData name="kchristou@gsco.gov.gr" userId="S::urn:spo:guest#kchristou@gsco.gov.gr::" providerId="AD" clId="Web-{C35932ED-8414-28FD-4A04-BD38E6014B4E}" dt="2025-07-22T13:48:21.962" v="6483" actId="1076"/>
          <ac:spMkLst>
            <pc:docMk/>
            <pc:sldMk cId="3072905272" sldId="1735"/>
            <ac:spMk id="27" creationId="{E34DBD71-E386-6175-6D16-124333880AC6}"/>
          </ac:spMkLst>
        </pc:spChg>
        <pc:spChg chg="mod">
          <ac:chgData name="kchristou@gsco.gov.gr" userId="S::urn:spo:guest#kchristou@gsco.gov.gr::" providerId="AD" clId="Web-{C35932ED-8414-28FD-4A04-BD38E6014B4E}" dt="2025-07-22T13:48:21.977" v="6484" actId="1076"/>
          <ac:spMkLst>
            <pc:docMk/>
            <pc:sldMk cId="3072905272" sldId="1735"/>
            <ac:spMk id="29" creationId="{68E20ADD-ACDB-5B7C-3D8E-AED46DDF4475}"/>
          </ac:spMkLst>
        </pc:spChg>
      </pc:sldChg>
      <pc:sldChg chg="del">
        <pc:chgData name="kchristou@gsco.gov.gr" userId="S::urn:spo:guest#kchristou@gsco.gov.gr::" providerId="AD" clId="Web-{C35932ED-8414-28FD-4A04-BD38E6014B4E}" dt="2025-07-22T12:17:13.241" v="5208"/>
        <pc:sldMkLst>
          <pc:docMk/>
          <pc:sldMk cId="1821849199" sldId="1736"/>
        </pc:sldMkLst>
      </pc:sldChg>
      <pc:sldChg chg="del">
        <pc:chgData name="kchristou@gsco.gov.gr" userId="S::urn:spo:guest#kchristou@gsco.gov.gr::" providerId="AD" clId="Web-{C35932ED-8414-28FD-4A04-BD38E6014B4E}" dt="2025-07-22T12:17:18.007" v="5209"/>
        <pc:sldMkLst>
          <pc:docMk/>
          <pc:sldMk cId="2331210412" sldId="1737"/>
        </pc:sldMkLst>
      </pc:sldChg>
      <pc:sldChg chg="del">
        <pc:chgData name="kchristou@gsco.gov.gr" userId="S::urn:spo:guest#kchristou@gsco.gov.gr::" providerId="AD" clId="Web-{C35932ED-8414-28FD-4A04-BD38E6014B4E}" dt="2025-07-22T12:19:00.933" v="5237"/>
        <pc:sldMkLst>
          <pc:docMk/>
          <pc:sldMk cId="405132013" sldId="1738"/>
        </pc:sldMkLst>
      </pc:sldChg>
      <pc:sldChg chg="del">
        <pc:chgData name="kchristou@gsco.gov.gr" userId="S::urn:spo:guest#kchristou@gsco.gov.gr::" providerId="AD" clId="Web-{C35932ED-8414-28FD-4A04-BD38E6014B4E}" dt="2025-07-22T12:23:47.991" v="5289"/>
        <pc:sldMkLst>
          <pc:docMk/>
          <pc:sldMk cId="1692107350" sldId="1739"/>
        </pc:sldMkLst>
      </pc:sldChg>
      <pc:sldChg chg="addSp modSp">
        <pc:chgData name="kchristou@gsco.gov.gr" userId="S::urn:spo:guest#kchristou@gsco.gov.gr::" providerId="AD" clId="Web-{C35932ED-8414-28FD-4A04-BD38E6014B4E}" dt="2025-07-22T14:17:21.375" v="7116"/>
        <pc:sldMkLst>
          <pc:docMk/>
          <pc:sldMk cId="3422338694" sldId="1740"/>
        </pc:sldMkLst>
        <pc:spChg chg="mod">
          <ac:chgData name="kchristou@gsco.gov.gr" userId="S::urn:spo:guest#kchristou@gsco.gov.gr::" providerId="AD" clId="Web-{C35932ED-8414-28FD-4A04-BD38E6014B4E}" dt="2025-07-22T14:17:21.375" v="7116"/>
          <ac:spMkLst>
            <pc:docMk/>
            <pc:sldMk cId="3422338694" sldId="1740"/>
            <ac:spMk id="2" creationId="{7D14F6CA-611E-E3D6-3802-2720BD34C534}"/>
          </ac:spMkLst>
        </pc:spChg>
        <pc:spChg chg="mod">
          <ac:chgData name="kchristou@gsco.gov.gr" userId="S::urn:spo:guest#kchristou@gsco.gov.gr::" providerId="AD" clId="Web-{C35932ED-8414-28FD-4A04-BD38E6014B4E}" dt="2025-07-22T12:21:35.595" v="5287" actId="1076"/>
          <ac:spMkLst>
            <pc:docMk/>
            <pc:sldMk cId="3422338694" sldId="1740"/>
            <ac:spMk id="4" creationId="{E12490A5-AB33-90C6-D493-39279CADE019}"/>
          </ac:spMkLst>
        </pc:spChg>
        <pc:spChg chg="mod">
          <ac:chgData name="kchristou@gsco.gov.gr" userId="S::urn:spo:guest#kchristou@gsco.gov.gr::" providerId="AD" clId="Web-{C35932ED-8414-28FD-4A04-BD38E6014B4E}" dt="2025-07-22T12:21:25.860" v="5285" actId="14100"/>
          <ac:spMkLst>
            <pc:docMk/>
            <pc:sldMk cId="3422338694" sldId="1740"/>
            <ac:spMk id="5" creationId="{ED12A7F7-D115-D902-7FB0-BEC5CFCDB472}"/>
          </ac:spMkLst>
        </pc:spChg>
        <pc:spChg chg="mod">
          <ac:chgData name="kchristou@gsco.gov.gr" userId="S::urn:spo:guest#kchristou@gsco.gov.gr::" providerId="AD" clId="Web-{C35932ED-8414-28FD-4A04-BD38E6014B4E}" dt="2025-07-22T12:23:33.241" v="5288" actId="14100"/>
          <ac:spMkLst>
            <pc:docMk/>
            <pc:sldMk cId="3422338694" sldId="1740"/>
            <ac:spMk id="6" creationId="{A99299E9-B999-26BB-0C57-BDDAC671130A}"/>
          </ac:spMkLst>
        </pc:spChg>
        <pc:spChg chg="mod">
          <ac:chgData name="kchristou@gsco.gov.gr" userId="S::urn:spo:guest#kchristou@gsco.gov.gr::" providerId="AD" clId="Web-{C35932ED-8414-28FD-4A04-BD38E6014B4E}" dt="2025-07-22T11:39:20.452" v="5161" actId="1076"/>
          <ac:spMkLst>
            <pc:docMk/>
            <pc:sldMk cId="3422338694" sldId="1740"/>
            <ac:spMk id="7" creationId="{02479DD9-7349-1AD4-9275-C0CFB620221E}"/>
          </ac:spMkLst>
        </pc:spChg>
        <pc:graphicFrameChg chg="add mod modGraphic">
          <ac:chgData name="kchristou@gsco.gov.gr" userId="S::urn:spo:guest#kchristou@gsco.gov.gr::" providerId="AD" clId="Web-{C35932ED-8414-28FD-4A04-BD38E6014B4E}" dt="2025-07-22T11:39:24.889" v="5162" actId="1076"/>
          <ac:graphicFrameMkLst>
            <pc:docMk/>
            <pc:sldMk cId="3422338694" sldId="1740"/>
            <ac:graphicFrameMk id="8" creationId="{5125754D-3089-1DE0-DE92-304FA61AFCA0}"/>
          </ac:graphicFrameMkLst>
        </pc:graphicFrameChg>
        <pc:graphicFrameChg chg="add mod modGraphic">
          <ac:chgData name="kchristou@gsco.gov.gr" userId="S::urn:spo:guest#kchristou@gsco.gov.gr::" providerId="AD" clId="Web-{C35932ED-8414-28FD-4A04-BD38E6014B4E}" dt="2025-07-22T12:23:58.570" v="5294"/>
          <ac:graphicFrameMkLst>
            <pc:docMk/>
            <pc:sldMk cId="3422338694" sldId="1740"/>
            <ac:graphicFrameMk id="9" creationId="{6A6C34FB-93A8-9524-D6A7-12C5CF6385E0}"/>
          </ac:graphicFrameMkLst>
        </pc:graphicFrameChg>
        <pc:graphicFrameChg chg="add mod modGraphic">
          <ac:chgData name="kchristou@gsco.gov.gr" userId="S::urn:spo:guest#kchristou@gsco.gov.gr::" providerId="AD" clId="Web-{C35932ED-8414-28FD-4A04-BD38E6014B4E}" dt="2025-07-22T12:17:58.868" v="5224"/>
          <ac:graphicFrameMkLst>
            <pc:docMk/>
            <pc:sldMk cId="3422338694" sldId="1740"/>
            <ac:graphicFrameMk id="10" creationId="{9C898ADB-050D-E58B-8B54-DB8F30C5EBC8}"/>
          </ac:graphicFrameMkLst>
        </pc:graphicFrameChg>
        <pc:graphicFrameChg chg="add mod modGraphic">
          <ac:chgData name="kchristou@gsco.gov.gr" userId="S::urn:spo:guest#kchristou@gsco.gov.gr::" providerId="AD" clId="Web-{C35932ED-8414-28FD-4A04-BD38E6014B4E}" dt="2025-07-22T12:23:55.945" v="5292"/>
          <ac:graphicFrameMkLst>
            <pc:docMk/>
            <pc:sldMk cId="3422338694" sldId="1740"/>
            <ac:graphicFrameMk id="12" creationId="{945ECDCE-8888-BC37-618F-E84BC58353D6}"/>
          </ac:graphicFrameMkLst>
        </pc:graphicFrameChg>
      </pc:sldChg>
      <pc:sldChg chg="del">
        <pc:chgData name="kchristou@gsco.gov.gr" userId="S::urn:spo:guest#kchristou@gsco.gov.gr::" providerId="AD" clId="Web-{C35932ED-8414-28FD-4A04-BD38E6014B4E}" dt="2025-07-22T12:16:09.676" v="5207"/>
        <pc:sldMkLst>
          <pc:docMk/>
          <pc:sldMk cId="4209284659" sldId="1742"/>
        </pc:sldMkLst>
      </pc:sldChg>
      <pc:sldChg chg="addSp delSp modSp">
        <pc:chgData name="kchristou@gsco.gov.gr" userId="S::urn:spo:guest#kchristou@gsco.gov.gr::" providerId="AD" clId="Web-{C35932ED-8414-28FD-4A04-BD38E6014B4E}" dt="2025-07-22T13:23:43.418" v="6248" actId="1076"/>
        <pc:sldMkLst>
          <pc:docMk/>
          <pc:sldMk cId="862157178" sldId="1743"/>
        </pc:sldMkLst>
        <pc:spChg chg="mod">
          <ac:chgData name="kchristou@gsco.gov.gr" userId="S::urn:spo:guest#kchristou@gsco.gov.gr::" providerId="AD" clId="Web-{C35932ED-8414-28FD-4A04-BD38E6014B4E}" dt="2025-07-22T12:56:48.446" v="5623"/>
          <ac:spMkLst>
            <pc:docMk/>
            <pc:sldMk cId="862157178" sldId="1743"/>
            <ac:spMk id="3" creationId="{FD227DBC-A801-4674-0D54-D6909DF1A84D}"/>
          </ac:spMkLst>
        </pc:spChg>
        <pc:spChg chg="mod">
          <ac:chgData name="kchristou@gsco.gov.gr" userId="S::urn:spo:guest#kchristou@gsco.gov.gr::" providerId="AD" clId="Web-{C35932ED-8414-28FD-4A04-BD38E6014B4E}" dt="2025-07-22T13:23:43.418" v="6248" actId="1076"/>
          <ac:spMkLst>
            <pc:docMk/>
            <pc:sldMk cId="862157178" sldId="1743"/>
            <ac:spMk id="7" creationId="{BF8A40A2-7E2B-06D0-FD69-E99192031752}"/>
          </ac:spMkLst>
        </pc:spChg>
        <pc:spChg chg="mod">
          <ac:chgData name="kchristou@gsco.gov.gr" userId="S::urn:spo:guest#kchristou@gsco.gov.gr::" providerId="AD" clId="Web-{C35932ED-8414-28FD-4A04-BD38E6014B4E}" dt="2025-07-22T13:23:29.776" v="6245" actId="14100"/>
          <ac:spMkLst>
            <pc:docMk/>
            <pc:sldMk cId="862157178" sldId="1743"/>
            <ac:spMk id="8" creationId="{07B44DFA-B7FC-CC52-BB49-55E3FB7BE137}"/>
          </ac:spMkLst>
        </pc:spChg>
        <pc:spChg chg="mod">
          <ac:chgData name="kchristou@gsco.gov.gr" userId="S::urn:spo:guest#kchristou@gsco.gov.gr::" providerId="AD" clId="Web-{C35932ED-8414-28FD-4A04-BD38E6014B4E}" dt="2025-07-22T13:22:52.056" v="6234" actId="1076"/>
          <ac:spMkLst>
            <pc:docMk/>
            <pc:sldMk cId="862157178" sldId="1743"/>
            <ac:spMk id="9" creationId="{6ABCCE0E-FD8F-EA1F-A4D2-64E07F9DF539}"/>
          </ac:spMkLst>
        </pc:spChg>
        <pc:spChg chg="mod">
          <ac:chgData name="kchristou@gsco.gov.gr" userId="S::urn:spo:guest#kchristou@gsco.gov.gr::" providerId="AD" clId="Web-{C35932ED-8414-28FD-4A04-BD38E6014B4E}" dt="2025-07-22T13:19:39.017" v="6110" actId="1076"/>
          <ac:spMkLst>
            <pc:docMk/>
            <pc:sldMk cId="862157178" sldId="1743"/>
            <ac:spMk id="11" creationId="{51705EB8-CBBE-EC61-1062-B12054678034}"/>
          </ac:spMkLst>
        </pc:spChg>
        <pc:spChg chg="mod">
          <ac:chgData name="kchristou@gsco.gov.gr" userId="S::urn:spo:guest#kchristou@gsco.gov.gr::" providerId="AD" clId="Web-{C35932ED-8414-28FD-4A04-BD38E6014B4E}" dt="2025-07-22T13:21:56.819" v="6176" actId="1076"/>
          <ac:spMkLst>
            <pc:docMk/>
            <pc:sldMk cId="862157178" sldId="1743"/>
            <ac:spMk id="12" creationId="{ADFE2495-ADCE-5734-17C7-79CE79878323}"/>
          </ac:spMkLst>
        </pc:spChg>
        <pc:spChg chg="del">
          <ac:chgData name="kchristou@gsco.gov.gr" userId="S::urn:spo:guest#kchristou@gsco.gov.gr::" providerId="AD" clId="Web-{C35932ED-8414-28FD-4A04-BD38E6014B4E}" dt="2025-07-22T13:12:46.797" v="6024"/>
          <ac:spMkLst>
            <pc:docMk/>
            <pc:sldMk cId="862157178" sldId="1743"/>
            <ac:spMk id="13" creationId="{7FF5C741-BCA4-3472-05F2-2A1E72359051}"/>
          </ac:spMkLst>
        </pc:spChg>
        <pc:spChg chg="mod">
          <ac:chgData name="kchristou@gsco.gov.gr" userId="S::urn:spo:guest#kchristou@gsco.gov.gr::" providerId="AD" clId="Web-{C35932ED-8414-28FD-4A04-BD38E6014B4E}" dt="2025-07-22T13:23:22.542" v="6242" actId="1076"/>
          <ac:spMkLst>
            <pc:docMk/>
            <pc:sldMk cId="862157178" sldId="1743"/>
            <ac:spMk id="14" creationId="{00000000-0000-0000-0000-000000000000}"/>
          </ac:spMkLst>
        </pc:spChg>
        <pc:spChg chg="mod">
          <ac:chgData name="kchristou@gsco.gov.gr" userId="S::urn:spo:guest#kchristou@gsco.gov.gr::" providerId="AD" clId="Web-{C35932ED-8414-28FD-4A04-BD38E6014B4E}" dt="2025-07-22T13:19:43.486" v="6111" actId="1076"/>
          <ac:spMkLst>
            <pc:docMk/>
            <pc:sldMk cId="862157178" sldId="1743"/>
            <ac:spMk id="15" creationId="{399CCACB-182C-871E-B767-CEABA99C35F0}"/>
          </ac:spMkLst>
        </pc:spChg>
        <pc:spChg chg="add mod">
          <ac:chgData name="kchristou@gsco.gov.gr" userId="S::urn:spo:guest#kchristou@gsco.gov.gr::" providerId="AD" clId="Web-{C35932ED-8414-28FD-4A04-BD38E6014B4E}" dt="2025-07-22T13:22:57.572" v="6235" actId="1076"/>
          <ac:spMkLst>
            <pc:docMk/>
            <pc:sldMk cId="862157178" sldId="1743"/>
            <ac:spMk id="17" creationId="{E421064D-435D-DFBB-87C2-510B4D5EA86E}"/>
          </ac:spMkLst>
        </pc:spChg>
        <pc:spChg chg="add mod">
          <ac:chgData name="kchristou@gsco.gov.gr" userId="S::urn:spo:guest#kchristou@gsco.gov.gr::" providerId="AD" clId="Web-{C35932ED-8414-28FD-4A04-BD38E6014B4E}" dt="2025-07-22T13:23:38.714" v="6247" actId="1076"/>
          <ac:spMkLst>
            <pc:docMk/>
            <pc:sldMk cId="862157178" sldId="1743"/>
            <ac:spMk id="18" creationId="{2E5D706A-0BCC-7B02-74C9-F252623AF7D4}"/>
          </ac:spMkLst>
        </pc:spChg>
        <pc:spChg chg="mod">
          <ac:chgData name="kchristou@gsco.gov.gr" userId="S::urn:spo:guest#kchristou@gsco.gov.gr::" providerId="AD" clId="Web-{C35932ED-8414-28FD-4A04-BD38E6014B4E}" dt="2025-07-22T13:04:30.824" v="5835" actId="20577"/>
          <ac:spMkLst>
            <pc:docMk/>
            <pc:sldMk cId="862157178" sldId="1743"/>
            <ac:spMk id="1480" creationId="{CC9F85F9-C4F7-4243-2521-61A95B395F7A}"/>
          </ac:spMkLst>
        </pc:spChg>
        <pc:spChg chg="mod">
          <ac:chgData name="kchristou@gsco.gov.gr" userId="S::urn:spo:guest#kchristou@gsco.gov.gr::" providerId="AD" clId="Web-{C35932ED-8414-28FD-4A04-BD38E6014B4E}" dt="2025-07-22T13:19:36.267" v="6109" actId="1076"/>
          <ac:spMkLst>
            <pc:docMk/>
            <pc:sldMk cId="862157178" sldId="1743"/>
            <ac:spMk id="1538" creationId="{1FF8519D-F261-ED9D-3155-873E61159B07}"/>
          </ac:spMkLst>
        </pc:spChg>
        <pc:grpChg chg="mod">
          <ac:chgData name="kchristou@gsco.gov.gr" userId="S::urn:spo:guest#kchristou@gsco.gov.gr::" providerId="AD" clId="Web-{C35932ED-8414-28FD-4A04-BD38E6014B4E}" dt="2025-07-22T13:18:20.811" v="6093" actId="1076"/>
          <ac:grpSpMkLst>
            <pc:docMk/>
            <pc:sldMk cId="862157178" sldId="1743"/>
            <ac:grpSpMk id="1535" creationId="{F0B61C0F-0DE6-3176-E430-165BD84D1906}"/>
          </ac:grpSpMkLst>
        </pc:grpChg>
      </pc:sldChg>
      <pc:sldChg chg="modSp">
        <pc:chgData name="kchristou@gsco.gov.gr" userId="S::urn:spo:guest#kchristou@gsco.gov.gr::" providerId="AD" clId="Web-{C35932ED-8414-28FD-4A04-BD38E6014B4E}" dt="2025-07-22T14:39:12.788" v="7467" actId="1076"/>
        <pc:sldMkLst>
          <pc:docMk/>
          <pc:sldMk cId="380107711" sldId="1745"/>
        </pc:sldMkLst>
        <pc:spChg chg="mod">
          <ac:chgData name="kchristou@gsco.gov.gr" userId="S::urn:spo:guest#kchristou@gsco.gov.gr::" providerId="AD" clId="Web-{C35932ED-8414-28FD-4A04-BD38E6014B4E}" dt="2025-07-22T13:51:37.829" v="6499" actId="20577"/>
          <ac:spMkLst>
            <pc:docMk/>
            <pc:sldMk cId="380107711" sldId="1745"/>
            <ac:spMk id="7" creationId="{D904325A-2886-457A-8A46-FCC8EF705440}"/>
          </ac:spMkLst>
        </pc:spChg>
        <pc:spChg chg="mod">
          <ac:chgData name="kchristou@gsco.gov.gr" userId="S::urn:spo:guest#kchristou@gsco.gov.gr::" providerId="AD" clId="Web-{C35932ED-8414-28FD-4A04-BD38E6014B4E}" dt="2025-07-22T14:39:12.788" v="7467" actId="1076"/>
          <ac:spMkLst>
            <pc:docMk/>
            <pc:sldMk cId="380107711" sldId="1745"/>
            <ac:spMk id="9" creationId="{FAF5749B-92C5-403D-A236-D46E833F9FB5}"/>
          </ac:spMkLst>
        </pc:spChg>
        <pc:spChg chg="mod">
          <ac:chgData name="kchristou@gsco.gov.gr" userId="S::urn:spo:guest#kchristou@gsco.gov.gr::" providerId="AD" clId="Web-{C35932ED-8414-28FD-4A04-BD38E6014B4E}" dt="2025-07-22T13:54:56.634" v="6649" actId="20577"/>
          <ac:spMkLst>
            <pc:docMk/>
            <pc:sldMk cId="380107711" sldId="1745"/>
            <ac:spMk id="11" creationId="{164C713B-EDB3-4E29-9A19-2FEDA938C14D}"/>
          </ac:spMkLst>
        </pc:spChg>
        <pc:spChg chg="mod">
          <ac:chgData name="kchristou@gsco.gov.gr" userId="S::urn:spo:guest#kchristou@gsco.gov.gr::" providerId="AD" clId="Web-{C35932ED-8414-28FD-4A04-BD38E6014B4E}" dt="2025-07-22T13:55:02.321" v="6650" actId="1076"/>
          <ac:spMkLst>
            <pc:docMk/>
            <pc:sldMk cId="380107711" sldId="1745"/>
            <ac:spMk id="13" creationId="{305797DC-CFC6-4C94-A69E-7CCEBDCDCBC6}"/>
          </ac:spMkLst>
        </pc:spChg>
      </pc:sldChg>
      <pc:sldChg chg="addSp delSp modSp">
        <pc:chgData name="kchristou@gsco.gov.gr" userId="S::urn:spo:guest#kchristou@gsco.gov.gr::" providerId="AD" clId="Web-{C35932ED-8414-28FD-4A04-BD38E6014B4E}" dt="2025-07-22T15:10:23.551" v="7898"/>
        <pc:sldMkLst>
          <pc:docMk/>
          <pc:sldMk cId="3149460739" sldId="1746"/>
        </pc:sldMkLst>
        <pc:spChg chg="add mod">
          <ac:chgData name="kchristou@gsco.gov.gr" userId="S::urn:spo:guest#kchristou@gsco.gov.gr::" providerId="AD" clId="Web-{C35932ED-8414-28FD-4A04-BD38E6014B4E}" dt="2025-07-22T13:35:57.322" v="6319" actId="1076"/>
          <ac:spMkLst>
            <pc:docMk/>
            <pc:sldMk cId="3149460739" sldId="1746"/>
            <ac:spMk id="3" creationId="{5DEE26E6-6FE6-B4E0-72DE-157C6762AE82}"/>
          </ac:spMkLst>
        </pc:spChg>
        <pc:spChg chg="mod">
          <ac:chgData name="kchristou@gsco.gov.gr" userId="S::urn:spo:guest#kchristou@gsco.gov.gr::" providerId="AD" clId="Web-{C35932ED-8414-28FD-4A04-BD38E6014B4E}" dt="2025-07-22T15:07:46.732" v="7826" actId="1076"/>
          <ac:spMkLst>
            <pc:docMk/>
            <pc:sldMk cId="3149460739" sldId="1746"/>
            <ac:spMk id="11" creationId="{71CBDAB3-FA51-078D-394B-7F57C6E81D71}"/>
          </ac:spMkLst>
        </pc:spChg>
        <pc:graphicFrameChg chg="mod modGraphic">
          <ac:chgData name="kchristou@gsco.gov.gr" userId="S::urn:spo:guest#kchristou@gsco.gov.gr::" providerId="AD" clId="Web-{C35932ED-8414-28FD-4A04-BD38E6014B4E}" dt="2025-07-22T15:10:23.551" v="7898"/>
          <ac:graphicFrameMkLst>
            <pc:docMk/>
            <pc:sldMk cId="3149460739" sldId="1746"/>
            <ac:graphicFrameMk id="7" creationId="{D7D59CF0-498B-83DD-65D3-8928B7040DAB}"/>
          </ac:graphicFrameMkLst>
        </pc:graphicFrameChg>
        <pc:cxnChg chg="add del mod">
          <ac:chgData name="kchristou@gsco.gov.gr" userId="S::urn:spo:guest#kchristou@gsco.gov.gr::" providerId="AD" clId="Web-{C35932ED-8414-28FD-4A04-BD38E6014B4E}" dt="2025-07-22T13:33:55.005" v="6304"/>
          <ac:cxnSpMkLst>
            <pc:docMk/>
            <pc:sldMk cId="3149460739" sldId="1746"/>
            <ac:cxnSpMk id="5" creationId="{2ED27263-23E2-A76A-F853-0F9FA65EB3A3}"/>
          </ac:cxnSpMkLst>
        </pc:cxnChg>
      </pc:sldChg>
      <pc:sldChg chg="modSp">
        <pc:chgData name="kchristou@gsco.gov.gr" userId="S::urn:spo:guest#kchristou@gsco.gov.gr::" providerId="AD" clId="Web-{C35932ED-8414-28FD-4A04-BD38E6014B4E}" dt="2025-07-22T14:42:39.656" v="7559" actId="1076"/>
        <pc:sldMkLst>
          <pc:docMk/>
          <pc:sldMk cId="614415875" sldId="1747"/>
        </pc:sldMkLst>
        <pc:spChg chg="mod">
          <ac:chgData name="kchristou@gsco.gov.gr" userId="S::urn:spo:guest#kchristou@gsco.gov.gr::" providerId="AD" clId="Web-{C35932ED-8414-28FD-4A04-BD38E6014B4E}" dt="2025-07-22T14:41:12.261" v="7531" actId="20577"/>
          <ac:spMkLst>
            <pc:docMk/>
            <pc:sldMk cId="614415875" sldId="1747"/>
            <ac:spMk id="9" creationId="{95E82823-E321-0453-5309-F9E252A018B3}"/>
          </ac:spMkLst>
        </pc:spChg>
        <pc:spChg chg="mod">
          <ac:chgData name="kchristou@gsco.gov.gr" userId="S::urn:spo:guest#kchristou@gsco.gov.gr::" providerId="AD" clId="Web-{C35932ED-8414-28FD-4A04-BD38E6014B4E}" dt="2025-07-22T14:41:16.043" v="7532" actId="1076"/>
          <ac:spMkLst>
            <pc:docMk/>
            <pc:sldMk cId="614415875" sldId="1747"/>
            <ac:spMk id="10" creationId="{E9363C44-A24D-2CE9-5006-145A379F0642}"/>
          </ac:spMkLst>
        </pc:spChg>
        <pc:spChg chg="mod">
          <ac:chgData name="kchristou@gsco.gov.gr" userId="S::urn:spo:guest#kchristou@gsco.gov.gr::" providerId="AD" clId="Web-{C35932ED-8414-28FD-4A04-BD38E6014B4E}" dt="2025-07-22T14:42:35.312" v="7558" actId="14100"/>
          <ac:spMkLst>
            <pc:docMk/>
            <pc:sldMk cId="614415875" sldId="1747"/>
            <ac:spMk id="16" creationId="{5D584893-3196-524B-D5C7-41ABF4F6094D}"/>
          </ac:spMkLst>
        </pc:spChg>
        <pc:spChg chg="mod">
          <ac:chgData name="kchristou@gsco.gov.gr" userId="S::urn:spo:guest#kchristou@gsco.gov.gr::" providerId="AD" clId="Web-{C35932ED-8414-28FD-4A04-BD38E6014B4E}" dt="2025-07-22T14:42:39.656" v="7559" actId="1076"/>
          <ac:spMkLst>
            <pc:docMk/>
            <pc:sldMk cId="614415875" sldId="1747"/>
            <ac:spMk id="17" creationId="{C0F81D06-B6A8-4A8F-8043-5DB8AFD02D6D}"/>
          </ac:spMkLst>
        </pc:spChg>
      </pc:sldChg>
      <pc:sldChg chg="addSp delSp modSp">
        <pc:chgData name="kchristou@gsco.gov.gr" userId="S::urn:spo:guest#kchristou@gsco.gov.gr::" providerId="AD" clId="Web-{C35932ED-8414-28FD-4A04-BD38E6014B4E}" dt="2025-07-22T08:29:03.266" v="650" actId="14100"/>
        <pc:sldMkLst>
          <pc:docMk/>
          <pc:sldMk cId="42924211" sldId="1749"/>
        </pc:sldMkLst>
        <pc:spChg chg="add mod">
          <ac:chgData name="kchristou@gsco.gov.gr" userId="S::urn:spo:guest#kchristou@gsco.gov.gr::" providerId="AD" clId="Web-{C35932ED-8414-28FD-4A04-BD38E6014B4E}" dt="2025-07-22T08:28:39.890" v="649" actId="1076"/>
          <ac:spMkLst>
            <pc:docMk/>
            <pc:sldMk cId="42924211" sldId="1749"/>
            <ac:spMk id="3" creationId="{A534A535-636C-1758-6130-D82817270050}"/>
          </ac:spMkLst>
        </pc:spChg>
        <pc:spChg chg="mod">
          <ac:chgData name="kchristou@gsco.gov.gr" userId="S::urn:spo:guest#kchristou@gsco.gov.gr::" providerId="AD" clId="Web-{C35932ED-8414-28FD-4A04-BD38E6014B4E}" dt="2025-07-22T08:00:41.228" v="21" actId="1076"/>
          <ac:spMkLst>
            <pc:docMk/>
            <pc:sldMk cId="42924211" sldId="1749"/>
            <ac:spMk id="4" creationId="{32D971F0-EEA3-A05E-BDA9-2039134DC6E9}"/>
          </ac:spMkLst>
        </pc:spChg>
        <pc:spChg chg="mod">
          <ac:chgData name="kchristou@gsco.gov.gr" userId="S::urn:spo:guest#kchristou@gsco.gov.gr::" providerId="AD" clId="Web-{C35932ED-8414-28FD-4A04-BD38E6014B4E}" dt="2025-07-22T08:00:41.244" v="22" actId="1076"/>
          <ac:spMkLst>
            <pc:docMk/>
            <pc:sldMk cId="42924211" sldId="1749"/>
            <ac:spMk id="5" creationId="{0839696E-781B-943C-2550-26EFBF75E911}"/>
          </ac:spMkLst>
        </pc:spChg>
        <pc:spChg chg="mod">
          <ac:chgData name="kchristou@gsco.gov.gr" userId="S::urn:spo:guest#kchristou@gsco.gov.gr::" providerId="AD" clId="Web-{C35932ED-8414-28FD-4A04-BD38E6014B4E}" dt="2025-07-22T08:00:41.290" v="25" actId="1076"/>
          <ac:spMkLst>
            <pc:docMk/>
            <pc:sldMk cId="42924211" sldId="1749"/>
            <ac:spMk id="8" creationId="{EA112854-6DCC-4473-3CF3-EE3C76D326A6}"/>
          </ac:spMkLst>
        </pc:spChg>
        <pc:spChg chg="mod">
          <ac:chgData name="kchristou@gsco.gov.gr" userId="S::urn:spo:guest#kchristou@gsco.gov.gr::" providerId="AD" clId="Web-{C35932ED-8414-28FD-4A04-BD38E6014B4E}" dt="2025-07-22T08:00:41.259" v="23" actId="1076"/>
          <ac:spMkLst>
            <pc:docMk/>
            <pc:sldMk cId="42924211" sldId="1749"/>
            <ac:spMk id="9" creationId="{981418D1-C768-E261-8D15-64DF088EFBEE}"/>
          </ac:spMkLst>
        </pc:spChg>
        <pc:spChg chg="mod">
          <ac:chgData name="kchristou@gsco.gov.gr" userId="S::urn:spo:guest#kchristou@gsco.gov.gr::" providerId="AD" clId="Web-{C35932ED-8414-28FD-4A04-BD38E6014B4E}" dt="2025-07-22T08:00:41.275" v="24" actId="1076"/>
          <ac:spMkLst>
            <pc:docMk/>
            <pc:sldMk cId="42924211" sldId="1749"/>
            <ac:spMk id="10" creationId="{F1AF9FF4-D2CC-1289-753A-F519C7D0F444}"/>
          </ac:spMkLst>
        </pc:spChg>
        <pc:spChg chg="add mod">
          <ac:chgData name="kchristou@gsco.gov.gr" userId="S::urn:spo:guest#kchristou@gsco.gov.gr::" providerId="AD" clId="Web-{C35932ED-8414-28FD-4A04-BD38E6014B4E}" dt="2025-07-22T08:04:40.517" v="53" actId="1076"/>
          <ac:spMkLst>
            <pc:docMk/>
            <pc:sldMk cId="42924211" sldId="1749"/>
            <ac:spMk id="11" creationId="{44049CED-BE4B-762C-9039-D7898BEA39E7}"/>
          </ac:spMkLst>
        </pc:spChg>
        <pc:spChg chg="mod">
          <ac:chgData name="kchristou@gsco.gov.gr" userId="S::urn:spo:guest#kchristou@gsco.gov.gr::" providerId="AD" clId="Web-{C35932ED-8414-28FD-4A04-BD38E6014B4E}" dt="2025-07-22T08:00:41.290" v="26" actId="1076"/>
          <ac:spMkLst>
            <pc:docMk/>
            <pc:sldMk cId="42924211" sldId="1749"/>
            <ac:spMk id="12" creationId="{C66C4013-CF33-7A6F-BADA-90882B3F188C}"/>
          </ac:spMkLst>
        </pc:spChg>
        <pc:spChg chg="add mod">
          <ac:chgData name="kchristou@gsco.gov.gr" userId="S::urn:spo:guest#kchristou@gsco.gov.gr::" providerId="AD" clId="Web-{C35932ED-8414-28FD-4A04-BD38E6014B4E}" dt="2025-07-22T08:04:21.172" v="43" actId="1076"/>
          <ac:spMkLst>
            <pc:docMk/>
            <pc:sldMk cId="42924211" sldId="1749"/>
            <ac:spMk id="14" creationId="{46D577C6-9CDA-5D59-BB45-EB859FF2D9D2}"/>
          </ac:spMkLst>
        </pc:spChg>
        <pc:spChg chg="add mod">
          <ac:chgData name="kchristou@gsco.gov.gr" userId="S::urn:spo:guest#kchristou@gsco.gov.gr::" providerId="AD" clId="Web-{C35932ED-8414-28FD-4A04-BD38E6014B4E}" dt="2025-07-22T08:06:18.426" v="107" actId="20577"/>
          <ac:spMkLst>
            <pc:docMk/>
            <pc:sldMk cId="42924211" sldId="1749"/>
            <ac:spMk id="15" creationId="{EC2A2C90-51C7-77A2-2DD6-99BA12FCEB8D}"/>
          </ac:spMkLst>
        </pc:spChg>
        <pc:spChg chg="mod">
          <ac:chgData name="kchristou@gsco.gov.gr" userId="S::urn:spo:guest#kchristou@gsco.gov.gr::" providerId="AD" clId="Web-{C35932ED-8414-28FD-4A04-BD38E6014B4E}" dt="2025-07-22T08:00:41.306" v="27" actId="1076"/>
          <ac:spMkLst>
            <pc:docMk/>
            <pc:sldMk cId="42924211" sldId="1749"/>
            <ac:spMk id="16" creationId="{CE570C8C-73C0-A2FF-F85E-8B4E5F59E1BA}"/>
          </ac:spMkLst>
        </pc:spChg>
        <pc:spChg chg="add mod">
          <ac:chgData name="kchristou@gsco.gov.gr" userId="S::urn:spo:guest#kchristou@gsco.gov.gr::" providerId="AD" clId="Web-{C35932ED-8414-28FD-4A04-BD38E6014B4E}" dt="2025-07-22T08:09:38.932" v="240" actId="1076"/>
          <ac:spMkLst>
            <pc:docMk/>
            <pc:sldMk cId="42924211" sldId="1749"/>
            <ac:spMk id="17" creationId="{04FCD9E3-CB70-BF4A-C945-9927AE30801A}"/>
          </ac:spMkLst>
        </pc:spChg>
        <pc:spChg chg="add del mod">
          <ac:chgData name="kchristou@gsco.gov.gr" userId="S::urn:spo:guest#kchristou@gsco.gov.gr::" providerId="AD" clId="Web-{C35932ED-8414-28FD-4A04-BD38E6014B4E}" dt="2025-07-22T08:09:06.119" v="200"/>
          <ac:spMkLst>
            <pc:docMk/>
            <pc:sldMk cId="42924211" sldId="1749"/>
            <ac:spMk id="18" creationId="{FCAC8125-B268-FC85-8847-854DE48764AA}"/>
          </ac:spMkLst>
        </pc:spChg>
        <pc:spChg chg="mod">
          <ac:chgData name="kchristou@gsco.gov.gr" userId="S::urn:spo:guest#kchristou@gsco.gov.gr::" providerId="AD" clId="Web-{C35932ED-8414-28FD-4A04-BD38E6014B4E}" dt="2025-07-22T08:00:41.322" v="28" actId="1076"/>
          <ac:spMkLst>
            <pc:docMk/>
            <pc:sldMk cId="42924211" sldId="1749"/>
            <ac:spMk id="19" creationId="{D3E4BCC9-F6FC-0442-A840-15917430769A}"/>
          </ac:spMkLst>
        </pc:spChg>
        <pc:spChg chg="add mod">
          <ac:chgData name="kchristou@gsco.gov.gr" userId="S::urn:spo:guest#kchristou@gsco.gov.gr::" providerId="AD" clId="Web-{C35932ED-8414-28FD-4A04-BD38E6014B4E}" dt="2025-07-22T08:20:28.265" v="602" actId="1076"/>
          <ac:spMkLst>
            <pc:docMk/>
            <pc:sldMk cId="42924211" sldId="1749"/>
            <ac:spMk id="20" creationId="{A68DBA9C-3F83-4FEB-C6DA-FD9EF7C51F83}"/>
          </ac:spMkLst>
        </pc:spChg>
        <pc:spChg chg="add mod">
          <ac:chgData name="kchristou@gsco.gov.gr" userId="S::urn:spo:guest#kchristou@gsco.gov.gr::" providerId="AD" clId="Web-{C35932ED-8414-28FD-4A04-BD38E6014B4E}" dt="2025-07-22T08:18:44.715" v="582" actId="1076"/>
          <ac:spMkLst>
            <pc:docMk/>
            <pc:sldMk cId="42924211" sldId="1749"/>
            <ac:spMk id="21" creationId="{80369024-9E2A-75C5-4DBE-2FC44806B493}"/>
          </ac:spMkLst>
        </pc:spChg>
        <pc:spChg chg="add mod ord">
          <ac:chgData name="kchristou@gsco.gov.gr" userId="S::urn:spo:guest#kchristou@gsco.gov.gr::" providerId="AD" clId="Web-{C35932ED-8414-28FD-4A04-BD38E6014B4E}" dt="2025-07-22T08:27:47.372" v="643" actId="1076"/>
          <ac:spMkLst>
            <pc:docMk/>
            <pc:sldMk cId="42924211" sldId="1749"/>
            <ac:spMk id="22" creationId="{7744D089-A765-4CAC-6FD5-A8070A217786}"/>
          </ac:spMkLst>
        </pc:spChg>
        <pc:spChg chg="add mod">
          <ac:chgData name="kchristou@gsco.gov.gr" userId="S::urn:spo:guest#kchristou@gsco.gov.gr::" providerId="AD" clId="Web-{C35932ED-8414-28FD-4A04-BD38E6014B4E}" dt="2025-07-22T08:21:23.970" v="614" actId="20577"/>
          <ac:spMkLst>
            <pc:docMk/>
            <pc:sldMk cId="42924211" sldId="1749"/>
            <ac:spMk id="23" creationId="{16A50ACB-BE4F-12B4-0623-F3A47920D0BB}"/>
          </ac:spMkLst>
        </pc:spChg>
        <pc:spChg chg="add mod ord modVis">
          <ac:chgData name="kchristou@gsco.gov.gr" userId="S::urn:spo:guest#kchristou@gsco.gov.gr::" providerId="AD" clId="Web-{C35932ED-8414-28FD-4A04-BD38E6014B4E}" dt="2025-07-22T08:20:36.359" v="604" actId="1076"/>
          <ac:spMkLst>
            <pc:docMk/>
            <pc:sldMk cId="42924211" sldId="1749"/>
            <ac:spMk id="30" creationId="{50CF64F3-D78A-E7FC-D4C1-00EC63BF18B8}"/>
          </ac:spMkLst>
        </pc:spChg>
        <pc:spChg chg="add del mod">
          <ac:chgData name="kchristou@gsco.gov.gr" userId="S::urn:spo:guest#kchristou@gsco.gov.gr::" providerId="AD" clId="Web-{C35932ED-8414-28FD-4A04-BD38E6014B4E}" dt="2025-07-22T08:20:54.797" v="607"/>
          <ac:spMkLst>
            <pc:docMk/>
            <pc:sldMk cId="42924211" sldId="1749"/>
            <ac:spMk id="31" creationId="{C90D7EE6-9657-DF33-BBEA-E9372AF517BB}"/>
          </ac:spMkLst>
        </pc:spChg>
        <pc:spChg chg="add mod">
          <ac:chgData name="kchristou@gsco.gov.gr" userId="S::urn:spo:guest#kchristou@gsco.gov.gr::" providerId="AD" clId="Web-{C35932ED-8414-28FD-4A04-BD38E6014B4E}" dt="2025-07-22T08:22:44.894" v="640" actId="1076"/>
          <ac:spMkLst>
            <pc:docMk/>
            <pc:sldMk cId="42924211" sldId="1749"/>
            <ac:spMk id="32" creationId="{A4DEEA48-94AA-F95A-A116-CF0CC54CD608}"/>
          </ac:spMkLst>
        </pc:spChg>
        <pc:graphicFrameChg chg="add del mod modGraphic">
          <ac:chgData name="kchristou@gsco.gov.gr" userId="S::urn:spo:guest#kchristou@gsco.gov.gr::" providerId="AD" clId="Web-{C35932ED-8414-28FD-4A04-BD38E6014B4E}" dt="2025-07-22T08:09:41.338" v="241"/>
          <ac:graphicFrameMkLst>
            <pc:docMk/>
            <pc:sldMk cId="42924211" sldId="1749"/>
            <ac:graphicFrameMk id="25" creationId="{3CE2E7E6-45C4-48B2-5024-C7F24BD15F9E}"/>
          </ac:graphicFrameMkLst>
        </pc:graphicFrameChg>
        <pc:graphicFrameChg chg="add del mod modGraphic">
          <ac:chgData name="kchristou@gsco.gov.gr" userId="S::urn:spo:guest#kchristou@gsco.gov.gr::" providerId="AD" clId="Web-{C35932ED-8414-28FD-4A04-BD38E6014B4E}" dt="2025-07-22T08:22:51.457" v="642"/>
          <ac:graphicFrameMkLst>
            <pc:docMk/>
            <pc:sldMk cId="42924211" sldId="1749"/>
            <ac:graphicFrameMk id="27" creationId="{D5BB94EB-5749-9DA8-CEFE-5E863A47648A}"/>
          </ac:graphicFrameMkLst>
        </pc:graphicFrameChg>
        <pc:graphicFrameChg chg="add del mod modGraphic">
          <ac:chgData name="kchristou@gsco.gov.gr" userId="S::urn:spo:guest#kchristou@gsco.gov.gr::" providerId="AD" clId="Web-{C35932ED-8414-28FD-4A04-BD38E6014B4E}" dt="2025-07-22T08:18:28.027" v="580"/>
          <ac:graphicFrameMkLst>
            <pc:docMk/>
            <pc:sldMk cId="42924211" sldId="1749"/>
            <ac:graphicFrameMk id="29" creationId="{089C1ED0-8F7C-526F-7809-815CA6DCF14B}"/>
          </ac:graphicFrameMkLst>
        </pc:graphicFrameChg>
        <pc:cxnChg chg="add mod">
          <ac:chgData name="kchristou@gsco.gov.gr" userId="S::urn:spo:guest#kchristou@gsco.gov.gr::" providerId="AD" clId="Web-{C35932ED-8414-28FD-4A04-BD38E6014B4E}" dt="2025-07-22T08:29:03.266" v="650" actId="14100"/>
          <ac:cxnSpMkLst>
            <pc:docMk/>
            <pc:sldMk cId="42924211" sldId="1749"/>
            <ac:cxnSpMk id="7" creationId="{69CEB89B-F127-CD20-F39C-86B7FFEC126B}"/>
          </ac:cxnSpMkLst>
        </pc:cxnChg>
        <pc:cxnChg chg="add mod">
          <ac:chgData name="kchristou@gsco.gov.gr" userId="S::urn:spo:guest#kchristou@gsco.gov.gr::" providerId="AD" clId="Web-{C35932ED-8414-28FD-4A04-BD38E6014B4E}" dt="2025-07-22T08:28:25.452" v="647" actId="14100"/>
          <ac:cxnSpMkLst>
            <pc:docMk/>
            <pc:sldMk cId="42924211" sldId="1749"/>
            <ac:cxnSpMk id="13" creationId="{E738EC1C-961A-D067-657B-D5275E1C3DF4}"/>
          </ac:cxnSpMkLst>
        </pc:cxnChg>
      </pc:sldChg>
      <pc:sldChg chg="modSp">
        <pc:chgData name="kchristou@gsco.gov.gr" userId="S::urn:spo:guest#kchristou@gsco.gov.gr::" providerId="AD" clId="Web-{C35932ED-8414-28FD-4A04-BD38E6014B4E}" dt="2025-07-22T15:02:43.376" v="7785" actId="1076"/>
        <pc:sldMkLst>
          <pc:docMk/>
          <pc:sldMk cId="3873979063" sldId="1750"/>
        </pc:sldMkLst>
        <pc:spChg chg="mod">
          <ac:chgData name="kchristou@gsco.gov.gr" userId="S::urn:spo:guest#kchristou@gsco.gov.gr::" providerId="AD" clId="Web-{C35932ED-8414-28FD-4A04-BD38E6014B4E}" dt="2025-07-22T14:52:54.587" v="7591" actId="1076"/>
          <ac:spMkLst>
            <pc:docMk/>
            <pc:sldMk cId="3873979063" sldId="1750"/>
            <ac:spMk id="2" creationId="{13BBD728-068B-5BD3-34B7-F868425281D8}"/>
          </ac:spMkLst>
        </pc:spChg>
        <pc:spChg chg="mod">
          <ac:chgData name="kchristou@gsco.gov.gr" userId="S::urn:spo:guest#kchristou@gsco.gov.gr::" providerId="AD" clId="Web-{C35932ED-8414-28FD-4A04-BD38E6014B4E}" dt="2025-07-22T14:53:54.183" v="7639" actId="14100"/>
          <ac:spMkLst>
            <pc:docMk/>
            <pc:sldMk cId="3873979063" sldId="1750"/>
            <ac:spMk id="8" creationId="{C6176E13-822F-0367-5211-442B48F7A54E}"/>
          </ac:spMkLst>
        </pc:spChg>
        <pc:spChg chg="mod">
          <ac:chgData name="kchristou@gsco.gov.gr" userId="S::urn:spo:guest#kchristou@gsco.gov.gr::" providerId="AD" clId="Web-{C35932ED-8414-28FD-4A04-BD38E6014B4E}" dt="2025-07-22T14:52:57.180" v="7592" actId="20577"/>
          <ac:spMkLst>
            <pc:docMk/>
            <pc:sldMk cId="3873979063" sldId="1750"/>
            <ac:spMk id="9" creationId="{F32AC677-A693-1CB3-21C6-F523F8F6F068}"/>
          </ac:spMkLst>
        </pc:spChg>
        <pc:spChg chg="mod">
          <ac:chgData name="kchristou@gsco.gov.gr" userId="S::urn:spo:guest#kchristou@gsco.gov.gr::" providerId="AD" clId="Web-{C35932ED-8414-28FD-4A04-BD38E6014B4E}" dt="2025-07-22T14:53:57.839" v="7640" actId="14100"/>
          <ac:spMkLst>
            <pc:docMk/>
            <pc:sldMk cId="3873979063" sldId="1750"/>
            <ac:spMk id="12" creationId="{4A6631AC-FC30-B3B3-A206-32B815408BDF}"/>
          </ac:spMkLst>
        </pc:spChg>
        <pc:spChg chg="mod">
          <ac:chgData name="kchristou@gsco.gov.gr" userId="S::urn:spo:guest#kchristou@gsco.gov.gr::" providerId="AD" clId="Web-{C35932ED-8414-28FD-4A04-BD38E6014B4E}" dt="2025-07-22T14:54:15.277" v="7645" actId="20577"/>
          <ac:spMkLst>
            <pc:docMk/>
            <pc:sldMk cId="3873979063" sldId="1750"/>
            <ac:spMk id="16" creationId="{07E8AD13-3A8D-0C78-8182-0E2A7BF49C49}"/>
          </ac:spMkLst>
        </pc:spChg>
        <pc:spChg chg="mod">
          <ac:chgData name="kchristou@gsco.gov.gr" userId="S::urn:spo:guest#kchristou@gsco.gov.gr::" providerId="AD" clId="Web-{C35932ED-8414-28FD-4A04-BD38E6014B4E}" dt="2025-07-22T14:54:18.418" v="7646" actId="1076"/>
          <ac:spMkLst>
            <pc:docMk/>
            <pc:sldMk cId="3873979063" sldId="1750"/>
            <ac:spMk id="19" creationId="{8B880574-4268-4977-FBA4-931F1EDDCCF7}"/>
          </ac:spMkLst>
        </pc:spChg>
        <pc:spChg chg="mod">
          <ac:chgData name="kchristou@gsco.gov.gr" userId="S::urn:spo:guest#kchristou@gsco.gov.gr::" providerId="AD" clId="Web-{C35932ED-8414-28FD-4A04-BD38E6014B4E}" dt="2025-07-22T15:02:01.562" v="7780" actId="20577"/>
          <ac:spMkLst>
            <pc:docMk/>
            <pc:sldMk cId="3873979063" sldId="1750"/>
            <ac:spMk id="22" creationId="{0F835197-CF75-4A4C-1D84-ABD34323FF17}"/>
          </ac:spMkLst>
        </pc:spChg>
        <pc:spChg chg="mod">
          <ac:chgData name="kchristou@gsco.gov.gr" userId="S::urn:spo:guest#kchristou@gsco.gov.gr::" providerId="AD" clId="Web-{C35932ED-8414-28FD-4A04-BD38E6014B4E}" dt="2025-07-22T15:01:58.749" v="7779" actId="1076"/>
          <ac:spMkLst>
            <pc:docMk/>
            <pc:sldMk cId="3873979063" sldId="1750"/>
            <ac:spMk id="23" creationId="{F65C9666-A6E8-80A0-4AC3-758FBB895FF5}"/>
          </ac:spMkLst>
        </pc:spChg>
        <pc:spChg chg="mod">
          <ac:chgData name="kchristou@gsco.gov.gr" userId="S::urn:spo:guest#kchristou@gsco.gov.gr::" providerId="AD" clId="Web-{C35932ED-8414-28FD-4A04-BD38E6014B4E}" dt="2025-07-22T14:59:59.682" v="7709" actId="14100"/>
          <ac:spMkLst>
            <pc:docMk/>
            <pc:sldMk cId="3873979063" sldId="1750"/>
            <ac:spMk id="24" creationId="{12CABFF0-2E30-DD5A-258A-0ADA3F72B54F}"/>
          </ac:spMkLst>
        </pc:spChg>
        <pc:spChg chg="mod">
          <ac:chgData name="kchristou@gsco.gov.gr" userId="S::urn:spo:guest#kchristou@gsco.gov.gr::" providerId="AD" clId="Web-{C35932ED-8414-28FD-4A04-BD38E6014B4E}" dt="2025-07-22T14:55:06.842" v="7681" actId="20577"/>
          <ac:spMkLst>
            <pc:docMk/>
            <pc:sldMk cId="3873979063" sldId="1750"/>
            <ac:spMk id="26" creationId="{9E917B47-69B4-953A-3F1F-AACF148CE19B}"/>
          </ac:spMkLst>
        </pc:spChg>
        <pc:spChg chg="mod">
          <ac:chgData name="kchristou@gsco.gov.gr" userId="S::urn:spo:guest#kchristou@gsco.gov.gr::" providerId="AD" clId="Web-{C35932ED-8414-28FD-4A04-BD38E6014B4E}" dt="2025-07-22T15:02:43.376" v="7785" actId="1076"/>
          <ac:spMkLst>
            <pc:docMk/>
            <pc:sldMk cId="3873979063" sldId="1750"/>
            <ac:spMk id="27" creationId="{CC71904F-65B9-0749-F29A-25189A819357}"/>
          </ac:spMkLst>
        </pc:spChg>
        <pc:spChg chg="mod">
          <ac:chgData name="kchristou@gsco.gov.gr" userId="S::urn:spo:guest#kchristou@gsco.gov.gr::" providerId="AD" clId="Web-{C35932ED-8414-28FD-4A04-BD38E6014B4E}" dt="2025-07-22T15:02:40.876" v="7784" actId="1076"/>
          <ac:spMkLst>
            <pc:docMk/>
            <pc:sldMk cId="3873979063" sldId="1750"/>
            <ac:spMk id="28" creationId="{2ABE9826-82CF-4595-444E-F90A948C644A}"/>
          </ac:spMkLst>
        </pc:spChg>
        <pc:spChg chg="mod">
          <ac:chgData name="kchristou@gsco.gov.gr" userId="S::urn:spo:guest#kchristou@gsco.gov.gr::" providerId="AD" clId="Web-{C35932ED-8414-28FD-4A04-BD38E6014B4E}" dt="2025-07-22T14:55:17.749" v="7684" actId="1076"/>
          <ac:spMkLst>
            <pc:docMk/>
            <pc:sldMk cId="3873979063" sldId="1750"/>
            <ac:spMk id="30" creationId="{EE4D5112-119A-910C-C2D7-36F6DF33D32D}"/>
          </ac:spMkLst>
        </pc:spChg>
        <pc:spChg chg="mod">
          <ac:chgData name="kchristou@gsco.gov.gr" userId="S::urn:spo:guest#kchristou@gsco.gov.gr::" providerId="AD" clId="Web-{C35932ED-8414-28FD-4A04-BD38E6014B4E}" dt="2025-07-22T15:00:50.075" v="7750" actId="20577"/>
          <ac:spMkLst>
            <pc:docMk/>
            <pc:sldMk cId="3873979063" sldId="1750"/>
            <ac:spMk id="32" creationId="{D3FF8C61-7788-2B1D-B697-A49A8E6BA7A8}"/>
          </ac:spMkLst>
        </pc:spChg>
        <pc:spChg chg="mod">
          <ac:chgData name="kchristou@gsco.gov.gr" userId="S::urn:spo:guest#kchristou@gsco.gov.gr::" providerId="AD" clId="Web-{C35932ED-8414-28FD-4A04-BD38E6014B4E}" dt="2025-07-22T15:01:00.700" v="7753" actId="1076"/>
          <ac:spMkLst>
            <pc:docMk/>
            <pc:sldMk cId="3873979063" sldId="1750"/>
            <ac:spMk id="33" creationId="{88EAFA56-5820-C9B6-B23C-104A4576C255}"/>
          </ac:spMkLst>
        </pc:spChg>
      </pc:sldChg>
      <pc:sldChg chg="modSp">
        <pc:chgData name="kchristou@gsco.gov.gr" userId="S::urn:spo:guest#kchristou@gsco.gov.gr::" providerId="AD" clId="Web-{C35932ED-8414-28FD-4A04-BD38E6014B4E}" dt="2025-07-22T15:14:37.561" v="7972" actId="14100"/>
        <pc:sldMkLst>
          <pc:docMk/>
          <pc:sldMk cId="2164505280" sldId="1751"/>
        </pc:sldMkLst>
        <pc:spChg chg="mod">
          <ac:chgData name="kchristou@gsco.gov.gr" userId="S::urn:spo:guest#kchristou@gsco.gov.gr::" providerId="AD" clId="Web-{C35932ED-8414-28FD-4A04-BD38E6014B4E}" dt="2025-07-22T15:12:08.977" v="7935" actId="1076"/>
          <ac:spMkLst>
            <pc:docMk/>
            <pc:sldMk cId="2164505280" sldId="1751"/>
            <ac:spMk id="2" creationId="{484E6B38-1984-0E6D-488D-5716B1F6020D}"/>
          </ac:spMkLst>
        </pc:spChg>
        <pc:spChg chg="mod">
          <ac:chgData name="kchristou@gsco.gov.gr" userId="S::urn:spo:guest#kchristou@gsco.gov.gr::" providerId="AD" clId="Web-{C35932ED-8414-28FD-4A04-BD38E6014B4E}" dt="2025-07-22T15:12:19.368" v="7941" actId="20577"/>
          <ac:spMkLst>
            <pc:docMk/>
            <pc:sldMk cId="2164505280" sldId="1751"/>
            <ac:spMk id="9" creationId="{2F3676D9-2A48-0EDA-4106-4FB89C4E4BEF}"/>
          </ac:spMkLst>
        </pc:spChg>
        <pc:spChg chg="mod">
          <ac:chgData name="kchristou@gsco.gov.gr" userId="S::urn:spo:guest#kchristou@gsco.gov.gr::" providerId="AD" clId="Web-{C35932ED-8414-28FD-4A04-BD38E6014B4E}" dt="2025-07-22T15:14:37.561" v="7972" actId="14100"/>
          <ac:spMkLst>
            <pc:docMk/>
            <pc:sldMk cId="2164505280" sldId="1751"/>
            <ac:spMk id="14" creationId="{81D0224B-2DDD-4D1D-F1D0-5E02CDEE20EC}"/>
          </ac:spMkLst>
        </pc:spChg>
        <pc:spChg chg="mod">
          <ac:chgData name="kchristou@gsco.gov.gr" userId="S::urn:spo:guest#kchristou@gsco.gov.gr::" providerId="AD" clId="Web-{C35932ED-8414-28FD-4A04-BD38E6014B4E}" dt="2025-07-22T15:12:53.229" v="7945" actId="20577"/>
          <ac:spMkLst>
            <pc:docMk/>
            <pc:sldMk cId="2164505280" sldId="1751"/>
            <ac:spMk id="16" creationId="{92ED134D-3F76-9A90-DB09-F26A745737BA}"/>
          </ac:spMkLst>
        </pc:spChg>
        <pc:spChg chg="mod">
          <ac:chgData name="kchristou@gsco.gov.gr" userId="S::urn:spo:guest#kchristou@gsco.gov.gr::" providerId="AD" clId="Web-{C35932ED-8414-28FD-4A04-BD38E6014B4E}" dt="2025-07-22T15:14:34.358" v="7969" actId="1076"/>
          <ac:spMkLst>
            <pc:docMk/>
            <pc:sldMk cId="2164505280" sldId="1751"/>
            <ac:spMk id="17" creationId="{F3FE9E5D-DFA3-2946-649A-767B800F41E4}"/>
          </ac:spMkLst>
        </pc:spChg>
        <pc:spChg chg="mod">
          <ac:chgData name="kchristou@gsco.gov.gr" userId="S::urn:spo:guest#kchristou@gsco.gov.gr::" providerId="AD" clId="Web-{C35932ED-8414-28FD-4A04-BD38E6014B4E}" dt="2025-07-22T15:13:13.870" v="7953" actId="20577"/>
          <ac:spMkLst>
            <pc:docMk/>
            <pc:sldMk cId="2164505280" sldId="1751"/>
            <ac:spMk id="19" creationId="{F9D0286D-1048-A76C-A8C7-AC5CA24F797F}"/>
          </ac:spMkLst>
        </pc:spChg>
        <pc:spChg chg="mod">
          <ac:chgData name="kchristou@gsco.gov.gr" userId="S::urn:spo:guest#kchristou@gsco.gov.gr::" providerId="AD" clId="Web-{C35932ED-8414-28FD-4A04-BD38E6014B4E}" dt="2025-07-22T15:14:34.389" v="7970" actId="1076"/>
          <ac:spMkLst>
            <pc:docMk/>
            <pc:sldMk cId="2164505280" sldId="1751"/>
            <ac:spMk id="26" creationId="{DF4EABBA-CB66-3731-1CBF-880AB2E3DF68}"/>
          </ac:spMkLst>
        </pc:spChg>
        <pc:spChg chg="mod">
          <ac:chgData name="kchristou@gsco.gov.gr" userId="S::urn:spo:guest#kchristou@gsco.gov.gr::" providerId="AD" clId="Web-{C35932ED-8414-28FD-4A04-BD38E6014B4E}" dt="2025-07-22T15:14:34.420" v="7971" actId="1076"/>
          <ac:spMkLst>
            <pc:docMk/>
            <pc:sldMk cId="2164505280" sldId="1751"/>
            <ac:spMk id="30" creationId="{53D95602-F088-A1AA-3B7F-399C6A7D33FF}"/>
          </ac:spMkLst>
        </pc:spChg>
      </pc:sldChg>
      <pc:sldChg chg="modSp">
        <pc:chgData name="kchristou@gsco.gov.gr" userId="S::urn:spo:guest#kchristou@gsco.gov.gr::" providerId="AD" clId="Web-{C35932ED-8414-28FD-4A04-BD38E6014B4E}" dt="2025-07-22T14:17:58.611" v="7117" actId="1076"/>
        <pc:sldMkLst>
          <pc:docMk/>
          <pc:sldMk cId="4230213373" sldId="1754"/>
        </pc:sldMkLst>
        <pc:spChg chg="mod">
          <ac:chgData name="kchristou@gsco.gov.gr" userId="S::urn:spo:guest#kchristou@gsco.gov.gr::" providerId="AD" clId="Web-{C35932ED-8414-28FD-4A04-BD38E6014B4E}" dt="2025-07-22T14:17:58.611" v="7117" actId="1076"/>
          <ac:spMkLst>
            <pc:docMk/>
            <pc:sldMk cId="4230213373" sldId="1754"/>
            <ac:spMk id="12" creationId="{34738000-02A0-E3D8-D9C6-E9ADDEB668EA}"/>
          </ac:spMkLst>
        </pc:spChg>
      </pc:sldChg>
      <pc:sldChg chg="del">
        <pc:chgData name="kchristou@gsco.gov.gr" userId="S::urn:spo:guest#kchristou@gsco.gov.gr::" providerId="AD" clId="Web-{C35932ED-8414-28FD-4A04-BD38E6014B4E}" dt="2025-07-22T10:55:54.806" v="5065"/>
        <pc:sldMkLst>
          <pc:docMk/>
          <pc:sldMk cId="4209284659" sldId="1757"/>
        </pc:sldMkLst>
      </pc:sldChg>
      <pc:sldChg chg="modSp ord">
        <pc:chgData name="kchristou@gsco.gov.gr" userId="S::urn:spo:guest#kchristou@gsco.gov.gr::" providerId="AD" clId="Web-{C35932ED-8414-28FD-4A04-BD38E6014B4E}" dt="2025-07-22T13:27:00.394" v="6249" actId="1076"/>
        <pc:sldMkLst>
          <pc:docMk/>
          <pc:sldMk cId="4209284659" sldId="1758"/>
        </pc:sldMkLst>
        <pc:spChg chg="mod">
          <ac:chgData name="kchristou@gsco.gov.gr" userId="S::urn:spo:guest#kchristou@gsco.gov.gr::" providerId="AD" clId="Web-{C35932ED-8414-28FD-4A04-BD38E6014B4E}" dt="2025-07-22T12:41:02.799" v="5298"/>
          <ac:spMkLst>
            <pc:docMk/>
            <pc:sldMk cId="4209284659" sldId="1758"/>
            <ac:spMk id="3" creationId="{D5F67DE0-CCEF-9D07-8B9F-AB95F0AE7D12}"/>
          </ac:spMkLst>
        </pc:spChg>
        <pc:spChg chg="mod">
          <ac:chgData name="kchristou@gsco.gov.gr" userId="S::urn:spo:guest#kchristou@gsco.gov.gr::" providerId="AD" clId="Web-{C35932ED-8414-28FD-4A04-BD38E6014B4E}" dt="2025-07-22T12:50:50.588" v="5574" actId="20577"/>
          <ac:spMkLst>
            <pc:docMk/>
            <pc:sldMk cId="4209284659" sldId="1758"/>
            <ac:spMk id="7" creationId="{4834FE67-3BE2-8EB2-A214-09AF7249F465}"/>
          </ac:spMkLst>
        </pc:spChg>
        <pc:spChg chg="mod">
          <ac:chgData name="kchristou@gsco.gov.gr" userId="S::urn:spo:guest#kchristou@gsco.gov.gr::" providerId="AD" clId="Web-{C35932ED-8414-28FD-4A04-BD38E6014B4E}" dt="2025-07-22T12:50:38.322" v="5554" actId="20577"/>
          <ac:spMkLst>
            <pc:docMk/>
            <pc:sldMk cId="4209284659" sldId="1758"/>
            <ac:spMk id="8" creationId="{00000000-0000-0000-0000-000000000000}"/>
          </ac:spMkLst>
        </pc:spChg>
        <pc:spChg chg="mod">
          <ac:chgData name="kchristou@gsco.gov.gr" userId="S::urn:spo:guest#kchristou@gsco.gov.gr::" providerId="AD" clId="Web-{C35932ED-8414-28FD-4A04-BD38E6014B4E}" dt="2025-07-22T12:47:41.174" v="5426" actId="20577"/>
          <ac:spMkLst>
            <pc:docMk/>
            <pc:sldMk cId="4209284659" sldId="1758"/>
            <ac:spMk id="9" creationId="{A5968D0C-510B-EF09-09B9-974D17026FDA}"/>
          </ac:spMkLst>
        </pc:spChg>
        <pc:spChg chg="mod">
          <ac:chgData name="kchristou@gsco.gov.gr" userId="S::urn:spo:guest#kchristou@gsco.gov.gr::" providerId="AD" clId="Web-{C35932ED-8414-28FD-4A04-BD38E6014B4E}" dt="2025-07-22T12:48:50.364" v="5487" actId="20577"/>
          <ac:spMkLst>
            <pc:docMk/>
            <pc:sldMk cId="4209284659" sldId="1758"/>
            <ac:spMk id="11" creationId="{E40C28B8-1C06-0F56-E169-AB79D0AA3246}"/>
          </ac:spMkLst>
        </pc:spChg>
        <pc:spChg chg="mod">
          <ac:chgData name="kchristou@gsco.gov.gr" userId="S::urn:spo:guest#kchristou@gsco.gov.gr::" providerId="AD" clId="Web-{C35932ED-8414-28FD-4A04-BD38E6014B4E}" dt="2025-07-22T13:27:00.394" v="6249" actId="1076"/>
          <ac:spMkLst>
            <pc:docMk/>
            <pc:sldMk cId="4209284659" sldId="1758"/>
            <ac:spMk id="12" creationId="{D9CC85D6-2505-60AF-A0B0-D57B78E09538}"/>
          </ac:spMkLst>
        </pc:spChg>
        <pc:spChg chg="mod">
          <ac:chgData name="kchristou@gsco.gov.gr" userId="S::urn:spo:guest#kchristou@gsco.gov.gr::" providerId="AD" clId="Web-{C35932ED-8414-28FD-4A04-BD38E6014B4E}" dt="2025-07-22T12:47:59.206" v="5459" actId="20577"/>
          <ac:spMkLst>
            <pc:docMk/>
            <pc:sldMk cId="4209284659" sldId="1758"/>
            <ac:spMk id="13" creationId="{76609D03-4217-AEBF-664E-AF8D90CD8D2F}"/>
          </ac:spMkLst>
        </pc:spChg>
        <pc:spChg chg="mod">
          <ac:chgData name="kchristou@gsco.gov.gr" userId="S::urn:spo:guest#kchristou@gsco.gov.gr::" providerId="AD" clId="Web-{C35932ED-8414-28FD-4A04-BD38E6014B4E}" dt="2025-07-22T12:46:01.951" v="5391" actId="20577"/>
          <ac:spMkLst>
            <pc:docMk/>
            <pc:sldMk cId="4209284659" sldId="1758"/>
            <ac:spMk id="14" creationId="{C06EB1C2-B1EB-324E-AD44-2BFD094CE24A}"/>
          </ac:spMkLst>
        </pc:spChg>
        <pc:spChg chg="mod">
          <ac:chgData name="kchristou@gsco.gov.gr" userId="S::urn:spo:guest#kchristou@gsco.gov.gr::" providerId="AD" clId="Web-{C35932ED-8414-28FD-4A04-BD38E6014B4E}" dt="2025-07-22T12:42:41.474" v="5332" actId="1076"/>
          <ac:spMkLst>
            <pc:docMk/>
            <pc:sldMk cId="4209284659" sldId="1758"/>
            <ac:spMk id="1480" creationId="{00000000-0000-0000-0000-000000000000}"/>
          </ac:spMkLst>
        </pc:spChg>
        <pc:spChg chg="mod">
          <ac:chgData name="kchristou@gsco.gov.gr" userId="S::urn:spo:guest#kchristou@gsco.gov.gr::" providerId="AD" clId="Web-{C35932ED-8414-28FD-4A04-BD38E6014B4E}" dt="2025-07-22T12:49:48.523" v="5526" actId="20577"/>
          <ac:spMkLst>
            <pc:docMk/>
            <pc:sldMk cId="4209284659" sldId="1758"/>
            <ac:spMk id="1522" creationId="{00000000-0000-0000-0000-000000000000}"/>
          </ac:spMkLst>
        </pc:spChg>
        <pc:spChg chg="mod">
          <ac:chgData name="kchristou@gsco.gov.gr" userId="S::urn:spo:guest#kchristou@gsco.gov.gr::" providerId="AD" clId="Web-{C35932ED-8414-28FD-4A04-BD38E6014B4E}" dt="2025-07-22T12:55:36.928" v="5622" actId="20577"/>
          <ac:spMkLst>
            <pc:docMk/>
            <pc:sldMk cId="4209284659" sldId="1758"/>
            <ac:spMk id="1538" creationId="{00000000-0000-0000-0000-000000000000}"/>
          </ac:spMkLst>
        </pc:spChg>
        <pc:grpChg chg="mod">
          <ac:chgData name="kchristou@gsco.gov.gr" userId="S::urn:spo:guest#kchristou@gsco.gov.gr::" providerId="AD" clId="Web-{C35932ED-8414-28FD-4A04-BD38E6014B4E}" dt="2025-07-22T12:42:34.412" v="5331" actId="1076"/>
          <ac:grpSpMkLst>
            <pc:docMk/>
            <pc:sldMk cId="4209284659" sldId="1758"/>
            <ac:grpSpMk id="2" creationId="{00000000-0000-0000-0000-000000000000}"/>
          </ac:grpSpMkLst>
        </pc:grpChg>
      </pc:sldChg>
      <pc:sldChg chg="addSp delSp modSp add replId">
        <pc:chgData name="kchristou@gsco.gov.gr" userId="S::urn:spo:guest#kchristou@gsco.gov.gr::" providerId="AD" clId="Web-{C35932ED-8414-28FD-4A04-BD38E6014B4E}" dt="2025-07-22T15:28:13.281" v="8120" actId="1076"/>
        <pc:sldMkLst>
          <pc:docMk/>
          <pc:sldMk cId="3038362077" sldId="1759"/>
        </pc:sldMkLst>
        <pc:spChg chg="mod">
          <ac:chgData name="kchristou@gsco.gov.gr" userId="S::urn:spo:guest#kchristou@gsco.gov.gr::" providerId="AD" clId="Web-{C35932ED-8414-28FD-4A04-BD38E6014B4E}" dt="2025-07-22T15:17:23.990" v="8043" actId="1076"/>
          <ac:spMkLst>
            <pc:docMk/>
            <pc:sldMk cId="3038362077" sldId="1759"/>
            <ac:spMk id="2" creationId="{C8002EC8-AD1A-B073-BCA4-2B60960D478F}"/>
          </ac:spMkLst>
        </pc:spChg>
        <pc:spChg chg="mod">
          <ac:chgData name="kchristou@gsco.gov.gr" userId="S::urn:spo:guest#kchristou@gsco.gov.gr::" providerId="AD" clId="Web-{C35932ED-8414-28FD-4A04-BD38E6014B4E}" dt="2025-07-22T08:37:58.501" v="852" actId="20577"/>
          <ac:spMkLst>
            <pc:docMk/>
            <pc:sldMk cId="3038362077" sldId="1759"/>
            <ac:spMk id="5" creationId="{85923877-07AF-C0AC-0003-B38470DFD200}"/>
          </ac:spMkLst>
        </pc:spChg>
        <pc:spChg chg="add del mod">
          <ac:chgData name="kchristou@gsco.gov.gr" userId="S::urn:spo:guest#kchristou@gsco.gov.gr::" providerId="AD" clId="Web-{C35932ED-8414-28FD-4A04-BD38E6014B4E}" dt="2025-07-22T08:41:53.088" v="980"/>
          <ac:spMkLst>
            <pc:docMk/>
            <pc:sldMk cId="3038362077" sldId="1759"/>
            <ac:spMk id="7" creationId="{EBFDC473-622E-BE0F-33B4-728F4DF56411}"/>
          </ac:spMkLst>
        </pc:spChg>
        <pc:spChg chg="mod">
          <ac:chgData name="kchristou@gsco.gov.gr" userId="S::urn:spo:guest#kchristou@gsco.gov.gr::" providerId="AD" clId="Web-{C35932ED-8414-28FD-4A04-BD38E6014B4E}" dt="2025-07-22T15:23:39.552" v="8051" actId="14100"/>
          <ac:spMkLst>
            <pc:docMk/>
            <pc:sldMk cId="3038362077" sldId="1759"/>
            <ac:spMk id="8" creationId="{3A1E4D8F-AC33-3170-F147-2F607AE29E9C}"/>
          </ac:spMkLst>
        </pc:spChg>
        <pc:spChg chg="mod">
          <ac:chgData name="kchristou@gsco.gov.gr" userId="S::urn:spo:guest#kchristou@gsco.gov.gr::" providerId="AD" clId="Web-{C35932ED-8414-28FD-4A04-BD38E6014B4E}" dt="2025-07-22T15:17:28.130" v="8044" actId="20577"/>
          <ac:spMkLst>
            <pc:docMk/>
            <pc:sldMk cId="3038362077" sldId="1759"/>
            <ac:spMk id="9" creationId="{60F72028-D220-7CA6-0159-10FCA89BF33D}"/>
          </ac:spMkLst>
        </pc:spChg>
        <pc:spChg chg="add del mod">
          <ac:chgData name="kchristou@gsco.gov.gr" userId="S::urn:spo:guest#kchristou@gsco.gov.gr::" providerId="AD" clId="Web-{C35932ED-8414-28FD-4A04-BD38E6014B4E}" dt="2025-07-22T08:50:31.977" v="1097"/>
          <ac:spMkLst>
            <pc:docMk/>
            <pc:sldMk cId="3038362077" sldId="1759"/>
            <ac:spMk id="10" creationId="{4FE84D05-4E70-7EA4-DC6E-9AE8F052C4ED}"/>
          </ac:spMkLst>
        </pc:spChg>
        <pc:spChg chg="mod">
          <ac:chgData name="kchristou@gsco.gov.gr" userId="S::urn:spo:guest#kchristou@gsco.gov.gr::" providerId="AD" clId="Web-{C35932ED-8414-28FD-4A04-BD38E6014B4E}" dt="2025-07-22T15:25:28.353" v="8082" actId="14100"/>
          <ac:spMkLst>
            <pc:docMk/>
            <pc:sldMk cId="3038362077" sldId="1759"/>
            <ac:spMk id="11" creationId="{0D509911-1E2F-C940-D08D-CBB082C514DD}"/>
          </ac:spMkLst>
        </pc:spChg>
        <pc:spChg chg="mod">
          <ac:chgData name="kchristou@gsco.gov.gr" userId="S::urn:spo:guest#kchristou@gsco.gov.gr::" providerId="AD" clId="Web-{C35932ED-8414-28FD-4A04-BD38E6014B4E}" dt="2025-07-22T08:42:07.571" v="994" actId="20577"/>
          <ac:spMkLst>
            <pc:docMk/>
            <pc:sldMk cId="3038362077" sldId="1759"/>
            <ac:spMk id="12" creationId="{BE2A5284-7BA5-610F-90A0-4B74D18565EC}"/>
          </ac:spMkLst>
        </pc:spChg>
        <pc:spChg chg="mod">
          <ac:chgData name="kchristou@gsco.gov.gr" userId="S::urn:spo:guest#kchristou@gsco.gov.gr::" providerId="AD" clId="Web-{C35932ED-8414-28FD-4A04-BD38E6014B4E}" dt="2025-07-22T09:15:04.367" v="1495" actId="20577"/>
          <ac:spMkLst>
            <pc:docMk/>
            <pc:sldMk cId="3038362077" sldId="1759"/>
            <ac:spMk id="13" creationId="{3AC02F13-EC30-1A43-613A-B4B1B62125B5}"/>
          </ac:spMkLst>
        </pc:spChg>
        <pc:spChg chg="mod">
          <ac:chgData name="kchristou@gsco.gov.gr" userId="S::urn:spo:guest#kchristou@gsco.gov.gr::" providerId="AD" clId="Web-{C35932ED-8414-28FD-4A04-BD38E6014B4E}" dt="2025-07-22T15:24:25.491" v="8065" actId="14100"/>
          <ac:spMkLst>
            <pc:docMk/>
            <pc:sldMk cId="3038362077" sldId="1759"/>
            <ac:spMk id="14" creationId="{5CE8A57A-2C44-889F-A085-E50E02711824}"/>
          </ac:spMkLst>
        </pc:spChg>
        <pc:spChg chg="mod">
          <ac:chgData name="kchristou@gsco.gov.gr" userId="S::urn:spo:guest#kchristou@gsco.gov.gr::" providerId="AD" clId="Web-{C35932ED-8414-28FD-4A04-BD38E6014B4E}" dt="2025-07-22T15:25:25.306" v="8081" actId="14100"/>
          <ac:spMkLst>
            <pc:docMk/>
            <pc:sldMk cId="3038362077" sldId="1759"/>
            <ac:spMk id="15" creationId="{FD748708-FF91-C880-F0C5-7DABCA807794}"/>
          </ac:spMkLst>
        </pc:spChg>
        <pc:spChg chg="mod">
          <ac:chgData name="kchristou@gsco.gov.gr" userId="S::urn:spo:guest#kchristou@gsco.gov.gr::" providerId="AD" clId="Web-{C35932ED-8414-28FD-4A04-BD38E6014B4E}" dt="2025-07-22T15:23:34.520" v="8049" actId="20577"/>
          <ac:spMkLst>
            <pc:docMk/>
            <pc:sldMk cId="3038362077" sldId="1759"/>
            <ac:spMk id="16" creationId="{8CB13C29-7D54-8021-9A37-E589A2FE3AE1}"/>
          </ac:spMkLst>
        </pc:spChg>
        <pc:spChg chg="mod">
          <ac:chgData name="kchristou@gsco.gov.gr" userId="S::urn:spo:guest#kchristou@gsco.gov.gr::" providerId="AD" clId="Web-{C35932ED-8414-28FD-4A04-BD38E6014B4E}" dt="2025-07-22T08:49:27.522" v="1095" actId="20577"/>
          <ac:spMkLst>
            <pc:docMk/>
            <pc:sldMk cId="3038362077" sldId="1759"/>
            <ac:spMk id="17" creationId="{775E389D-601F-6921-5E3C-EF9F8F0C956A}"/>
          </ac:spMkLst>
        </pc:spChg>
        <pc:spChg chg="mod">
          <ac:chgData name="kchristou@gsco.gov.gr" userId="S::urn:spo:guest#kchristou@gsco.gov.gr::" providerId="AD" clId="Web-{C35932ED-8414-28FD-4A04-BD38E6014B4E}" dt="2025-07-22T15:25:21.306" v="8080" actId="14100"/>
          <ac:spMkLst>
            <pc:docMk/>
            <pc:sldMk cId="3038362077" sldId="1759"/>
            <ac:spMk id="18" creationId="{91073706-0992-9FC2-667C-B6986D979F82}"/>
          </ac:spMkLst>
        </pc:spChg>
        <pc:spChg chg="mod">
          <ac:chgData name="kchristou@gsco.gov.gr" userId="S::urn:spo:guest#kchristou@gsco.gov.gr::" providerId="AD" clId="Web-{C35932ED-8414-28FD-4A04-BD38E6014B4E}" dt="2025-07-22T15:23:42.661" v="8052" actId="1076"/>
          <ac:spMkLst>
            <pc:docMk/>
            <pc:sldMk cId="3038362077" sldId="1759"/>
            <ac:spMk id="19" creationId="{84AAE112-F133-7A94-7752-5E9C7A2AD0E5}"/>
          </ac:spMkLst>
        </pc:spChg>
        <pc:spChg chg="mod">
          <ac:chgData name="kchristou@gsco.gov.gr" userId="S::urn:spo:guest#kchristou@gsco.gov.gr::" providerId="AD" clId="Web-{C35932ED-8414-28FD-4A04-BD38E6014B4E}" dt="2025-07-22T15:28:06.547" v="8119" actId="14100"/>
          <ac:spMkLst>
            <pc:docMk/>
            <pc:sldMk cId="3038362077" sldId="1759"/>
            <ac:spMk id="20" creationId="{10B5FEA4-C96D-9D19-DD84-EB0CEE63F0E3}"/>
          </ac:spMkLst>
        </pc:spChg>
        <pc:spChg chg="mod">
          <ac:chgData name="kchristou@gsco.gov.gr" userId="S::urn:spo:guest#kchristou@gsco.gov.gr::" providerId="AD" clId="Web-{C35932ED-8414-28FD-4A04-BD38E6014B4E}" dt="2025-07-22T09:27:17.734" v="1824" actId="20577"/>
          <ac:spMkLst>
            <pc:docMk/>
            <pc:sldMk cId="3038362077" sldId="1759"/>
            <ac:spMk id="21" creationId="{33BA025F-DF39-24A1-2BDB-EDD5ADF0DED9}"/>
          </ac:spMkLst>
        </pc:spChg>
        <pc:spChg chg="mod">
          <ac:chgData name="kchristou@gsco.gov.gr" userId="S::urn:spo:guest#kchristou@gsco.gov.gr::" providerId="AD" clId="Web-{C35932ED-8414-28FD-4A04-BD38E6014B4E}" dt="2025-07-22T15:27:47.312" v="8116" actId="20577"/>
          <ac:spMkLst>
            <pc:docMk/>
            <pc:sldMk cId="3038362077" sldId="1759"/>
            <ac:spMk id="22" creationId="{619C129F-1DC0-C5A0-F28F-44DC08BD57D3}"/>
          </ac:spMkLst>
        </pc:spChg>
        <pc:spChg chg="mod">
          <ac:chgData name="kchristou@gsco.gov.gr" userId="S::urn:spo:guest#kchristou@gsco.gov.gr::" providerId="AD" clId="Web-{C35932ED-8414-28FD-4A04-BD38E6014B4E}" dt="2025-07-22T15:28:13.281" v="8120" actId="1076"/>
          <ac:spMkLst>
            <pc:docMk/>
            <pc:sldMk cId="3038362077" sldId="1759"/>
            <ac:spMk id="23" creationId="{3B924B98-D727-497F-B01F-DFC5047303AF}"/>
          </ac:spMkLst>
        </pc:spChg>
        <pc:spChg chg="mod">
          <ac:chgData name="kchristou@gsco.gov.gr" userId="S::urn:spo:guest#kchristou@gsco.gov.gr::" providerId="AD" clId="Web-{C35932ED-8414-28FD-4A04-BD38E6014B4E}" dt="2025-07-22T15:25:34.306" v="8083" actId="14100"/>
          <ac:spMkLst>
            <pc:docMk/>
            <pc:sldMk cId="3038362077" sldId="1759"/>
            <ac:spMk id="24" creationId="{E89D150B-1489-61D2-5D3F-92D95D719554}"/>
          </ac:spMkLst>
        </pc:spChg>
        <pc:spChg chg="mod">
          <ac:chgData name="kchristou@gsco.gov.gr" userId="S::urn:spo:guest#kchristou@gsco.gov.gr::" providerId="AD" clId="Web-{C35932ED-8414-28FD-4A04-BD38E6014B4E}" dt="2025-07-22T09:20:59.347" v="1525" actId="14100"/>
          <ac:spMkLst>
            <pc:docMk/>
            <pc:sldMk cId="3038362077" sldId="1759"/>
            <ac:spMk id="25" creationId="{D009C0EC-7BD8-5EDD-1F1E-77435225179B}"/>
          </ac:spMkLst>
        </pc:spChg>
        <pc:spChg chg="mod">
          <ac:chgData name="kchristou@gsco.gov.gr" userId="S::urn:spo:guest#kchristou@gsco.gov.gr::" providerId="AD" clId="Web-{C35932ED-8414-28FD-4A04-BD38E6014B4E}" dt="2025-07-22T15:24:50.992" v="8072" actId="1076"/>
          <ac:spMkLst>
            <pc:docMk/>
            <pc:sldMk cId="3038362077" sldId="1759"/>
            <ac:spMk id="26" creationId="{1B65B015-3EFA-F07D-9679-666E83A574F0}"/>
          </ac:spMkLst>
        </pc:spChg>
        <pc:spChg chg="mod">
          <ac:chgData name="kchristou@gsco.gov.gr" userId="S::urn:spo:guest#kchristou@gsco.gov.gr::" providerId="AD" clId="Web-{C35932ED-8414-28FD-4A04-BD38E6014B4E}" dt="2025-07-22T15:26:05.526" v="8094" actId="20577"/>
          <ac:spMkLst>
            <pc:docMk/>
            <pc:sldMk cId="3038362077" sldId="1759"/>
            <ac:spMk id="27" creationId="{9E496B55-AA45-A2C3-A2F1-26B8017D300C}"/>
          </ac:spMkLst>
        </pc:spChg>
        <pc:spChg chg="mod">
          <ac:chgData name="kchristou@gsco.gov.gr" userId="S::urn:spo:guest#kchristou@gsco.gov.gr::" providerId="AD" clId="Web-{C35932ED-8414-28FD-4A04-BD38E6014B4E}" dt="2025-07-22T15:25:55.135" v="8088" actId="1076"/>
          <ac:spMkLst>
            <pc:docMk/>
            <pc:sldMk cId="3038362077" sldId="1759"/>
            <ac:spMk id="28" creationId="{6EA80C1A-1C82-5639-9F31-8D3C10B5F867}"/>
          </ac:spMkLst>
        </pc:spChg>
        <pc:spChg chg="mod">
          <ac:chgData name="kchristou@gsco.gov.gr" userId="S::urn:spo:guest#kchristou@gsco.gov.gr::" providerId="AD" clId="Web-{C35932ED-8414-28FD-4A04-BD38E6014B4E}" dt="2025-07-22T09:24:08.118" v="1761" actId="14100"/>
          <ac:spMkLst>
            <pc:docMk/>
            <pc:sldMk cId="3038362077" sldId="1759"/>
            <ac:spMk id="29" creationId="{F144DDC7-8B11-A2CA-B6B9-AC2831D7C8D0}"/>
          </ac:spMkLst>
        </pc:spChg>
        <pc:spChg chg="mod">
          <ac:chgData name="kchristou@gsco.gov.gr" userId="S::urn:spo:guest#kchristou@gsco.gov.gr::" providerId="AD" clId="Web-{C35932ED-8414-28FD-4A04-BD38E6014B4E}" dt="2025-07-22T15:24:48.523" v="8071" actId="1076"/>
          <ac:spMkLst>
            <pc:docMk/>
            <pc:sldMk cId="3038362077" sldId="1759"/>
            <ac:spMk id="30" creationId="{75D80854-E7DE-88AA-88DF-A1054FFFF788}"/>
          </ac:spMkLst>
        </pc:spChg>
        <pc:spChg chg="mod">
          <ac:chgData name="kchristou@gsco.gov.gr" userId="S::urn:spo:guest#kchristou@gsco.gov.gr::" providerId="AD" clId="Web-{C35932ED-8414-28FD-4A04-BD38E6014B4E}" dt="2025-07-22T09:28:27.189" v="1878" actId="14100"/>
          <ac:spMkLst>
            <pc:docMk/>
            <pc:sldMk cId="3038362077" sldId="1759"/>
            <ac:spMk id="31" creationId="{FE2F91BE-4DF3-AFFB-9AEE-793537B691AF}"/>
          </ac:spMkLst>
        </pc:spChg>
        <pc:spChg chg="mod">
          <ac:chgData name="kchristou@gsco.gov.gr" userId="S::urn:spo:guest#kchristou@gsco.gov.gr::" providerId="AD" clId="Web-{C35932ED-8414-28FD-4A04-BD38E6014B4E}" dt="2025-07-22T15:26:44.497" v="8104" actId="14100"/>
          <ac:spMkLst>
            <pc:docMk/>
            <pc:sldMk cId="3038362077" sldId="1759"/>
            <ac:spMk id="32" creationId="{A36314B3-AF04-13CF-E20C-B557ACE83F78}"/>
          </ac:spMkLst>
        </pc:spChg>
        <pc:spChg chg="mod">
          <ac:chgData name="kchristou@gsco.gov.gr" userId="S::urn:spo:guest#kchristou@gsco.gov.gr::" providerId="AD" clId="Web-{C35932ED-8414-28FD-4A04-BD38E6014B4E}" dt="2025-07-22T15:26:47.590" v="8105" actId="14100"/>
          <ac:spMkLst>
            <pc:docMk/>
            <pc:sldMk cId="3038362077" sldId="1759"/>
            <ac:spMk id="33" creationId="{B96DFF8E-5E94-1581-8458-2B91210F5475}"/>
          </ac:spMkLst>
        </pc:spChg>
        <pc:graphicFrameChg chg="add del mod modGraphic">
          <ac:chgData name="kchristou@gsco.gov.gr" userId="S::urn:spo:guest#kchristou@gsco.gov.gr::" providerId="AD" clId="Web-{C35932ED-8414-28FD-4A04-BD38E6014B4E}" dt="2025-07-22T08:36:21.029" v="847"/>
          <ac:graphicFrameMkLst>
            <pc:docMk/>
            <pc:sldMk cId="3038362077" sldId="1759"/>
            <ac:graphicFrameMk id="6" creationId="{424D4AED-CDB0-9E58-A542-A1B2D074023D}"/>
          </ac:graphicFrameMkLst>
        </pc:graphicFrameChg>
        <pc:graphicFrameChg chg="add del mod modGraphic">
          <ac:chgData name="kchristou@gsco.gov.gr" userId="S::urn:spo:guest#kchristou@gsco.gov.gr::" providerId="AD" clId="Web-{C35932ED-8414-28FD-4A04-BD38E6014B4E}" dt="2025-07-22T08:55:54.331" v="1230"/>
          <ac:graphicFrameMkLst>
            <pc:docMk/>
            <pc:sldMk cId="3038362077" sldId="1759"/>
            <ac:graphicFrameMk id="35" creationId="{5F9D7D85-325E-CB92-171D-008E7DF87676}"/>
          </ac:graphicFrameMkLst>
        </pc:graphicFrameChg>
        <pc:graphicFrameChg chg="add del mod modGraphic">
          <ac:chgData name="kchristou@gsco.gov.gr" userId="S::urn:spo:guest#kchristou@gsco.gov.gr::" providerId="AD" clId="Web-{C35932ED-8414-28FD-4A04-BD38E6014B4E}" dt="2025-07-22T09:14:40.929" v="1490"/>
          <ac:graphicFrameMkLst>
            <pc:docMk/>
            <pc:sldMk cId="3038362077" sldId="1759"/>
            <ac:graphicFrameMk id="37" creationId="{0CEB5B3C-CC0F-2E4D-A5AC-EA2AE9E964EE}"/>
          </ac:graphicFrameMkLst>
        </pc:graphicFrameChg>
        <pc:graphicFrameChg chg="add del mod modGraphic">
          <ac:chgData name="kchristou@gsco.gov.gr" userId="S::urn:spo:guest#kchristou@gsco.gov.gr::" providerId="AD" clId="Web-{C35932ED-8414-28FD-4A04-BD38E6014B4E}" dt="2025-07-22T09:22:30.537" v="1658"/>
          <ac:graphicFrameMkLst>
            <pc:docMk/>
            <pc:sldMk cId="3038362077" sldId="1759"/>
            <ac:graphicFrameMk id="39" creationId="{874473A0-B229-A065-98AF-72464C7DAE54}"/>
          </ac:graphicFrameMkLst>
        </pc:graphicFrameChg>
        <pc:graphicFrameChg chg="add del mod modGraphic">
          <ac:chgData name="kchristou@gsco.gov.gr" userId="S::urn:spo:guest#kchristou@gsco.gov.gr::" providerId="AD" clId="Web-{C35932ED-8414-28FD-4A04-BD38E6014B4E}" dt="2025-07-22T09:23:58.196" v="1759"/>
          <ac:graphicFrameMkLst>
            <pc:docMk/>
            <pc:sldMk cId="3038362077" sldId="1759"/>
            <ac:graphicFrameMk id="41" creationId="{C0078520-A0AA-7B61-5ED4-0670512354D1}"/>
          </ac:graphicFrameMkLst>
        </pc:graphicFrameChg>
        <pc:graphicFrameChg chg="add del mod modGraphic">
          <ac:chgData name="kchristou@gsco.gov.gr" userId="S::urn:spo:guest#kchristou@gsco.gov.gr::" providerId="AD" clId="Web-{C35932ED-8414-28FD-4A04-BD38E6014B4E}" dt="2025-07-22T09:28:14.814" v="1875"/>
          <ac:graphicFrameMkLst>
            <pc:docMk/>
            <pc:sldMk cId="3038362077" sldId="1759"/>
            <ac:graphicFrameMk id="43" creationId="{263185C1-5D6C-BA55-C442-A89DEE45ECF5}"/>
          </ac:graphicFrameMkLst>
        </pc:graphicFrameChg>
      </pc:sldChg>
      <pc:sldChg chg="addSp delSp modSp add replId">
        <pc:chgData name="kchristou@gsco.gov.gr" userId="S::urn:spo:guest#kchristou@gsco.gov.gr::" providerId="AD" clId="Web-{C35932ED-8414-28FD-4A04-BD38E6014B4E}" dt="2025-07-22T10:41:19.701" v="5059"/>
        <pc:sldMkLst>
          <pc:docMk/>
          <pc:sldMk cId="1611269907" sldId="1760"/>
        </pc:sldMkLst>
        <pc:spChg chg="mod">
          <ac:chgData name="kchristou@gsco.gov.gr" userId="S::urn:spo:guest#kchristou@gsco.gov.gr::" providerId="AD" clId="Web-{C35932ED-8414-28FD-4A04-BD38E6014B4E}" dt="2025-07-22T10:30:23.414" v="4060" actId="14100"/>
          <ac:spMkLst>
            <pc:docMk/>
            <pc:sldMk cId="1611269907" sldId="1760"/>
            <ac:spMk id="5" creationId="{AFB14930-93DD-2D76-B3B8-4856AC9E7981}"/>
          </ac:spMkLst>
        </pc:spChg>
        <pc:spChg chg="del mod">
          <ac:chgData name="kchristou@gsco.gov.gr" userId="S::urn:spo:guest#kchristou@gsco.gov.gr::" providerId="AD" clId="Web-{C35932ED-8414-28FD-4A04-BD38E6014B4E}" dt="2025-07-22T10:27:16.377" v="3773"/>
          <ac:spMkLst>
            <pc:docMk/>
            <pc:sldMk cId="1611269907" sldId="1760"/>
            <ac:spMk id="7" creationId="{C9B4EED5-EA40-E905-10B6-99A2A2F03854}"/>
          </ac:spMkLst>
        </pc:spChg>
        <pc:spChg chg="add del mod">
          <ac:chgData name="kchristou@gsco.gov.gr" userId="S::urn:spo:guest#kchristou@gsco.gov.gr::" providerId="AD" clId="Web-{C35932ED-8414-28FD-4A04-BD38E6014B4E}" dt="2025-07-22T10:34:20.937" v="4383"/>
          <ac:spMkLst>
            <pc:docMk/>
            <pc:sldMk cId="1611269907" sldId="1760"/>
            <ac:spMk id="8" creationId="{884961C6-175F-DDA2-69F1-7A77911DDD20}"/>
          </ac:spMkLst>
        </pc:spChg>
        <pc:spChg chg="del mod">
          <ac:chgData name="kchristou@gsco.gov.gr" userId="S::urn:spo:guest#kchristou@gsco.gov.gr::" providerId="AD" clId="Web-{C35932ED-8414-28FD-4A04-BD38E6014B4E}" dt="2025-07-22T10:27:24.940" v="3776"/>
          <ac:spMkLst>
            <pc:docMk/>
            <pc:sldMk cId="1611269907" sldId="1760"/>
            <ac:spMk id="9" creationId="{17B2EAC7-4EBF-7587-B7CA-9864270E7BA8}"/>
          </ac:spMkLst>
        </pc:spChg>
        <pc:spChg chg="add mod">
          <ac:chgData name="kchristou@gsco.gov.gr" userId="S::urn:spo:guest#kchristou@gsco.gov.gr::" providerId="AD" clId="Web-{C35932ED-8414-28FD-4A04-BD38E6014B4E}" dt="2025-07-22T10:31:29.698" v="4065" actId="1076"/>
          <ac:spMkLst>
            <pc:docMk/>
            <pc:sldMk cId="1611269907" sldId="1760"/>
            <ac:spMk id="10" creationId="{4FA52808-1C7E-730C-8D39-93A62754492B}"/>
          </ac:spMkLst>
        </pc:spChg>
        <pc:spChg chg="mod">
          <ac:chgData name="kchristou@gsco.gov.gr" userId="S::urn:spo:guest#kchristou@gsco.gov.gr::" providerId="AD" clId="Web-{C35932ED-8414-28FD-4A04-BD38E6014B4E}" dt="2025-07-22T10:30:19.492" v="4059" actId="20577"/>
          <ac:spMkLst>
            <pc:docMk/>
            <pc:sldMk cId="1611269907" sldId="1760"/>
            <ac:spMk id="11" creationId="{6434F6B1-FC66-03C7-F6E5-688D8B49486F}"/>
          </ac:spMkLst>
        </pc:spChg>
        <pc:spChg chg="add mod">
          <ac:chgData name="kchristou@gsco.gov.gr" userId="S::urn:spo:guest#kchristou@gsco.gov.gr::" providerId="AD" clId="Web-{C35932ED-8414-28FD-4A04-BD38E6014B4E}" dt="2025-07-22T10:34:17.469" v="4382" actId="1076"/>
          <ac:spMkLst>
            <pc:docMk/>
            <pc:sldMk cId="1611269907" sldId="1760"/>
            <ac:spMk id="12" creationId="{85F8FBE9-C1A1-C8EC-2660-3A230B40D864}"/>
          </ac:spMkLst>
        </pc:spChg>
        <pc:spChg chg="add del mod">
          <ac:chgData name="kchristou@gsco.gov.gr" userId="S::urn:spo:guest#kchristou@gsco.gov.gr::" providerId="AD" clId="Web-{C35932ED-8414-28FD-4A04-BD38E6014B4E}" dt="2025-07-22T10:41:19.701" v="5059"/>
          <ac:spMkLst>
            <pc:docMk/>
            <pc:sldMk cId="1611269907" sldId="1760"/>
            <ac:spMk id="14" creationId="{5BF570C4-89DF-C22C-5026-916055BD18D6}"/>
          </ac:spMkLst>
        </pc:spChg>
        <pc:spChg chg="mod">
          <ac:chgData name="kchristou@gsco.gov.gr" userId="S::urn:spo:guest#kchristou@gsco.gov.gr::" providerId="AD" clId="Web-{C35932ED-8414-28FD-4A04-BD38E6014B4E}" dt="2025-07-22T10:24:24.872" v="3755" actId="20577"/>
          <ac:spMkLst>
            <pc:docMk/>
            <pc:sldMk cId="1611269907" sldId="1760"/>
            <ac:spMk id="15" creationId="{A4E9A59B-A985-646C-9811-5F2E0C5EC24C}"/>
          </ac:spMkLst>
        </pc:spChg>
        <pc:spChg chg="add mod">
          <ac:chgData name="kchristou@gsco.gov.gr" userId="S::urn:spo:guest#kchristou@gsco.gov.gr::" providerId="AD" clId="Web-{C35932ED-8414-28FD-4A04-BD38E6014B4E}" dt="2025-07-22T10:38:04.116" v="4638" actId="14100"/>
          <ac:spMkLst>
            <pc:docMk/>
            <pc:sldMk cId="1611269907" sldId="1760"/>
            <ac:spMk id="16" creationId="{562F5ED3-FB58-1860-A981-8CF98BEC9DC5}"/>
          </ac:spMkLst>
        </pc:spChg>
        <pc:spChg chg="add mod">
          <ac:chgData name="kchristou@gsco.gov.gr" userId="S::urn:spo:guest#kchristou@gsco.gov.gr::" providerId="AD" clId="Web-{C35932ED-8414-28FD-4A04-BD38E6014B4E}" dt="2025-07-22T10:37:29.803" v="4634" actId="20577"/>
          <ac:spMkLst>
            <pc:docMk/>
            <pc:sldMk cId="1611269907" sldId="1760"/>
            <ac:spMk id="18" creationId="{23D07FC0-EB45-FE25-0C49-1AA4A5D36D1D}"/>
          </ac:spMkLst>
        </pc:spChg>
        <pc:spChg chg="add mod">
          <ac:chgData name="kchristou@gsco.gov.gr" userId="S::urn:spo:guest#kchristou@gsco.gov.gr::" providerId="AD" clId="Web-{C35932ED-8414-28FD-4A04-BD38E6014B4E}" dt="2025-07-22T10:38:10.929" v="4640" actId="1076"/>
          <ac:spMkLst>
            <pc:docMk/>
            <pc:sldMk cId="1611269907" sldId="1760"/>
            <ac:spMk id="19" creationId="{E44D2A37-BB78-A394-4F9F-6D4F4412D573}"/>
          </ac:spMkLst>
        </pc:spChg>
        <pc:spChg chg="add mod">
          <ac:chgData name="kchristou@gsco.gov.gr" userId="S::urn:spo:guest#kchristou@gsco.gov.gr::" providerId="AD" clId="Web-{C35932ED-8414-28FD-4A04-BD38E6014B4E}" dt="2025-07-22T10:41:17.873" v="5058" actId="1076"/>
          <ac:spMkLst>
            <pc:docMk/>
            <pc:sldMk cId="1611269907" sldId="1760"/>
            <ac:spMk id="20" creationId="{DDED5FF8-BFA9-6ADC-DFBD-3797502D6D2A}"/>
          </ac:spMkLst>
        </pc:spChg>
        <pc:picChg chg="add del mod">
          <ac:chgData name="kchristou@gsco.gov.gr" userId="S::urn:spo:guest#kchristou@gsco.gov.gr::" providerId="AD" clId="Web-{C35932ED-8414-28FD-4A04-BD38E6014B4E}" dt="2025-07-22T10:26:42.939" v="3764"/>
          <ac:picMkLst>
            <pc:docMk/>
            <pc:sldMk cId="1611269907" sldId="1760"/>
            <ac:picMk id="3" creationId="{32BCC912-2BDA-90A6-D8E1-46B0D17345FA}"/>
          </ac:picMkLst>
        </pc:picChg>
        <pc:picChg chg="add mod">
          <ac:chgData name="kchristou@gsco.gov.gr" userId="S::urn:spo:guest#kchristou@gsco.gov.gr::" providerId="AD" clId="Web-{C35932ED-8414-28FD-4A04-BD38E6014B4E}" dt="2025-07-22T10:35:48.253" v="4393" actId="14100"/>
          <ac:picMkLst>
            <pc:docMk/>
            <pc:sldMk cId="1611269907" sldId="1760"/>
            <ac:picMk id="4" creationId="{3C5F1477-9117-AC78-0CC4-99839E302E72}"/>
          </ac:picMkLst>
        </pc:picChg>
      </pc:sldChg>
      <pc:sldChg chg="addSp delSp modSp add del">
        <pc:chgData name="kchristou@gsco.gov.gr" userId="S::urn:spo:guest#kchristou@gsco.gov.gr::" providerId="AD" clId="Web-{C35932ED-8414-28FD-4A04-BD38E6014B4E}" dt="2025-07-22T13:02:17.959" v="5701"/>
        <pc:sldMkLst>
          <pc:docMk/>
          <pc:sldMk cId="4078305146" sldId="2145708077"/>
        </pc:sldMkLst>
        <pc:spChg chg="mod">
          <ac:chgData name="kchristou@gsco.gov.gr" userId="S::urn:spo:guest#kchristou@gsco.gov.gr::" providerId="AD" clId="Web-{C35932ED-8414-28FD-4A04-BD38E6014B4E}" dt="2025-07-22T12:57:33.854" v="5655" actId="20577"/>
          <ac:spMkLst>
            <pc:docMk/>
            <pc:sldMk cId="4078305146" sldId="2145708077"/>
            <ac:spMk id="3" creationId="{DD19CD66-C2EF-BD84-BE72-877F7A64F2F8}"/>
          </ac:spMkLst>
        </pc:spChg>
        <pc:spChg chg="add del mod">
          <ac:chgData name="kchristou@gsco.gov.gr" userId="S::urn:spo:guest#kchristou@gsco.gov.gr::" providerId="AD" clId="Web-{C35932ED-8414-28FD-4A04-BD38E6014B4E}" dt="2025-07-22T10:56:46.104" v="5075"/>
          <ac:spMkLst>
            <pc:docMk/>
            <pc:sldMk cId="4078305146" sldId="2145708077"/>
            <ac:spMk id="8" creationId="{04948F42-7186-B790-F8BC-7333033EECA9}"/>
          </ac:spMkLst>
        </pc:spChg>
        <pc:spChg chg="mod">
          <ac:chgData name="kchristou@gsco.gov.gr" userId="S::urn:spo:guest#kchristou@gsco.gov.gr::" providerId="AD" clId="Web-{C35932ED-8414-28FD-4A04-BD38E6014B4E}" dt="2025-07-22T12:57:36.339" v="5657" actId="20577"/>
          <ac:spMkLst>
            <pc:docMk/>
            <pc:sldMk cId="4078305146" sldId="2145708077"/>
            <ac:spMk id="9" creationId="{330EF848-B285-35AA-15AB-49D6AEF07C88}"/>
          </ac:spMkLst>
        </pc:spChg>
        <pc:spChg chg="mod">
          <ac:chgData name="kchristou@gsco.gov.gr" userId="S::urn:spo:guest#kchristou@gsco.gov.gr::" providerId="AD" clId="Web-{C35932ED-8414-28FD-4A04-BD38E6014B4E}" dt="2025-07-22T12:57:44.980" v="5662" actId="20577"/>
          <ac:spMkLst>
            <pc:docMk/>
            <pc:sldMk cId="4078305146" sldId="2145708077"/>
            <ac:spMk id="10" creationId="{3271E413-0DDA-5793-BD3D-EAA418609F4A}"/>
          </ac:spMkLst>
        </pc:spChg>
        <pc:spChg chg="add">
          <ac:chgData name="kchristou@gsco.gov.gr" userId="S::urn:spo:guest#kchristou@gsco.gov.gr::" providerId="AD" clId="Web-{C35932ED-8414-28FD-4A04-BD38E6014B4E}" dt="2025-07-22T10:56:56.933" v="5076"/>
          <ac:spMkLst>
            <pc:docMk/>
            <pc:sldMk cId="4078305146" sldId="2145708077"/>
            <ac:spMk id="12" creationId="{314B7250-4156-89DD-ACE3-ED4FA46B7D06}"/>
          </ac:spMkLst>
        </pc:spChg>
        <pc:spChg chg="del">
          <ac:chgData name="kchristou@gsco.gov.gr" userId="S::urn:spo:guest#kchristou@gsco.gov.gr::" providerId="AD" clId="Web-{C35932ED-8414-28FD-4A04-BD38E6014B4E}" dt="2025-07-22T10:56:40.276" v="5074"/>
          <ac:spMkLst>
            <pc:docMk/>
            <pc:sldMk cId="4078305146" sldId="2145708077"/>
            <ac:spMk id="82" creationId="{CF5146BD-8D30-49E4-7E8E-ECBE53A40467}"/>
          </ac:spMkLst>
        </pc:spChg>
        <pc:spChg chg="mod">
          <ac:chgData name="kchristou@gsco.gov.gr" userId="S::urn:spo:guest#kchristou@gsco.gov.gr::" providerId="AD" clId="Web-{C35932ED-8414-28FD-4A04-BD38E6014B4E}" dt="2025-07-22T12:57:42.323" v="5660" actId="20577"/>
          <ac:spMkLst>
            <pc:docMk/>
            <pc:sldMk cId="4078305146" sldId="2145708077"/>
            <ac:spMk id="1516" creationId="{86C934B6-9BC4-05E0-2D88-98F5A0B54FCE}"/>
          </ac:spMkLst>
        </pc:spChg>
        <pc:spChg chg="mod">
          <ac:chgData name="kchristou@gsco.gov.gr" userId="S::urn:spo:guest#kchristou@gsco.gov.gr::" providerId="AD" clId="Web-{C35932ED-8414-28FD-4A04-BD38E6014B4E}" dt="2025-07-22T12:57:47.355" v="5663" actId="20577"/>
          <ac:spMkLst>
            <pc:docMk/>
            <pc:sldMk cId="4078305146" sldId="2145708077"/>
            <ac:spMk id="1531" creationId="{FA80EA6F-7158-9A09-724A-4BBFE162C0D6}"/>
          </ac:spMkLst>
        </pc:spChg>
        <pc:spChg chg="mod">
          <ac:chgData name="kchristou@gsco.gov.gr" userId="S::urn:spo:guest#kchristou@gsco.gov.gr::" providerId="AD" clId="Web-{C35932ED-8414-28FD-4A04-BD38E6014B4E}" dt="2025-07-22T12:57:39.026" v="5658" actId="20577"/>
          <ac:spMkLst>
            <pc:docMk/>
            <pc:sldMk cId="4078305146" sldId="2145708077"/>
            <ac:spMk id="1538" creationId="{1C3437A6-B6CB-F60B-2B3B-E30AB25AB9CA}"/>
          </ac:spMkLst>
        </pc:spChg>
        <pc:cxnChg chg="add">
          <ac:chgData name="kchristou@gsco.gov.gr" userId="S::urn:spo:guest#kchristou@gsco.gov.gr::" providerId="AD" clId="Web-{C35932ED-8414-28FD-4A04-BD38E6014B4E}" dt="2025-07-22T10:56:56.949" v="5077"/>
          <ac:cxnSpMkLst>
            <pc:docMk/>
            <pc:sldMk cId="4078305146" sldId="2145708077"/>
            <ac:cxnSpMk id="14" creationId="{77E5BA87-8A37-D45F-EAED-3FB5DF63D79C}"/>
          </ac:cxnSpMkLst>
        </pc:cxnChg>
      </pc:sldChg>
      <pc:sldChg chg="modSp add">
        <pc:chgData name="kchristou@gsco.gov.gr" userId="S::urn:spo:guest#kchristou@gsco.gov.gr::" providerId="AD" clId="Web-{C35932ED-8414-28FD-4A04-BD38E6014B4E}" dt="2025-07-22T12:16:05.973" v="5206" actId="20577"/>
        <pc:sldMkLst>
          <pc:docMk/>
          <pc:sldMk cId="399762257" sldId="2145708111"/>
        </pc:sldMkLst>
        <pc:spChg chg="mod">
          <ac:chgData name="kchristou@gsco.gov.gr" userId="S::urn:spo:guest#kchristou@gsco.gov.gr::" providerId="AD" clId="Web-{C35932ED-8414-28FD-4A04-BD38E6014B4E}" dt="2025-07-22T12:16:05.973" v="5206" actId="20577"/>
          <ac:spMkLst>
            <pc:docMk/>
            <pc:sldMk cId="399762257" sldId="2145708111"/>
            <ac:spMk id="3" creationId="{FD227DBC-A801-4674-0D54-D6909DF1A84D}"/>
          </ac:spMkLst>
        </pc:spChg>
      </pc:sldChg>
      <pc:sldMasterChg chg="addSldLayout">
        <pc:chgData name="kchristou@gsco.gov.gr" userId="S::urn:spo:guest#kchristou@gsco.gov.gr::" providerId="AD" clId="Web-{C35932ED-8414-28FD-4A04-BD38E6014B4E}" dt="2025-07-22T12:15:36.331" v="5199"/>
        <pc:sldMasterMkLst>
          <pc:docMk/>
          <pc:sldMasterMk cId="1443695149" sldId="2147484207"/>
        </pc:sldMasterMkLst>
        <pc:sldLayoutChg chg="add replId">
          <pc:chgData name="kchristou@gsco.gov.gr" userId="S::urn:spo:guest#kchristou@gsco.gov.gr::" providerId="AD" clId="Web-{C35932ED-8414-28FD-4A04-BD38E6014B4E}" dt="2025-07-22T12:15:36.331" v="5199"/>
          <pc:sldLayoutMkLst>
            <pc:docMk/>
            <pc:sldMasterMk cId="1443695149" sldId="2147484207"/>
            <pc:sldLayoutMk cId="3809403003" sldId="2147484227"/>
          </pc:sldLayoutMkLst>
        </pc:sldLayoutChg>
      </pc:sldMasterChg>
    </pc:docChg>
  </pc:docChgLst>
  <pc:docChgLst>
    <pc:chgData name="Έλια Αποστολοπούλου" userId="S::apostolopoulou_n@mintour.gr::55324f8b-f5ef-49c9-8ce3-afc1f275c581" providerId="AD" clId="Web-{548ECE82-E029-9082-4CCD-A2F6CF107B9D}"/>
    <pc:docChg chg="modSld">
      <pc:chgData name="Έλια Αποστολοπούλου" userId="S::apostolopoulou_n@mintour.gr::55324f8b-f5ef-49c9-8ce3-afc1f275c581" providerId="AD" clId="Web-{548ECE82-E029-9082-4CCD-A2F6CF107B9D}" dt="2025-07-22T10:42:32.609" v="72" actId="20577"/>
      <pc:docMkLst>
        <pc:docMk/>
      </pc:docMkLst>
      <pc:sldChg chg="modSp">
        <pc:chgData name="Έλια Αποστολοπούλου" userId="S::apostolopoulou_n@mintour.gr::55324f8b-f5ef-49c9-8ce3-afc1f275c581" providerId="AD" clId="Web-{548ECE82-E029-9082-4CCD-A2F6CF107B9D}" dt="2025-07-22T10:32:12.733" v="20" actId="20577"/>
        <pc:sldMkLst>
          <pc:docMk/>
          <pc:sldMk cId="3830522271" sldId="626"/>
        </pc:sldMkLst>
        <pc:spChg chg="mod">
          <ac:chgData name="Έλια Αποστολοπούλου" userId="S::apostolopoulou_n@mintour.gr::55324f8b-f5ef-49c9-8ce3-afc1f275c581" providerId="AD" clId="Web-{548ECE82-E029-9082-4CCD-A2F6CF107B9D}" dt="2025-07-22T10:32:12.733" v="20" actId="20577"/>
          <ac:spMkLst>
            <pc:docMk/>
            <pc:sldMk cId="3830522271" sldId="626"/>
            <ac:spMk id="2" creationId="{02745299-7DD2-9C31-62BB-C77FCD76A602}"/>
          </ac:spMkLst>
        </pc:spChg>
      </pc:sldChg>
      <pc:sldChg chg="modSp">
        <pc:chgData name="Έλια Αποστολοπούλου" userId="S::apostolopoulou_n@mintour.gr::55324f8b-f5ef-49c9-8ce3-afc1f275c581" providerId="AD" clId="Web-{548ECE82-E029-9082-4CCD-A2F6CF107B9D}" dt="2025-07-22T10:39:11.744" v="61" actId="20577"/>
        <pc:sldMkLst>
          <pc:docMk/>
          <pc:sldMk cId="374853499" sldId="1267"/>
        </pc:sldMkLst>
        <pc:spChg chg="mod">
          <ac:chgData name="Έλια Αποστολοπούλου" userId="S::apostolopoulou_n@mintour.gr::55324f8b-f5ef-49c9-8ce3-afc1f275c581" providerId="AD" clId="Web-{548ECE82-E029-9082-4CCD-A2F6CF107B9D}" dt="2025-07-22T10:39:11.744" v="61" actId="20577"/>
          <ac:spMkLst>
            <pc:docMk/>
            <pc:sldMk cId="374853499" sldId="1267"/>
            <ac:spMk id="7" creationId="{0D2772A5-47A2-1F68-6C94-B7BC05677D07}"/>
          </ac:spMkLst>
        </pc:spChg>
      </pc:sldChg>
      <pc:sldChg chg="modSp">
        <pc:chgData name="Έλια Αποστολοπούλου" userId="S::apostolopoulou_n@mintour.gr::55324f8b-f5ef-49c9-8ce3-afc1f275c581" providerId="AD" clId="Web-{548ECE82-E029-9082-4CCD-A2F6CF107B9D}" dt="2025-07-22T10:39:56.323" v="70" actId="20577"/>
        <pc:sldMkLst>
          <pc:docMk/>
          <pc:sldMk cId="0" sldId="1468"/>
        </pc:sldMkLst>
        <pc:spChg chg="mod">
          <ac:chgData name="Έλια Αποστολοπούλου" userId="S::apostolopoulou_n@mintour.gr::55324f8b-f5ef-49c9-8ce3-afc1f275c581" providerId="AD" clId="Web-{548ECE82-E029-9082-4CCD-A2F6CF107B9D}" dt="2025-07-22T10:39:56.323" v="70" actId="20577"/>
          <ac:spMkLst>
            <pc:docMk/>
            <pc:sldMk cId="0" sldId="1468"/>
            <ac:spMk id="13" creationId="{56AC5970-CEC5-504B-C824-73718DA2C925}"/>
          </ac:spMkLst>
        </pc:spChg>
      </pc:sldChg>
      <pc:sldChg chg="delSp">
        <pc:chgData name="Έλια Αποστολοπούλου" userId="S::apostolopoulou_n@mintour.gr::55324f8b-f5ef-49c9-8ce3-afc1f275c581" providerId="AD" clId="Web-{548ECE82-E029-9082-4CCD-A2F6CF107B9D}" dt="2025-07-22T10:34:58.206" v="40"/>
        <pc:sldMkLst>
          <pc:docMk/>
          <pc:sldMk cId="1821849199" sldId="1736"/>
        </pc:sldMkLst>
        <pc:graphicFrameChg chg="del">
          <ac:chgData name="Έλια Αποστολοπούλου" userId="S::apostolopoulou_n@mintour.gr::55324f8b-f5ef-49c9-8ce3-afc1f275c581" providerId="AD" clId="Web-{548ECE82-E029-9082-4CCD-A2F6CF107B9D}" dt="2025-07-22T10:34:58.206" v="40"/>
          <ac:graphicFrameMkLst>
            <pc:docMk/>
            <pc:sldMk cId="1821849199" sldId="1736"/>
            <ac:graphicFrameMk id="7" creationId="{1D89875A-E28A-AAFB-990C-0F1D7DA66096}"/>
          </ac:graphicFrameMkLst>
        </pc:graphicFrameChg>
      </pc:sldChg>
      <pc:sldChg chg="addSp delSp modSp">
        <pc:chgData name="Έλια Αποστολοπούλου" userId="S::apostolopoulou_n@mintour.gr::55324f8b-f5ef-49c9-8ce3-afc1f275c581" providerId="AD" clId="Web-{548ECE82-E029-9082-4CCD-A2F6CF107B9D}" dt="2025-07-22T10:35:12.129" v="57" actId="20577"/>
        <pc:sldMkLst>
          <pc:docMk/>
          <pc:sldMk cId="3422338694" sldId="1740"/>
        </pc:sldMkLst>
        <pc:spChg chg="add del">
          <ac:chgData name="Έλια Αποστολοπούλου" userId="S::apostolopoulou_n@mintour.gr::55324f8b-f5ef-49c9-8ce3-afc1f275c581" providerId="AD" clId="Web-{548ECE82-E029-9082-4CCD-A2F6CF107B9D}" dt="2025-07-22T10:33:50.845" v="39"/>
          <ac:spMkLst>
            <pc:docMk/>
            <pc:sldMk cId="3422338694" sldId="1740"/>
            <ac:spMk id="3" creationId="{4595C3FF-E2BB-3D08-523C-99F8F6CC838F}"/>
          </ac:spMkLst>
        </pc:spChg>
        <pc:spChg chg="mod">
          <ac:chgData name="Έλια Αποστολοπούλου" userId="S::apostolopoulou_n@mintour.gr::55324f8b-f5ef-49c9-8ce3-afc1f275c581" providerId="AD" clId="Web-{548ECE82-E029-9082-4CCD-A2F6CF107B9D}" dt="2025-07-22T10:33:40.595" v="37" actId="20577"/>
          <ac:spMkLst>
            <pc:docMk/>
            <pc:sldMk cId="3422338694" sldId="1740"/>
            <ac:spMk id="4" creationId="{E12490A5-AB33-90C6-D493-39279CADE019}"/>
          </ac:spMkLst>
        </pc:spChg>
        <pc:spChg chg="mod">
          <ac:chgData name="Έλια Αποστολοπούλου" userId="S::apostolopoulou_n@mintour.gr::55324f8b-f5ef-49c9-8ce3-afc1f275c581" providerId="AD" clId="Web-{548ECE82-E029-9082-4CCD-A2F6CF107B9D}" dt="2025-07-22T10:35:12.129" v="57" actId="20577"/>
          <ac:spMkLst>
            <pc:docMk/>
            <pc:sldMk cId="3422338694" sldId="1740"/>
            <ac:spMk id="5" creationId="{ED12A7F7-D115-D902-7FB0-BEC5CFCDB472}"/>
          </ac:spMkLst>
        </pc:spChg>
      </pc:sldChg>
      <pc:sldChg chg="modSp">
        <pc:chgData name="Έλια Αποστολοπούλου" userId="S::apostolopoulou_n@mintour.gr::55324f8b-f5ef-49c9-8ce3-afc1f275c581" providerId="AD" clId="Web-{548ECE82-E029-9082-4CCD-A2F6CF107B9D}" dt="2025-07-22T10:42:32.609" v="72" actId="20577"/>
        <pc:sldMkLst>
          <pc:docMk/>
          <pc:sldMk cId="4230213373" sldId="1754"/>
        </pc:sldMkLst>
        <pc:spChg chg="mod">
          <ac:chgData name="Έλια Αποστολοπούλου" userId="S::apostolopoulou_n@mintour.gr::55324f8b-f5ef-49c9-8ce3-afc1f275c581" providerId="AD" clId="Web-{548ECE82-E029-9082-4CCD-A2F6CF107B9D}" dt="2025-07-22T10:42:18.014" v="71" actId="20577"/>
          <ac:spMkLst>
            <pc:docMk/>
            <pc:sldMk cId="4230213373" sldId="1754"/>
            <ac:spMk id="8" creationId="{D9AD986F-4F4D-2352-1727-04BA4FDA2721}"/>
          </ac:spMkLst>
        </pc:spChg>
        <pc:spChg chg="mod">
          <ac:chgData name="Έλια Αποστολοπούλου" userId="S::apostolopoulou_n@mintour.gr::55324f8b-f5ef-49c9-8ce3-afc1f275c581" providerId="AD" clId="Web-{548ECE82-E029-9082-4CCD-A2F6CF107B9D}" dt="2025-07-22T10:42:32.609" v="72" actId="20577"/>
          <ac:spMkLst>
            <pc:docMk/>
            <pc:sldMk cId="4230213373" sldId="1754"/>
            <ac:spMk id="16" creationId="{5395F9FD-7878-8DA6-39C9-E591E68CC8F2}"/>
          </ac:spMkLst>
        </pc:spChg>
      </pc:sldChg>
    </pc:docChg>
  </pc:docChgLst>
  <pc:docChgLst>
    <pc:chgData name="kchristou@gsco.gov.gr" userId="S::urn:spo:guest#kchristou@gsco.gov.gr::" providerId="AD" clId="Web-{7085D903-C9EF-12B9-4664-2607DDA7ED97}"/>
    <pc:docChg chg="addSld delSld modSld sldOrd">
      <pc:chgData name="kchristou@gsco.gov.gr" userId="S::urn:spo:guest#kchristou@gsco.gov.gr::" providerId="AD" clId="Web-{7085D903-C9EF-12B9-4664-2607DDA7ED97}" dt="2025-07-21T16:44:29.248" v="2391" actId="1076"/>
      <pc:docMkLst>
        <pc:docMk/>
      </pc:docMkLst>
      <pc:sldChg chg="addSp delSp modSp">
        <pc:chgData name="kchristou@gsco.gov.gr" userId="S::urn:spo:guest#kchristou@gsco.gov.gr::" providerId="AD" clId="Web-{7085D903-C9EF-12B9-4664-2607DDA7ED97}" dt="2025-07-21T14:59:54.170" v="322" actId="1076"/>
        <pc:sldMkLst>
          <pc:docMk/>
          <pc:sldMk cId="0" sldId="1321"/>
        </pc:sldMkLst>
        <pc:spChg chg="mod">
          <ac:chgData name="kchristou@gsco.gov.gr" userId="S::urn:spo:guest#kchristou@gsco.gov.gr::" providerId="AD" clId="Web-{7085D903-C9EF-12B9-4664-2607DDA7ED97}" dt="2025-07-21T14:58:19.573" v="276" actId="20577"/>
          <ac:spMkLst>
            <pc:docMk/>
            <pc:sldMk cId="0" sldId="1321"/>
            <ac:spMk id="8" creationId="{9BC96FFB-AF72-1B7A-6ED7-DE08CAE51648}"/>
          </ac:spMkLst>
        </pc:spChg>
        <pc:spChg chg="add mod">
          <ac:chgData name="kchristou@gsco.gov.gr" userId="S::urn:spo:guest#kchristou@gsco.gov.gr::" providerId="AD" clId="Web-{7085D903-C9EF-12B9-4664-2607DDA7ED97}" dt="2025-07-21T14:59:42.107" v="313" actId="1076"/>
          <ac:spMkLst>
            <pc:docMk/>
            <pc:sldMk cId="0" sldId="1321"/>
            <ac:spMk id="15" creationId="{5DFCBFD7-071F-71A5-8C5A-AD53531FCCE8}"/>
          </ac:spMkLst>
        </pc:spChg>
        <pc:spChg chg="add mod">
          <ac:chgData name="kchristou@gsco.gov.gr" userId="S::urn:spo:guest#kchristou@gsco.gov.gr::" providerId="AD" clId="Web-{7085D903-C9EF-12B9-4664-2607DDA7ED97}" dt="2025-07-21T14:59:42.138" v="314" actId="1076"/>
          <ac:spMkLst>
            <pc:docMk/>
            <pc:sldMk cId="0" sldId="1321"/>
            <ac:spMk id="19" creationId="{8EF8B937-5F66-4039-380A-E3EABD4FA50E}"/>
          </ac:spMkLst>
        </pc:spChg>
        <pc:spChg chg="add mod">
          <ac:chgData name="kchristou@gsco.gov.gr" userId="S::urn:spo:guest#kchristou@gsco.gov.gr::" providerId="AD" clId="Web-{7085D903-C9EF-12B9-4664-2607DDA7ED97}" dt="2025-07-21T14:59:42.154" v="315" actId="1076"/>
          <ac:spMkLst>
            <pc:docMk/>
            <pc:sldMk cId="0" sldId="1321"/>
            <ac:spMk id="24" creationId="{CEE9E3D7-A5CC-C89D-4BCF-35F398896D46}"/>
          </ac:spMkLst>
        </pc:spChg>
        <pc:spChg chg="add mod">
          <ac:chgData name="kchristou@gsco.gov.gr" userId="S::urn:spo:guest#kchristou@gsco.gov.gr::" providerId="AD" clId="Web-{7085D903-C9EF-12B9-4664-2607DDA7ED97}" dt="2025-07-21T14:59:42.185" v="316" actId="1076"/>
          <ac:spMkLst>
            <pc:docMk/>
            <pc:sldMk cId="0" sldId="1321"/>
            <ac:spMk id="26" creationId="{005956EE-0EAF-EF13-A147-CF558B020D23}"/>
          </ac:spMkLst>
        </pc:spChg>
        <pc:spChg chg="mod">
          <ac:chgData name="kchristou@gsco.gov.gr" userId="S::urn:spo:guest#kchristou@gsco.gov.gr::" providerId="AD" clId="Web-{7085D903-C9EF-12B9-4664-2607DDA7ED97}" dt="2025-07-21T14:59:49.451" v="321" actId="14100"/>
          <ac:spMkLst>
            <pc:docMk/>
            <pc:sldMk cId="0" sldId="1321"/>
            <ac:spMk id="28" creationId="{A2D68E18-F01C-2087-E4BB-428726E0843A}"/>
          </ac:spMkLst>
        </pc:spChg>
        <pc:spChg chg="add mod">
          <ac:chgData name="kchristou@gsco.gov.gr" userId="S::urn:spo:guest#kchristou@gsco.gov.gr::" providerId="AD" clId="Web-{7085D903-C9EF-12B9-4664-2607DDA7ED97}" dt="2025-07-21T14:59:42.201" v="317" actId="1076"/>
          <ac:spMkLst>
            <pc:docMk/>
            <pc:sldMk cId="0" sldId="1321"/>
            <ac:spMk id="31" creationId="{275075C8-734C-7599-D4F6-FAB54BD74CCC}"/>
          </ac:spMkLst>
        </pc:spChg>
        <pc:spChg chg="mod">
          <ac:chgData name="kchristou@gsco.gov.gr" userId="S::urn:spo:guest#kchristou@gsco.gov.gr::" providerId="AD" clId="Web-{7085D903-C9EF-12B9-4664-2607DDA7ED97}" dt="2025-07-21T14:59:54.170" v="322" actId="1076"/>
          <ac:spMkLst>
            <pc:docMk/>
            <pc:sldMk cId="0" sldId="1321"/>
            <ac:spMk id="32" creationId="{9C2ADF62-2C29-53F9-C6C5-056D56BB2A7F}"/>
          </ac:spMkLst>
        </pc:spChg>
        <pc:spChg chg="add mod">
          <ac:chgData name="kchristou@gsco.gov.gr" userId="S::urn:spo:guest#kchristou@gsco.gov.gr::" providerId="AD" clId="Web-{7085D903-C9EF-12B9-4664-2607DDA7ED97}" dt="2025-07-21T14:59:42.232" v="318" actId="1076"/>
          <ac:spMkLst>
            <pc:docMk/>
            <pc:sldMk cId="0" sldId="1321"/>
            <ac:spMk id="34" creationId="{FF448051-9791-66EF-7AE7-091CF9F22939}"/>
          </ac:spMkLst>
        </pc:spChg>
        <pc:spChg chg="add mod">
          <ac:chgData name="kchristou@gsco.gov.gr" userId="S::urn:spo:guest#kchristou@gsco.gov.gr::" providerId="AD" clId="Web-{7085D903-C9EF-12B9-4664-2607DDA7ED97}" dt="2025-07-21T14:59:42.263" v="319" actId="1076"/>
          <ac:spMkLst>
            <pc:docMk/>
            <pc:sldMk cId="0" sldId="1321"/>
            <ac:spMk id="36" creationId="{567C8D27-40C0-FC6D-3E45-811DC05D2948}"/>
          </ac:spMkLst>
        </pc:spChg>
        <pc:spChg chg="add mod">
          <ac:chgData name="kchristou@gsco.gov.gr" userId="S::urn:spo:guest#kchristou@gsco.gov.gr::" providerId="AD" clId="Web-{7085D903-C9EF-12B9-4664-2607DDA7ED97}" dt="2025-07-21T14:59:42.279" v="320" actId="1076"/>
          <ac:spMkLst>
            <pc:docMk/>
            <pc:sldMk cId="0" sldId="1321"/>
            <ac:spMk id="38" creationId="{CC0FF5CB-9B81-7ACB-CA78-CB0EA52EE6E3}"/>
          </ac:spMkLst>
        </pc:spChg>
      </pc:sldChg>
      <pc:sldChg chg="modSp">
        <pc:chgData name="kchristou@gsco.gov.gr" userId="S::urn:spo:guest#kchristou@gsco.gov.gr::" providerId="AD" clId="Web-{7085D903-C9EF-12B9-4664-2607DDA7ED97}" dt="2025-07-21T16:09:01.616" v="1308" actId="1076"/>
        <pc:sldMkLst>
          <pc:docMk/>
          <pc:sldMk cId="1130015300" sldId="1367"/>
        </pc:sldMkLst>
        <pc:spChg chg="mod">
          <ac:chgData name="kchristou@gsco.gov.gr" userId="S::urn:spo:guest#kchristou@gsco.gov.gr::" providerId="AD" clId="Web-{7085D903-C9EF-12B9-4664-2607DDA7ED97}" dt="2025-07-21T16:09:01.616" v="1308" actId="1076"/>
          <ac:spMkLst>
            <pc:docMk/>
            <pc:sldMk cId="1130015300" sldId="1367"/>
            <ac:spMk id="3" creationId="{7B9C5856-9D0D-1432-2B64-C743BB072A19}"/>
          </ac:spMkLst>
        </pc:spChg>
      </pc:sldChg>
      <pc:sldChg chg="addSp delSp modSp">
        <pc:chgData name="kchristou@gsco.gov.gr" userId="S::urn:spo:guest#kchristou@gsco.gov.gr::" providerId="AD" clId="Web-{7085D903-C9EF-12B9-4664-2607DDA7ED97}" dt="2025-07-21T16:33:45.852" v="1996" actId="1076"/>
        <pc:sldMkLst>
          <pc:docMk/>
          <pc:sldMk cId="773167784" sldId="1425"/>
        </pc:sldMkLst>
        <pc:spChg chg="add mod">
          <ac:chgData name="kchristou@gsco.gov.gr" userId="S::urn:spo:guest#kchristou@gsco.gov.gr::" providerId="AD" clId="Web-{7085D903-C9EF-12B9-4664-2607DDA7ED97}" dt="2025-07-21T16:28:20.107" v="1782" actId="1076"/>
          <ac:spMkLst>
            <pc:docMk/>
            <pc:sldMk cId="773167784" sldId="1425"/>
            <ac:spMk id="5" creationId="{BCC004D0-3E92-26B0-EFB5-1EAD4E1B8CCD}"/>
          </ac:spMkLst>
        </pc:spChg>
        <pc:spChg chg="add mod">
          <ac:chgData name="kchristou@gsco.gov.gr" userId="S::urn:spo:guest#kchristou@gsco.gov.gr::" providerId="AD" clId="Web-{7085D903-C9EF-12B9-4664-2607DDA7ED97}" dt="2025-07-21T16:28:20.123" v="1783" actId="1076"/>
          <ac:spMkLst>
            <pc:docMk/>
            <pc:sldMk cId="773167784" sldId="1425"/>
            <ac:spMk id="7" creationId="{4EDBA7AA-78C5-4E8C-718D-D5AC33449018}"/>
          </ac:spMkLst>
        </pc:spChg>
        <pc:spChg chg="add mod">
          <ac:chgData name="kchristou@gsco.gov.gr" userId="S::urn:spo:guest#kchristou@gsco.gov.gr::" providerId="AD" clId="Web-{7085D903-C9EF-12B9-4664-2607DDA7ED97}" dt="2025-07-21T16:28:20.138" v="1784" actId="1076"/>
          <ac:spMkLst>
            <pc:docMk/>
            <pc:sldMk cId="773167784" sldId="1425"/>
            <ac:spMk id="11" creationId="{C5FB73E6-5E41-5385-C7E7-CA17AD30FEA8}"/>
          </ac:spMkLst>
        </pc:spChg>
        <pc:spChg chg="add mod">
          <ac:chgData name="kchristou@gsco.gov.gr" userId="S::urn:spo:guest#kchristou@gsco.gov.gr::" providerId="AD" clId="Web-{7085D903-C9EF-12B9-4664-2607DDA7ED97}" dt="2025-07-21T16:28:20.170" v="1785" actId="1076"/>
          <ac:spMkLst>
            <pc:docMk/>
            <pc:sldMk cId="773167784" sldId="1425"/>
            <ac:spMk id="13" creationId="{A36AE588-0EFC-C3D2-0434-F5C9555FB207}"/>
          </ac:spMkLst>
        </pc:spChg>
        <pc:spChg chg="add mod">
          <ac:chgData name="kchristou@gsco.gov.gr" userId="S::urn:spo:guest#kchristou@gsco.gov.gr::" providerId="AD" clId="Web-{7085D903-C9EF-12B9-4664-2607DDA7ED97}" dt="2025-07-21T16:28:09.372" v="1780" actId="14100"/>
          <ac:spMkLst>
            <pc:docMk/>
            <pc:sldMk cId="773167784" sldId="1425"/>
            <ac:spMk id="16" creationId="{059B4DA9-4717-03AF-7BA2-A21F281A0F35}"/>
          </ac:spMkLst>
        </pc:spChg>
        <pc:spChg chg="add mod">
          <ac:chgData name="kchristou@gsco.gov.gr" userId="S::urn:spo:guest#kchristou@gsco.gov.gr::" providerId="AD" clId="Web-{7085D903-C9EF-12B9-4664-2607DDA7ED97}" dt="2025-07-21T16:28:06.200" v="1777" actId="1076"/>
          <ac:spMkLst>
            <pc:docMk/>
            <pc:sldMk cId="773167784" sldId="1425"/>
            <ac:spMk id="17" creationId="{8BFF5A9E-2C6C-90B0-0EB0-07649995F7E7}"/>
          </ac:spMkLst>
        </pc:spChg>
        <pc:spChg chg="add mod">
          <ac:chgData name="kchristou@gsco.gov.gr" userId="S::urn:spo:guest#kchristou@gsco.gov.gr::" providerId="AD" clId="Web-{7085D903-C9EF-12B9-4664-2607DDA7ED97}" dt="2025-07-21T16:28:06.216" v="1778" actId="1076"/>
          <ac:spMkLst>
            <pc:docMk/>
            <pc:sldMk cId="773167784" sldId="1425"/>
            <ac:spMk id="18" creationId="{320A502A-ED57-B16A-170F-7781CE3948F0}"/>
          </ac:spMkLst>
        </pc:spChg>
        <pc:spChg chg="add mod">
          <ac:chgData name="kchristou@gsco.gov.gr" userId="S::urn:spo:guest#kchristou@gsco.gov.gr::" providerId="AD" clId="Web-{7085D903-C9EF-12B9-4664-2607DDA7ED97}" dt="2025-07-21T16:28:06.232" v="1779" actId="1076"/>
          <ac:spMkLst>
            <pc:docMk/>
            <pc:sldMk cId="773167784" sldId="1425"/>
            <ac:spMk id="19" creationId="{D28671AE-E56A-F1BE-E497-1C1AACAE0D30}"/>
          </ac:spMkLst>
        </pc:spChg>
        <pc:spChg chg="add mod">
          <ac:chgData name="kchristou@gsco.gov.gr" userId="S::urn:spo:guest#kchristou@gsco.gov.gr::" providerId="AD" clId="Web-{7085D903-C9EF-12B9-4664-2607DDA7ED97}" dt="2025-07-21T16:28:00.153" v="1771" actId="1076"/>
          <ac:spMkLst>
            <pc:docMk/>
            <pc:sldMk cId="773167784" sldId="1425"/>
            <ac:spMk id="23" creationId="{B4B79B33-68FD-2963-782E-2ADE00BFA154}"/>
          </ac:spMkLst>
        </pc:spChg>
        <pc:spChg chg="add mod">
          <ac:chgData name="kchristou@gsco.gov.gr" userId="S::urn:spo:guest#kchristou@gsco.gov.gr::" providerId="AD" clId="Web-{7085D903-C9EF-12B9-4664-2607DDA7ED97}" dt="2025-07-21T16:28:00.185" v="1772" actId="1076"/>
          <ac:spMkLst>
            <pc:docMk/>
            <pc:sldMk cId="773167784" sldId="1425"/>
            <ac:spMk id="24" creationId="{1269B2A4-9882-01CD-DA20-53C68D54542E}"/>
          </ac:spMkLst>
        </pc:spChg>
        <pc:spChg chg="add mod">
          <ac:chgData name="kchristou@gsco.gov.gr" userId="S::urn:spo:guest#kchristou@gsco.gov.gr::" providerId="AD" clId="Web-{7085D903-C9EF-12B9-4664-2607DDA7ED97}" dt="2025-07-21T16:28:00.200" v="1773" actId="1076"/>
          <ac:spMkLst>
            <pc:docMk/>
            <pc:sldMk cId="773167784" sldId="1425"/>
            <ac:spMk id="25" creationId="{C3E8A3A1-82F2-BD00-3355-CED7C50EBC8E}"/>
          </ac:spMkLst>
        </pc:spChg>
        <pc:spChg chg="add mod">
          <ac:chgData name="kchristou@gsco.gov.gr" userId="S::urn:spo:guest#kchristou@gsco.gov.gr::" providerId="AD" clId="Web-{7085D903-C9EF-12B9-4664-2607DDA7ED97}" dt="2025-07-21T16:28:00.247" v="1775" actId="1076"/>
          <ac:spMkLst>
            <pc:docMk/>
            <pc:sldMk cId="773167784" sldId="1425"/>
            <ac:spMk id="29" creationId="{D3DBC357-4596-7ADF-BE91-8233D8B0D2B0}"/>
          </ac:spMkLst>
        </pc:spChg>
      </pc:sldChg>
      <pc:sldChg chg="del">
        <pc:chgData name="kchristou@gsco.gov.gr" userId="S::urn:spo:guest#kchristou@gsco.gov.gr::" providerId="AD" clId="Web-{7085D903-C9EF-12B9-4664-2607DDA7ED97}" dt="2025-07-21T16:19:29.184" v="1497"/>
        <pc:sldMkLst>
          <pc:docMk/>
          <pc:sldMk cId="0" sldId="1426"/>
        </pc:sldMkLst>
      </pc:sldChg>
      <pc:sldChg chg="addSp delSp modSp del ord">
        <pc:chgData name="kchristou@gsco.gov.gr" userId="S::urn:spo:guest#kchristou@gsco.gov.gr::" providerId="AD" clId="Web-{7085D903-C9EF-12B9-4664-2607DDA7ED97}" dt="2025-07-21T16:44:09.982" v="2379"/>
        <pc:sldMkLst>
          <pc:docMk/>
          <pc:sldMk cId="1809458087" sldId="1428"/>
        </pc:sldMkLst>
      </pc:sldChg>
      <pc:sldChg chg="delSp del">
        <pc:chgData name="kchristou@gsco.gov.gr" userId="S::urn:spo:guest#kchristou@gsco.gov.gr::" providerId="AD" clId="Web-{7085D903-C9EF-12B9-4664-2607DDA7ED97}" dt="2025-07-21T15:26:18.189" v="550"/>
        <pc:sldMkLst>
          <pc:docMk/>
          <pc:sldMk cId="1631793632" sldId="1429"/>
        </pc:sldMkLst>
      </pc:sldChg>
      <pc:sldChg chg="del">
        <pc:chgData name="kchristou@gsco.gov.gr" userId="S::urn:spo:guest#kchristou@gsco.gov.gr::" providerId="AD" clId="Web-{7085D903-C9EF-12B9-4664-2607DDA7ED97}" dt="2025-07-21T14:59:57.951" v="323"/>
        <pc:sldMkLst>
          <pc:docMk/>
          <pc:sldMk cId="2662644044" sldId="1439"/>
        </pc:sldMkLst>
      </pc:sldChg>
      <pc:sldChg chg="addSp delSp modSp">
        <pc:chgData name="kchristou@gsco.gov.gr" userId="S::urn:spo:guest#kchristou@gsco.gov.gr::" providerId="AD" clId="Web-{7085D903-C9EF-12B9-4664-2607DDA7ED97}" dt="2025-07-21T16:09:37.507" v="1310" actId="14100"/>
        <pc:sldMkLst>
          <pc:docMk/>
          <pc:sldMk cId="2722838732" sldId="1485"/>
        </pc:sldMkLst>
      </pc:sldChg>
      <pc:sldChg chg="del">
        <pc:chgData name="kchristou@gsco.gov.gr" userId="S::urn:spo:guest#kchristou@gsco.gov.gr::" providerId="AD" clId="Web-{7085D903-C9EF-12B9-4664-2607DDA7ED97}" dt="2025-07-21T15:51:45.395" v="932"/>
        <pc:sldMkLst>
          <pc:docMk/>
          <pc:sldMk cId="1254245239" sldId="1547"/>
        </pc:sldMkLst>
      </pc:sldChg>
      <pc:sldChg chg="del">
        <pc:chgData name="kchristou@gsco.gov.gr" userId="S::urn:spo:guest#kchristou@gsco.gov.gr::" providerId="AD" clId="Web-{7085D903-C9EF-12B9-4664-2607DDA7ED97}" dt="2025-07-21T16:33:50.805" v="1997"/>
        <pc:sldMkLst>
          <pc:docMk/>
          <pc:sldMk cId="1479689233" sldId="1566"/>
        </pc:sldMkLst>
      </pc:sldChg>
      <pc:sldChg chg="del">
        <pc:chgData name="kchristou@gsco.gov.gr" userId="S::urn:spo:guest#kchristou@gsco.gov.gr::" providerId="AD" clId="Web-{7085D903-C9EF-12B9-4664-2607DDA7ED97}" dt="2025-07-21T14:51:22.716" v="91"/>
        <pc:sldMkLst>
          <pc:docMk/>
          <pc:sldMk cId="2349656063" sldId="1572"/>
        </pc:sldMkLst>
      </pc:sldChg>
      <pc:sldChg chg="del">
        <pc:chgData name="kchristou@gsco.gov.gr" userId="S::urn:spo:guest#kchristou@gsco.gov.gr::" providerId="AD" clId="Web-{7085D903-C9EF-12B9-4664-2607DDA7ED97}" dt="2025-07-21T16:34:04.962" v="2000"/>
        <pc:sldMkLst>
          <pc:docMk/>
          <pc:sldMk cId="4094471954" sldId="1662"/>
        </pc:sldMkLst>
      </pc:sldChg>
      <pc:sldChg chg="del ord">
        <pc:chgData name="kchristou@gsco.gov.gr" userId="S::urn:spo:guest#kchristou@gsco.gov.gr::" providerId="AD" clId="Web-{7085D903-C9EF-12B9-4664-2607DDA7ED97}" dt="2025-07-21T16:28:22.592" v="1786"/>
        <pc:sldMkLst>
          <pc:docMk/>
          <pc:sldMk cId="817007372" sldId="1666"/>
        </pc:sldMkLst>
      </pc:sldChg>
      <pc:sldChg chg="delSp del">
        <pc:chgData name="kchristou@gsco.gov.gr" userId="S::urn:spo:guest#kchristou@gsco.gov.gr::" providerId="AD" clId="Web-{7085D903-C9EF-12B9-4664-2607DDA7ED97}" dt="2025-07-21T16:05:55.938" v="1278"/>
        <pc:sldMkLst>
          <pc:docMk/>
          <pc:sldMk cId="3938328987" sldId="1673"/>
        </pc:sldMkLst>
      </pc:sldChg>
      <pc:sldChg chg="del">
        <pc:chgData name="kchristou@gsco.gov.gr" userId="S::urn:spo:guest#kchristou@gsco.gov.gr::" providerId="AD" clId="Web-{7085D903-C9EF-12B9-4664-2607DDA7ED97}" dt="2025-07-21T14:54:00.174" v="171"/>
        <pc:sldMkLst>
          <pc:docMk/>
          <pc:sldMk cId="2537420334" sldId="1677"/>
        </pc:sldMkLst>
      </pc:sldChg>
      <pc:sldChg chg="del">
        <pc:chgData name="kchristou@gsco.gov.gr" userId="S::urn:spo:guest#kchristou@gsco.gov.gr::" providerId="AD" clId="Web-{7085D903-C9EF-12B9-4664-2607DDA7ED97}" dt="2025-07-21T14:57:55.650" v="270"/>
        <pc:sldMkLst>
          <pc:docMk/>
          <pc:sldMk cId="3353695765" sldId="1680"/>
        </pc:sldMkLst>
      </pc:sldChg>
      <pc:sldChg chg="modSp">
        <pc:chgData name="kchristou@gsco.gov.gr" userId="S::urn:spo:guest#kchristou@gsco.gov.gr::" providerId="AD" clId="Web-{7085D903-C9EF-12B9-4664-2607DDA7ED97}" dt="2025-07-21T15:00:09.155" v="333" actId="1076"/>
        <pc:sldMkLst>
          <pc:docMk/>
          <pc:sldMk cId="3463634899" sldId="1703"/>
        </pc:sldMkLst>
        <pc:spChg chg="mod">
          <ac:chgData name="kchristou@gsco.gov.gr" userId="S::urn:spo:guest#kchristou@gsco.gov.gr::" providerId="AD" clId="Web-{7085D903-C9EF-12B9-4664-2607DDA7ED97}" dt="2025-07-21T15:00:09.014" v="324" actId="1076"/>
          <ac:spMkLst>
            <pc:docMk/>
            <pc:sldMk cId="3463634899" sldId="1703"/>
            <ac:spMk id="11" creationId="{200DB468-9AD7-307B-48D2-E84065ED9B7F}"/>
          </ac:spMkLst>
        </pc:spChg>
        <pc:spChg chg="mod">
          <ac:chgData name="kchristou@gsco.gov.gr" userId="S::urn:spo:guest#kchristou@gsco.gov.gr::" providerId="AD" clId="Web-{7085D903-C9EF-12B9-4664-2607DDA7ED97}" dt="2025-07-21T15:00:09.030" v="325" actId="1076"/>
          <ac:spMkLst>
            <pc:docMk/>
            <pc:sldMk cId="3463634899" sldId="1703"/>
            <ac:spMk id="13" creationId="{FC43719C-3A7E-116D-CC57-776F07595E32}"/>
          </ac:spMkLst>
        </pc:spChg>
        <pc:spChg chg="mod">
          <ac:chgData name="kchristou@gsco.gov.gr" userId="S::urn:spo:guest#kchristou@gsco.gov.gr::" providerId="AD" clId="Web-{7085D903-C9EF-12B9-4664-2607DDA7ED97}" dt="2025-07-21T15:00:09.045" v="326" actId="1076"/>
          <ac:spMkLst>
            <pc:docMk/>
            <pc:sldMk cId="3463634899" sldId="1703"/>
            <ac:spMk id="15" creationId="{3BE62FD4-6A10-2F45-5A04-2847ED1761DF}"/>
          </ac:spMkLst>
        </pc:spChg>
        <pc:spChg chg="mod">
          <ac:chgData name="kchristou@gsco.gov.gr" userId="S::urn:spo:guest#kchristou@gsco.gov.gr::" providerId="AD" clId="Web-{7085D903-C9EF-12B9-4664-2607DDA7ED97}" dt="2025-07-21T15:00:09.061" v="327" actId="1076"/>
          <ac:spMkLst>
            <pc:docMk/>
            <pc:sldMk cId="3463634899" sldId="1703"/>
            <ac:spMk id="17" creationId="{10D46CA2-4AD8-E9CB-BCF8-813205E52C71}"/>
          </ac:spMkLst>
        </pc:spChg>
        <pc:spChg chg="mod">
          <ac:chgData name="kchristou@gsco.gov.gr" userId="S::urn:spo:guest#kchristou@gsco.gov.gr::" providerId="AD" clId="Web-{7085D903-C9EF-12B9-4664-2607DDA7ED97}" dt="2025-07-21T15:00:09.077" v="328" actId="1076"/>
          <ac:spMkLst>
            <pc:docMk/>
            <pc:sldMk cId="3463634899" sldId="1703"/>
            <ac:spMk id="18" creationId="{C1F424DE-3F95-8701-F974-B7A44E845B6C}"/>
          </ac:spMkLst>
        </pc:spChg>
        <pc:spChg chg="mod">
          <ac:chgData name="kchristou@gsco.gov.gr" userId="S::urn:spo:guest#kchristou@gsco.gov.gr::" providerId="AD" clId="Web-{7085D903-C9EF-12B9-4664-2607DDA7ED97}" dt="2025-07-21T15:00:09.092" v="329" actId="1076"/>
          <ac:spMkLst>
            <pc:docMk/>
            <pc:sldMk cId="3463634899" sldId="1703"/>
            <ac:spMk id="19" creationId="{08D3D342-1A9D-3AB2-2F08-049FA6AFC1E2}"/>
          </ac:spMkLst>
        </pc:spChg>
        <pc:spChg chg="mod">
          <ac:chgData name="kchristou@gsco.gov.gr" userId="S::urn:spo:guest#kchristou@gsco.gov.gr::" providerId="AD" clId="Web-{7085D903-C9EF-12B9-4664-2607DDA7ED97}" dt="2025-07-21T15:00:09.108" v="330" actId="1076"/>
          <ac:spMkLst>
            <pc:docMk/>
            <pc:sldMk cId="3463634899" sldId="1703"/>
            <ac:spMk id="22" creationId="{083D2D35-BB8F-B4B4-4B0D-C71CA088EC0F}"/>
          </ac:spMkLst>
        </pc:spChg>
        <pc:spChg chg="mod">
          <ac:chgData name="kchristou@gsco.gov.gr" userId="S::urn:spo:guest#kchristou@gsco.gov.gr::" providerId="AD" clId="Web-{7085D903-C9EF-12B9-4664-2607DDA7ED97}" dt="2025-07-21T15:00:09.123" v="331" actId="1076"/>
          <ac:spMkLst>
            <pc:docMk/>
            <pc:sldMk cId="3463634899" sldId="1703"/>
            <ac:spMk id="23" creationId="{6106CDB5-1DF3-31E5-0ADE-8CE12C35E6B3}"/>
          </ac:spMkLst>
        </pc:spChg>
        <pc:spChg chg="mod">
          <ac:chgData name="kchristou@gsco.gov.gr" userId="S::urn:spo:guest#kchristou@gsco.gov.gr::" providerId="AD" clId="Web-{7085D903-C9EF-12B9-4664-2607DDA7ED97}" dt="2025-07-21T15:00:09.139" v="332" actId="1076"/>
          <ac:spMkLst>
            <pc:docMk/>
            <pc:sldMk cId="3463634899" sldId="1703"/>
            <ac:spMk id="24" creationId="{5E5971E1-B485-B2E9-0396-74DD0423D881}"/>
          </ac:spMkLst>
        </pc:spChg>
        <pc:spChg chg="mod">
          <ac:chgData name="kchristou@gsco.gov.gr" userId="S::urn:spo:guest#kchristou@gsco.gov.gr::" providerId="AD" clId="Web-{7085D903-C9EF-12B9-4664-2607DDA7ED97}" dt="2025-07-21T15:00:09.155" v="333" actId="1076"/>
          <ac:spMkLst>
            <pc:docMk/>
            <pc:sldMk cId="3463634899" sldId="1703"/>
            <ac:spMk id="25" creationId="{7531C973-372F-5071-ECD4-5E10EB7D75AE}"/>
          </ac:spMkLst>
        </pc:spChg>
      </pc:sldChg>
      <pc:sldChg chg="addSp delSp modSp">
        <pc:chgData name="kchristou@gsco.gov.gr" userId="S::urn:spo:guest#kchristou@gsco.gov.gr::" providerId="AD" clId="Web-{7085D903-C9EF-12B9-4664-2607DDA7ED97}" dt="2025-07-21T16:07:00.815" v="1301" actId="20577"/>
        <pc:sldMkLst>
          <pc:docMk/>
          <pc:sldMk cId="3072905272" sldId="1735"/>
        </pc:sldMkLst>
        <pc:spChg chg="add mod">
          <ac:chgData name="kchristou@gsco.gov.gr" userId="S::urn:spo:guest#kchristou@gsco.gov.gr::" providerId="AD" clId="Web-{7085D903-C9EF-12B9-4664-2607DDA7ED97}" dt="2025-07-21T16:06:38.877" v="1289" actId="1076"/>
          <ac:spMkLst>
            <pc:docMk/>
            <pc:sldMk cId="3072905272" sldId="1735"/>
            <ac:spMk id="15" creationId="{403935F5-B6E5-4AA6-948A-6F7130264969}"/>
          </ac:spMkLst>
        </pc:spChg>
        <pc:spChg chg="add mod">
          <ac:chgData name="kchristou@gsco.gov.gr" userId="S::urn:spo:guest#kchristou@gsco.gov.gr::" providerId="AD" clId="Web-{7085D903-C9EF-12B9-4664-2607DDA7ED97}" dt="2025-07-21T16:06:38.892" v="1290" actId="1076"/>
          <ac:spMkLst>
            <pc:docMk/>
            <pc:sldMk cId="3072905272" sldId="1735"/>
            <ac:spMk id="17" creationId="{EFC5EEDC-E669-F295-8310-1C3F5DE693C0}"/>
          </ac:spMkLst>
        </pc:spChg>
        <pc:spChg chg="add mod">
          <ac:chgData name="kchristou@gsco.gov.gr" userId="S::urn:spo:guest#kchristou@gsco.gov.gr::" providerId="AD" clId="Web-{7085D903-C9EF-12B9-4664-2607DDA7ED97}" dt="2025-07-21T16:06:38.908" v="1291" actId="1076"/>
          <ac:spMkLst>
            <pc:docMk/>
            <pc:sldMk cId="3072905272" sldId="1735"/>
            <ac:spMk id="19" creationId="{B9021CD0-F440-F512-310F-2624B35418C2}"/>
          </ac:spMkLst>
        </pc:spChg>
        <pc:spChg chg="add mod">
          <ac:chgData name="kchristou@gsco.gov.gr" userId="S::urn:spo:guest#kchristou@gsco.gov.gr::" providerId="AD" clId="Web-{7085D903-C9EF-12B9-4664-2607DDA7ED97}" dt="2025-07-21T16:06:38.908" v="1292" actId="1076"/>
          <ac:spMkLst>
            <pc:docMk/>
            <pc:sldMk cId="3072905272" sldId="1735"/>
            <ac:spMk id="21" creationId="{5614788A-7EFF-36F6-79B4-D96AACB398BE}"/>
          </ac:spMkLst>
        </pc:spChg>
        <pc:spChg chg="add mod">
          <ac:chgData name="kchristou@gsco.gov.gr" userId="S::urn:spo:guest#kchristou@gsco.gov.gr::" providerId="AD" clId="Web-{7085D903-C9EF-12B9-4664-2607DDA7ED97}" dt="2025-07-21T16:07:00.815" v="1301" actId="20577"/>
          <ac:spMkLst>
            <pc:docMk/>
            <pc:sldMk cId="3072905272" sldId="1735"/>
            <ac:spMk id="23" creationId="{DAE1D20A-95B7-6BF3-9F4C-F03695730974}"/>
          </ac:spMkLst>
        </pc:spChg>
        <pc:spChg chg="add mod">
          <ac:chgData name="kchristou@gsco.gov.gr" userId="S::urn:spo:guest#kchristou@gsco.gov.gr::" providerId="AD" clId="Web-{7085D903-C9EF-12B9-4664-2607DDA7ED97}" dt="2025-07-21T16:06:38.939" v="1294" actId="1076"/>
          <ac:spMkLst>
            <pc:docMk/>
            <pc:sldMk cId="3072905272" sldId="1735"/>
            <ac:spMk id="25" creationId="{E7DD79B6-3DC0-CD19-6898-35846B58A725}"/>
          </ac:spMkLst>
        </pc:spChg>
        <pc:spChg chg="add mod">
          <ac:chgData name="kchristou@gsco.gov.gr" userId="S::urn:spo:guest#kchristou@gsco.gov.gr::" providerId="AD" clId="Web-{7085D903-C9EF-12B9-4664-2607DDA7ED97}" dt="2025-07-21T16:06:38.955" v="1295" actId="1076"/>
          <ac:spMkLst>
            <pc:docMk/>
            <pc:sldMk cId="3072905272" sldId="1735"/>
            <ac:spMk id="27" creationId="{E34DBD71-E386-6175-6D16-124333880AC6}"/>
          </ac:spMkLst>
        </pc:spChg>
        <pc:spChg chg="add mod">
          <ac:chgData name="kchristou@gsco.gov.gr" userId="S::urn:spo:guest#kchristou@gsco.gov.gr::" providerId="AD" clId="Web-{7085D903-C9EF-12B9-4664-2607DDA7ED97}" dt="2025-07-21T16:06:44.596" v="1297" actId="1076"/>
          <ac:spMkLst>
            <pc:docMk/>
            <pc:sldMk cId="3072905272" sldId="1735"/>
            <ac:spMk id="29" creationId="{68E20ADD-ACDB-5B7C-3D8E-AED46DDF4475}"/>
          </ac:spMkLst>
        </pc:spChg>
      </pc:sldChg>
      <pc:sldChg chg="modSp">
        <pc:chgData name="kchristou@gsco.gov.gr" userId="S::urn:spo:guest#kchristou@gsco.gov.gr::" providerId="AD" clId="Web-{7085D903-C9EF-12B9-4664-2607DDA7ED97}" dt="2025-07-21T16:20:31.936" v="1501" actId="1076"/>
        <pc:sldMkLst>
          <pc:docMk/>
          <pc:sldMk cId="42924211" sldId="1749"/>
        </pc:sldMkLst>
        <pc:spChg chg="mod">
          <ac:chgData name="kchristou@gsco.gov.gr" userId="S::urn:spo:guest#kchristou@gsco.gov.gr::" providerId="AD" clId="Web-{7085D903-C9EF-12B9-4664-2607DDA7ED97}" dt="2025-07-21T16:20:31.904" v="1498" actId="1076"/>
          <ac:spMkLst>
            <pc:docMk/>
            <pc:sldMk cId="42924211" sldId="1749"/>
            <ac:spMk id="4" creationId="{32D971F0-EEA3-A05E-BDA9-2039134DC6E9}"/>
          </ac:spMkLst>
        </pc:spChg>
        <pc:spChg chg="mod">
          <ac:chgData name="kchristou@gsco.gov.gr" userId="S::urn:spo:guest#kchristou@gsco.gov.gr::" providerId="AD" clId="Web-{7085D903-C9EF-12B9-4664-2607DDA7ED97}" dt="2025-07-21T16:20:31.920" v="1499" actId="1076"/>
          <ac:spMkLst>
            <pc:docMk/>
            <pc:sldMk cId="42924211" sldId="1749"/>
            <ac:spMk id="5" creationId="{0839696E-781B-943C-2550-26EFBF75E911}"/>
          </ac:spMkLst>
        </pc:spChg>
        <pc:spChg chg="mod">
          <ac:chgData name="kchristou@gsco.gov.gr" userId="S::urn:spo:guest#kchristou@gsco.gov.gr::" providerId="AD" clId="Web-{7085D903-C9EF-12B9-4664-2607DDA7ED97}" dt="2025-07-21T16:20:31.920" v="1500" actId="1076"/>
          <ac:spMkLst>
            <pc:docMk/>
            <pc:sldMk cId="42924211" sldId="1749"/>
            <ac:spMk id="9" creationId="{981418D1-C768-E261-8D15-64DF088EFBEE}"/>
          </ac:spMkLst>
        </pc:spChg>
        <pc:spChg chg="mod">
          <ac:chgData name="kchristou@gsco.gov.gr" userId="S::urn:spo:guest#kchristou@gsco.gov.gr::" providerId="AD" clId="Web-{7085D903-C9EF-12B9-4664-2607DDA7ED97}" dt="2025-07-21T16:20:31.936" v="1501" actId="1076"/>
          <ac:spMkLst>
            <pc:docMk/>
            <pc:sldMk cId="42924211" sldId="1749"/>
            <ac:spMk id="10" creationId="{F1AF9FF4-D2CC-1289-753A-F519C7D0F444}"/>
          </ac:spMkLst>
        </pc:spChg>
      </pc:sldChg>
      <pc:sldChg chg="delSp modSp">
        <pc:chgData name="kchristou@gsco.gov.gr" userId="S::urn:spo:guest#kchristou@gsco.gov.gr::" providerId="AD" clId="Web-{7085D903-C9EF-12B9-4664-2607DDA7ED97}" dt="2025-07-21T14:52:23.780" v="102" actId="1076"/>
        <pc:sldMkLst>
          <pc:docMk/>
          <pc:sldMk cId="391153355" sldId="1752"/>
        </pc:sldMkLst>
        <pc:spChg chg="mod">
          <ac:chgData name="kchristou@gsco.gov.gr" userId="S::urn:spo:guest#kchristou@gsco.gov.gr::" providerId="AD" clId="Web-{7085D903-C9EF-12B9-4664-2607DDA7ED97}" dt="2025-07-21T14:51:11.403" v="88" actId="1076"/>
          <ac:spMkLst>
            <pc:docMk/>
            <pc:sldMk cId="391153355" sldId="1752"/>
            <ac:spMk id="9" creationId="{31C120B8-B422-BD61-DEA8-1C9CC57241B7}"/>
          </ac:spMkLst>
        </pc:spChg>
        <pc:spChg chg="mod">
          <ac:chgData name="kchristou@gsco.gov.gr" userId="S::urn:spo:guest#kchristou@gsco.gov.gr::" providerId="AD" clId="Web-{7085D903-C9EF-12B9-4664-2607DDA7ED97}" dt="2025-07-21T14:50:28.277" v="5" actId="20577"/>
          <ac:spMkLst>
            <pc:docMk/>
            <pc:sldMk cId="391153355" sldId="1752"/>
            <ac:spMk id="11" creationId="{33EE2C13-97DE-5E5E-9DF4-D10FD205549F}"/>
          </ac:spMkLst>
        </pc:spChg>
        <pc:spChg chg="mod">
          <ac:chgData name="kchristou@gsco.gov.gr" userId="S::urn:spo:guest#kchristou@gsco.gov.gr::" providerId="AD" clId="Web-{7085D903-C9EF-12B9-4664-2607DDA7ED97}" dt="2025-07-21T14:51:40.873" v="96" actId="1076"/>
          <ac:spMkLst>
            <pc:docMk/>
            <pc:sldMk cId="391153355" sldId="1752"/>
            <ac:spMk id="16" creationId="{3732CCF2-7AB2-BF0C-A20B-34FDCD377628}"/>
          </ac:spMkLst>
        </pc:spChg>
        <pc:spChg chg="mod">
          <ac:chgData name="kchristou@gsco.gov.gr" userId="S::urn:spo:guest#kchristou@gsco.gov.gr::" providerId="AD" clId="Web-{7085D903-C9EF-12B9-4664-2607DDA7ED97}" dt="2025-07-21T14:52:14.764" v="100" actId="1076"/>
          <ac:spMkLst>
            <pc:docMk/>
            <pc:sldMk cId="391153355" sldId="1752"/>
            <ac:spMk id="18" creationId="{1D79E54E-7BF3-504D-B0B4-2EDF44B8BE50}"/>
          </ac:spMkLst>
        </pc:spChg>
        <pc:spChg chg="mod">
          <ac:chgData name="kchristou@gsco.gov.gr" userId="S::urn:spo:guest#kchristou@gsco.gov.gr::" providerId="AD" clId="Web-{7085D903-C9EF-12B9-4664-2607DDA7ED97}" dt="2025-07-21T14:51:38.576" v="95" actId="1076"/>
          <ac:spMkLst>
            <pc:docMk/>
            <pc:sldMk cId="391153355" sldId="1752"/>
            <ac:spMk id="22" creationId="{818E18BA-25DA-2CE5-0DD5-02EC610F1C36}"/>
          </ac:spMkLst>
        </pc:spChg>
        <pc:spChg chg="mod">
          <ac:chgData name="kchristou@gsco.gov.gr" userId="S::urn:spo:guest#kchristou@gsco.gov.gr::" providerId="AD" clId="Web-{7085D903-C9EF-12B9-4664-2607DDA7ED97}" dt="2025-07-21T14:52:19.561" v="101" actId="1076"/>
          <ac:spMkLst>
            <pc:docMk/>
            <pc:sldMk cId="391153355" sldId="1752"/>
            <ac:spMk id="23" creationId="{AE378E99-C688-0CB4-31B1-7960BAA3E2AD}"/>
          </ac:spMkLst>
        </pc:spChg>
        <pc:spChg chg="mod">
          <ac:chgData name="kchristou@gsco.gov.gr" userId="S::urn:spo:guest#kchristou@gsco.gov.gr::" providerId="AD" clId="Web-{7085D903-C9EF-12B9-4664-2607DDA7ED97}" dt="2025-07-21T14:51:59.451" v="99" actId="14100"/>
          <ac:spMkLst>
            <pc:docMk/>
            <pc:sldMk cId="391153355" sldId="1752"/>
            <ac:spMk id="24" creationId="{6BD4BCBF-40C3-F14C-B882-B9AAD7C4DAD6}"/>
          </ac:spMkLst>
        </pc:spChg>
        <pc:spChg chg="mod">
          <ac:chgData name="kchristou@gsco.gov.gr" userId="S::urn:spo:guest#kchristou@gsco.gov.gr::" providerId="AD" clId="Web-{7085D903-C9EF-12B9-4664-2607DDA7ED97}" dt="2025-07-21T14:51:33.951" v="94" actId="20577"/>
          <ac:spMkLst>
            <pc:docMk/>
            <pc:sldMk cId="391153355" sldId="1752"/>
            <ac:spMk id="25" creationId="{544B8066-DB55-1ACD-EF00-6563F5257162}"/>
          </ac:spMkLst>
        </pc:spChg>
        <pc:spChg chg="mod">
          <ac:chgData name="kchristou@gsco.gov.gr" userId="S::urn:spo:guest#kchristou@gsco.gov.gr::" providerId="AD" clId="Web-{7085D903-C9EF-12B9-4664-2607DDA7ED97}" dt="2025-07-21T14:51:53.342" v="98" actId="14100"/>
          <ac:spMkLst>
            <pc:docMk/>
            <pc:sldMk cId="391153355" sldId="1752"/>
            <ac:spMk id="26" creationId="{8A63E27B-13E8-F075-2157-E27449157D52}"/>
          </ac:spMkLst>
        </pc:spChg>
        <pc:spChg chg="mod">
          <ac:chgData name="kchristou@gsco.gov.gr" userId="S::urn:spo:guest#kchristou@gsco.gov.gr::" providerId="AD" clId="Web-{7085D903-C9EF-12B9-4664-2607DDA7ED97}" dt="2025-07-21T14:52:23.780" v="102" actId="1076"/>
          <ac:spMkLst>
            <pc:docMk/>
            <pc:sldMk cId="391153355" sldId="1752"/>
            <ac:spMk id="27" creationId="{D0A6F310-EB40-FEA2-2324-934CC359A3E8}"/>
          </ac:spMkLst>
        </pc:spChg>
      </pc:sldChg>
      <pc:sldChg chg="addSp delSp modSp add replId">
        <pc:chgData name="kchristou@gsco.gov.gr" userId="S::urn:spo:guest#kchristou@gsco.gov.gr::" providerId="AD" clId="Web-{7085D903-C9EF-12B9-4664-2607DDA7ED97}" dt="2025-07-21T14:57:51.635" v="269" actId="1076"/>
        <pc:sldMkLst>
          <pc:docMk/>
          <pc:sldMk cId="2527212179" sldId="1753"/>
        </pc:sldMkLst>
      </pc:sldChg>
      <pc:sldChg chg="addSp delSp modSp add ord replId">
        <pc:chgData name="kchristou@gsco.gov.gr" userId="S::urn:spo:guest#kchristou@gsco.gov.gr::" providerId="AD" clId="Web-{7085D903-C9EF-12B9-4664-2607DDA7ED97}" dt="2025-07-21T16:09:59.789" v="1314" actId="1076"/>
        <pc:sldMkLst>
          <pc:docMk/>
          <pc:sldMk cId="4230213373" sldId="1754"/>
        </pc:sldMkLst>
        <pc:spChg chg="add mod">
          <ac:chgData name="kchristou@gsco.gov.gr" userId="S::urn:spo:guest#kchristou@gsco.gov.gr::" providerId="AD" clId="Web-{7085D903-C9EF-12B9-4664-2607DDA7ED97}" dt="2025-07-21T15:26:01.861" v="547" actId="1076"/>
          <ac:spMkLst>
            <pc:docMk/>
            <pc:sldMk cId="4230213373" sldId="1754"/>
            <ac:spMk id="4" creationId="{FA0603B8-90F1-F248-E363-3789D63AAA9A}"/>
          </ac:spMkLst>
        </pc:spChg>
        <pc:spChg chg="mod">
          <ac:chgData name="kchristou@gsco.gov.gr" userId="S::urn:spo:guest#kchristou@gsco.gov.gr::" providerId="AD" clId="Web-{7085D903-C9EF-12B9-4664-2607DDA7ED97}" dt="2025-07-21T15:25:57.220" v="545" actId="1076"/>
          <ac:spMkLst>
            <pc:docMk/>
            <pc:sldMk cId="4230213373" sldId="1754"/>
            <ac:spMk id="12" creationId="{34738000-02A0-E3D8-D9C6-E9ADDEB668EA}"/>
          </ac:spMkLst>
        </pc:spChg>
        <pc:spChg chg="mod">
          <ac:chgData name="kchristou@gsco.gov.gr" userId="S::urn:spo:guest#kchristou@gsco.gov.gr::" providerId="AD" clId="Web-{7085D903-C9EF-12B9-4664-2607DDA7ED97}" dt="2025-07-21T16:09:59.789" v="1314" actId="1076"/>
          <ac:spMkLst>
            <pc:docMk/>
            <pc:sldMk cId="4230213373" sldId="1754"/>
            <ac:spMk id="14" creationId="{79CDE555-3846-953F-10F9-4F8CC5F700F5}"/>
          </ac:spMkLst>
        </pc:spChg>
        <pc:spChg chg="mod">
          <ac:chgData name="kchristou@gsco.gov.gr" userId="S::urn:spo:guest#kchristou@gsco.gov.gr::" providerId="AD" clId="Web-{7085D903-C9EF-12B9-4664-2607DDA7ED97}" dt="2025-07-21T15:26:07.470" v="548" actId="1076"/>
          <ac:spMkLst>
            <pc:docMk/>
            <pc:sldMk cId="4230213373" sldId="1754"/>
            <ac:spMk id="16" creationId="{5395F9FD-7878-8DA6-39C9-E591E68CC8F2}"/>
          </ac:spMkLst>
        </pc:spChg>
        <pc:spChg chg="mod">
          <ac:chgData name="kchristou@gsco.gov.gr" userId="S::urn:spo:guest#kchristou@gsco.gov.gr::" providerId="AD" clId="Web-{7085D903-C9EF-12B9-4664-2607DDA7ED97}" dt="2025-07-21T15:25:59.986" v="546" actId="1076"/>
          <ac:spMkLst>
            <pc:docMk/>
            <pc:sldMk cId="4230213373" sldId="1754"/>
            <ac:spMk id="18" creationId="{16EC2A47-1638-56EA-1D1F-191658497FEE}"/>
          </ac:spMkLst>
        </pc:spChg>
      </pc:sldChg>
      <pc:sldChg chg="addSp delSp modSp add replId">
        <pc:chgData name="kchristou@gsco.gov.gr" userId="S::urn:spo:guest#kchristou@gsco.gov.gr::" providerId="AD" clId="Web-{7085D903-C9EF-12B9-4664-2607DDA7ED97}" dt="2025-07-21T16:05:38.750" v="1277" actId="1076"/>
        <pc:sldMkLst>
          <pc:docMk/>
          <pc:sldMk cId="2865265671" sldId="1755"/>
        </pc:sldMkLst>
        <pc:spChg chg="add mod">
          <ac:chgData name="kchristou@gsco.gov.gr" userId="S::urn:spo:guest#kchristou@gsco.gov.gr::" providerId="AD" clId="Web-{7085D903-C9EF-12B9-4664-2607DDA7ED97}" dt="2025-07-21T16:05:38.703" v="1272" actId="1076"/>
          <ac:spMkLst>
            <pc:docMk/>
            <pc:sldMk cId="2865265671" sldId="1755"/>
            <ac:spMk id="8" creationId="{5F381940-24B2-6B5F-6EBC-0D65751B0071}"/>
          </ac:spMkLst>
        </pc:spChg>
        <pc:spChg chg="add mod">
          <ac:chgData name="kchristou@gsco.gov.gr" userId="S::urn:spo:guest#kchristou@gsco.gov.gr::" providerId="AD" clId="Web-{7085D903-C9EF-12B9-4664-2607DDA7ED97}" dt="2025-07-21T16:05:38.703" v="1273" actId="1076"/>
          <ac:spMkLst>
            <pc:docMk/>
            <pc:sldMk cId="2865265671" sldId="1755"/>
            <ac:spMk id="9" creationId="{C67CB123-55D5-214E-9DC3-98CD32F87E63}"/>
          </ac:spMkLst>
        </pc:spChg>
        <pc:spChg chg="add mod">
          <ac:chgData name="kchristou@gsco.gov.gr" userId="S::urn:spo:guest#kchristou@gsco.gov.gr::" providerId="AD" clId="Web-{7085D903-C9EF-12B9-4664-2607DDA7ED97}" dt="2025-07-21T16:05:38.718" v="1274" actId="1076"/>
          <ac:spMkLst>
            <pc:docMk/>
            <pc:sldMk cId="2865265671" sldId="1755"/>
            <ac:spMk id="10" creationId="{7167D957-53F3-2EDD-7A45-668305D5E84D}"/>
          </ac:spMkLst>
        </pc:spChg>
        <pc:spChg chg="add mod">
          <ac:chgData name="kchristou@gsco.gov.gr" userId="S::urn:spo:guest#kchristou@gsco.gov.gr::" providerId="AD" clId="Web-{7085D903-C9EF-12B9-4664-2607DDA7ED97}" dt="2025-07-21T16:05:38.734" v="1275" actId="1076"/>
          <ac:spMkLst>
            <pc:docMk/>
            <pc:sldMk cId="2865265671" sldId="1755"/>
            <ac:spMk id="11" creationId="{6A6C0DE7-126D-923A-EBD9-4484C3637F59}"/>
          </ac:spMkLst>
        </pc:spChg>
        <pc:spChg chg="add mod">
          <ac:chgData name="kchristou@gsco.gov.gr" userId="S::urn:spo:guest#kchristou@gsco.gov.gr::" providerId="AD" clId="Web-{7085D903-C9EF-12B9-4664-2607DDA7ED97}" dt="2025-07-21T16:05:38.734" v="1276" actId="1076"/>
          <ac:spMkLst>
            <pc:docMk/>
            <pc:sldMk cId="2865265671" sldId="1755"/>
            <ac:spMk id="12" creationId="{412783B9-B4F5-DE76-9379-D5E2FB084D15}"/>
          </ac:spMkLst>
        </pc:spChg>
        <pc:spChg chg="add mod">
          <ac:chgData name="kchristou@gsco.gov.gr" userId="S::urn:spo:guest#kchristou@gsco.gov.gr::" providerId="AD" clId="Web-{7085D903-C9EF-12B9-4664-2607DDA7ED97}" dt="2025-07-21T16:05:38.750" v="1277" actId="1076"/>
          <ac:spMkLst>
            <pc:docMk/>
            <pc:sldMk cId="2865265671" sldId="1755"/>
            <ac:spMk id="13" creationId="{DF46C30E-DD48-05D8-C6E8-A6D0034D4275}"/>
          </ac:spMkLst>
        </pc:spChg>
        <pc:spChg chg="mod">
          <ac:chgData name="kchristou@gsco.gov.gr" userId="S::urn:spo:guest#kchristou@gsco.gov.gr::" providerId="AD" clId="Web-{7085D903-C9EF-12B9-4664-2607DDA7ED97}" dt="2025-07-21T16:05:38.672" v="1269" actId="1076"/>
          <ac:spMkLst>
            <pc:docMk/>
            <pc:sldMk cId="2865265671" sldId="1755"/>
            <ac:spMk id="15" creationId="{EB9923EA-CCC9-5A96-052F-BE3FECF17907}"/>
          </ac:spMkLst>
        </pc:spChg>
        <pc:spChg chg="mod">
          <ac:chgData name="kchristou@gsco.gov.gr" userId="S::urn:spo:guest#kchristou@gsco.gov.gr::" providerId="AD" clId="Web-{7085D903-C9EF-12B9-4664-2607DDA7ED97}" dt="2025-07-21T16:05:38.672" v="1270" actId="1076"/>
          <ac:spMkLst>
            <pc:docMk/>
            <pc:sldMk cId="2865265671" sldId="1755"/>
            <ac:spMk id="17" creationId="{7F41CAEA-ADDB-B14A-81B7-1C67D19CDDF5}"/>
          </ac:spMkLst>
        </pc:spChg>
        <pc:spChg chg="mod">
          <ac:chgData name="kchristou@gsco.gov.gr" userId="S::urn:spo:guest#kchristou@gsco.gov.gr::" providerId="AD" clId="Web-{7085D903-C9EF-12B9-4664-2607DDA7ED97}" dt="2025-07-21T16:05:38.687" v="1271" actId="1076"/>
          <ac:spMkLst>
            <pc:docMk/>
            <pc:sldMk cId="2865265671" sldId="1755"/>
            <ac:spMk id="25" creationId="{86CF8FAF-E445-DE18-5A70-9A5AD19EBF9F}"/>
          </ac:spMkLst>
        </pc:spChg>
      </pc:sldChg>
      <pc:sldChg chg="addSp delSp modSp add replId">
        <pc:chgData name="kchristou@gsco.gov.gr" userId="S::urn:spo:guest#kchristou@gsco.gov.gr::" providerId="AD" clId="Web-{7085D903-C9EF-12B9-4664-2607DDA7ED97}" dt="2025-07-21T16:44:29.248" v="2391" actId="1076"/>
        <pc:sldMkLst>
          <pc:docMk/>
          <pc:sldMk cId="3053627698" sldId="1756"/>
        </pc:sldMkLst>
        <pc:spChg chg="add mod">
          <ac:chgData name="kchristou@gsco.gov.gr" userId="S::urn:spo:guest#kchristou@gsco.gov.gr::" providerId="AD" clId="Web-{7085D903-C9EF-12B9-4664-2607DDA7ED97}" dt="2025-07-21T16:36:46.186" v="2048" actId="20577"/>
          <ac:spMkLst>
            <pc:docMk/>
            <pc:sldMk cId="3053627698" sldId="1756"/>
            <ac:spMk id="3" creationId="{2E71F4FC-400E-D4D4-0E71-3265C3763261}"/>
          </ac:spMkLst>
        </pc:spChg>
        <pc:cxnChg chg="add">
          <ac:chgData name="kchristou@gsco.gov.gr" userId="S::urn:spo:guest#kchristou@gsco.gov.gr::" providerId="AD" clId="Web-{7085D903-C9EF-12B9-4664-2607DDA7ED97}" dt="2025-07-21T16:35:58.700" v="2024"/>
          <ac:cxnSpMkLst>
            <pc:docMk/>
            <pc:sldMk cId="3053627698" sldId="1756"/>
            <ac:cxnSpMk id="6" creationId="{8498FFEE-7A88-CC37-3454-F11612C88D45}"/>
          </ac:cxnSpMkLst>
        </pc:cxnChg>
      </pc:sldChg>
    </pc:docChg>
  </pc:docChgLst>
  <pc:docChgLst>
    <pc:chgData name="kchristou@gsco.gov.gr" userId="S::urn:spo:guest#kchristou@gsco.gov.gr::" providerId="AD" clId="Web-{AD1E292F-7BDB-B96D-0CE6-019E0AC377A3}"/>
    <pc:docChg chg="addSld delSld modSld sldOrd">
      <pc:chgData name="kchristou@gsco.gov.gr" userId="S::urn:spo:guest#kchristou@gsco.gov.gr::" providerId="AD" clId="Web-{AD1E292F-7BDB-B96D-0CE6-019E0AC377A3}" dt="2025-07-21T14:37:29.809" v="3896" actId="20577"/>
      <pc:docMkLst>
        <pc:docMk/>
      </pc:docMkLst>
      <pc:sldChg chg="modSp">
        <pc:chgData name="kchristou@gsco.gov.gr" userId="S::urn:spo:guest#kchristou@gsco.gov.gr::" providerId="AD" clId="Web-{AD1E292F-7BDB-B96D-0CE6-019E0AC377A3}" dt="2025-07-21T13:47:09.097" v="2127" actId="1076"/>
        <pc:sldMkLst>
          <pc:docMk/>
          <pc:sldMk cId="3791306636" sldId="822"/>
        </pc:sldMkLst>
        <pc:spChg chg="mod">
          <ac:chgData name="kchristou@gsco.gov.gr" userId="S::urn:spo:guest#kchristou@gsco.gov.gr::" providerId="AD" clId="Web-{AD1E292F-7BDB-B96D-0CE6-019E0AC377A3}" dt="2025-07-21T13:47:09.097" v="2127" actId="1076"/>
          <ac:spMkLst>
            <pc:docMk/>
            <pc:sldMk cId="3791306636" sldId="822"/>
            <ac:spMk id="3" creationId="{7B9C5856-9D0D-1432-2B64-C743BB072A19}"/>
          </ac:spMkLst>
        </pc:spChg>
      </pc:sldChg>
      <pc:sldChg chg="ord">
        <pc:chgData name="kchristou@gsco.gov.gr" userId="S::urn:spo:guest#kchristou@gsco.gov.gr::" providerId="AD" clId="Web-{AD1E292F-7BDB-B96D-0CE6-019E0AC377A3}" dt="2025-07-21T12:27:39.472" v="182"/>
        <pc:sldMkLst>
          <pc:docMk/>
          <pc:sldMk cId="2035213608" sldId="1184"/>
        </pc:sldMkLst>
      </pc:sldChg>
      <pc:sldChg chg="addSp delSp modSp">
        <pc:chgData name="kchristou@gsco.gov.gr" userId="S::urn:spo:guest#kchristou@gsco.gov.gr::" providerId="AD" clId="Web-{AD1E292F-7BDB-B96D-0CE6-019E0AC377A3}" dt="2025-07-21T13:11:31.700" v="734" actId="1076"/>
        <pc:sldMkLst>
          <pc:docMk/>
          <pc:sldMk cId="2084428776" sldId="1257"/>
        </pc:sldMkLst>
        <pc:spChg chg="add mod">
          <ac:chgData name="kchristou@gsco.gov.gr" userId="S::urn:spo:guest#kchristou@gsco.gov.gr::" providerId="AD" clId="Web-{AD1E292F-7BDB-B96D-0CE6-019E0AC377A3}" dt="2025-07-21T13:11:31.669" v="731" actId="1076"/>
          <ac:spMkLst>
            <pc:docMk/>
            <pc:sldMk cId="2084428776" sldId="1257"/>
            <ac:spMk id="5" creationId="{5CCF1E06-8CDF-45FE-30D9-E951DF8E670C}"/>
          </ac:spMkLst>
        </pc:spChg>
        <pc:spChg chg="add mod">
          <ac:chgData name="kchristou@gsco.gov.gr" userId="S::urn:spo:guest#kchristou@gsco.gov.gr::" providerId="AD" clId="Web-{AD1E292F-7BDB-B96D-0CE6-019E0AC377A3}" dt="2025-07-21T13:11:31.685" v="732" actId="1076"/>
          <ac:spMkLst>
            <pc:docMk/>
            <pc:sldMk cId="2084428776" sldId="1257"/>
            <ac:spMk id="7" creationId="{7DAA1D55-1870-F495-0545-E0B84E32A7A2}"/>
          </ac:spMkLst>
        </pc:spChg>
        <pc:spChg chg="add mod">
          <ac:chgData name="kchristou@gsco.gov.gr" userId="S::urn:spo:guest#kchristou@gsco.gov.gr::" providerId="AD" clId="Web-{AD1E292F-7BDB-B96D-0CE6-019E0AC377A3}" dt="2025-07-21T13:11:31.700" v="733" actId="1076"/>
          <ac:spMkLst>
            <pc:docMk/>
            <pc:sldMk cId="2084428776" sldId="1257"/>
            <ac:spMk id="9" creationId="{BDD1ADA9-BE1F-E0C0-498F-0DA24445E568}"/>
          </ac:spMkLst>
        </pc:spChg>
        <pc:spChg chg="add mod">
          <ac:chgData name="kchristou@gsco.gov.gr" userId="S::urn:spo:guest#kchristou@gsco.gov.gr::" providerId="AD" clId="Web-{AD1E292F-7BDB-B96D-0CE6-019E0AC377A3}" dt="2025-07-21T13:11:31.700" v="734" actId="1076"/>
          <ac:spMkLst>
            <pc:docMk/>
            <pc:sldMk cId="2084428776" sldId="1257"/>
            <ac:spMk id="11" creationId="{E30BEDB1-BDDC-26D3-C7D4-D29DC264A8A9}"/>
          </ac:spMkLst>
        </pc:spChg>
        <pc:spChg chg="add">
          <ac:chgData name="kchristou@gsco.gov.gr" userId="S::urn:spo:guest#kchristou@gsco.gov.gr::" providerId="AD" clId="Web-{AD1E292F-7BDB-B96D-0CE6-019E0AC377A3}" dt="2025-07-21T13:03:32.463" v="642"/>
          <ac:spMkLst>
            <pc:docMk/>
            <pc:sldMk cId="2084428776" sldId="1257"/>
            <ac:spMk id="15" creationId="{922BE963-A695-F663-FCCE-6F5EF697BEC6}"/>
          </ac:spMkLst>
        </pc:spChg>
        <pc:cxnChg chg="add mod">
          <ac:chgData name="kchristou@gsco.gov.gr" userId="S::urn:spo:guest#kchristou@gsco.gov.gr::" providerId="AD" clId="Web-{AD1E292F-7BDB-B96D-0CE6-019E0AC377A3}" dt="2025-07-21T13:03:44.760" v="645"/>
          <ac:cxnSpMkLst>
            <pc:docMk/>
            <pc:sldMk cId="2084428776" sldId="1257"/>
            <ac:cxnSpMk id="17" creationId="{A6DBC330-AABF-4EF0-E5C5-6C43FE0FD634}"/>
          </ac:cxnSpMkLst>
        </pc:cxnChg>
      </pc:sldChg>
      <pc:sldChg chg="del">
        <pc:chgData name="kchristou@gsco.gov.gr" userId="S::urn:spo:guest#kchristou@gsco.gov.gr::" providerId="AD" clId="Web-{AD1E292F-7BDB-B96D-0CE6-019E0AC377A3}" dt="2025-07-21T12:33:57.971" v="242"/>
        <pc:sldMkLst>
          <pc:docMk/>
          <pc:sldMk cId="1007076632" sldId="1262"/>
        </pc:sldMkLst>
      </pc:sldChg>
      <pc:sldChg chg="addSp delSp modSp">
        <pc:chgData name="kchristou@gsco.gov.gr" userId="S::urn:spo:guest#kchristou@gsco.gov.gr::" providerId="AD" clId="Web-{AD1E292F-7BDB-B96D-0CE6-019E0AC377A3}" dt="2025-07-21T13:18:16.154" v="995" actId="1076"/>
        <pc:sldMkLst>
          <pc:docMk/>
          <pc:sldMk cId="374853499" sldId="1267"/>
        </pc:sldMkLst>
        <pc:spChg chg="add mod">
          <ac:chgData name="kchristou@gsco.gov.gr" userId="S::urn:spo:guest#kchristou@gsco.gov.gr::" providerId="AD" clId="Web-{AD1E292F-7BDB-B96D-0CE6-019E0AC377A3}" dt="2025-07-21T13:18:16.123" v="992" actId="1076"/>
          <ac:spMkLst>
            <pc:docMk/>
            <pc:sldMk cId="374853499" sldId="1267"/>
            <ac:spMk id="5" creationId="{B8EA7ED4-B212-59B7-C659-3FC289D973C8}"/>
          </ac:spMkLst>
        </pc:spChg>
        <pc:spChg chg="add mod">
          <ac:chgData name="kchristou@gsco.gov.gr" userId="S::urn:spo:guest#kchristou@gsco.gov.gr::" providerId="AD" clId="Web-{AD1E292F-7BDB-B96D-0CE6-019E0AC377A3}" dt="2025-07-21T13:18:16.138" v="993" actId="1076"/>
          <ac:spMkLst>
            <pc:docMk/>
            <pc:sldMk cId="374853499" sldId="1267"/>
            <ac:spMk id="7" creationId="{0D2772A5-47A2-1F68-6C94-B7BC05677D07}"/>
          </ac:spMkLst>
        </pc:spChg>
        <pc:spChg chg="add mod">
          <ac:chgData name="kchristou@gsco.gov.gr" userId="S::urn:spo:guest#kchristou@gsco.gov.gr::" providerId="AD" clId="Web-{AD1E292F-7BDB-B96D-0CE6-019E0AC377A3}" dt="2025-07-21T13:18:16.138" v="994" actId="1076"/>
          <ac:spMkLst>
            <pc:docMk/>
            <pc:sldMk cId="374853499" sldId="1267"/>
            <ac:spMk id="9" creationId="{19473346-F42F-721C-680B-ED62BF16D8C9}"/>
          </ac:spMkLst>
        </pc:spChg>
        <pc:spChg chg="add mod">
          <ac:chgData name="kchristou@gsco.gov.gr" userId="S::urn:spo:guest#kchristou@gsco.gov.gr::" providerId="AD" clId="Web-{AD1E292F-7BDB-B96D-0CE6-019E0AC377A3}" dt="2025-07-21T13:18:16.154" v="995" actId="1076"/>
          <ac:spMkLst>
            <pc:docMk/>
            <pc:sldMk cId="374853499" sldId="1267"/>
            <ac:spMk id="11" creationId="{2565FF2C-3AF4-0419-D85C-52163AC3C65B}"/>
          </ac:spMkLst>
        </pc:spChg>
      </pc:sldChg>
      <pc:sldChg chg="addSp delSp modSp">
        <pc:chgData name="kchristou@gsco.gov.gr" userId="S::urn:spo:guest#kchristou@gsco.gov.gr::" providerId="AD" clId="Web-{AD1E292F-7BDB-B96D-0CE6-019E0AC377A3}" dt="2025-07-21T13:35:30.351" v="1849" actId="14100"/>
        <pc:sldMkLst>
          <pc:docMk/>
          <pc:sldMk cId="169613936" sldId="1292"/>
        </pc:sldMkLst>
        <pc:spChg chg="add mod">
          <ac:chgData name="kchristou@gsco.gov.gr" userId="S::urn:spo:guest#kchristou@gsco.gov.gr::" providerId="AD" clId="Web-{AD1E292F-7BDB-B96D-0CE6-019E0AC377A3}" dt="2025-07-21T13:35:30.351" v="1849" actId="14100"/>
          <ac:spMkLst>
            <pc:docMk/>
            <pc:sldMk cId="169613936" sldId="1292"/>
            <ac:spMk id="7" creationId="{C84646E9-748E-60A5-090D-7947F8B718A1}"/>
          </ac:spMkLst>
        </pc:spChg>
        <pc:spChg chg="add mod">
          <ac:chgData name="kchristou@gsco.gov.gr" userId="S::urn:spo:guest#kchristou@gsco.gov.gr::" providerId="AD" clId="Web-{AD1E292F-7BDB-B96D-0CE6-019E0AC377A3}" dt="2025-07-21T13:35:15.366" v="1841" actId="1076"/>
          <ac:spMkLst>
            <pc:docMk/>
            <pc:sldMk cId="169613936" sldId="1292"/>
            <ac:spMk id="11" creationId="{D85E109F-F3EA-71EB-33C2-C8F00F000DE0}"/>
          </ac:spMkLst>
        </pc:spChg>
        <pc:spChg chg="add mod">
          <ac:chgData name="kchristou@gsco.gov.gr" userId="S::urn:spo:guest#kchristou@gsco.gov.gr::" providerId="AD" clId="Web-{AD1E292F-7BDB-B96D-0CE6-019E0AC377A3}" dt="2025-07-21T13:35:15.381" v="1842" actId="1076"/>
          <ac:spMkLst>
            <pc:docMk/>
            <pc:sldMk cId="169613936" sldId="1292"/>
            <ac:spMk id="13" creationId="{762B8803-0868-CD8F-8568-F7A513BDFE8E}"/>
          </ac:spMkLst>
        </pc:spChg>
        <pc:spChg chg="add mod">
          <ac:chgData name="kchristou@gsco.gov.gr" userId="S::urn:spo:guest#kchristou@gsco.gov.gr::" providerId="AD" clId="Web-{AD1E292F-7BDB-B96D-0CE6-019E0AC377A3}" dt="2025-07-21T13:35:15.397" v="1843" actId="1076"/>
          <ac:spMkLst>
            <pc:docMk/>
            <pc:sldMk cId="169613936" sldId="1292"/>
            <ac:spMk id="15" creationId="{3953F643-57AF-C24E-E8AB-9CD1FD8A8D0D}"/>
          </ac:spMkLst>
        </pc:spChg>
        <pc:spChg chg="add mod">
          <ac:chgData name="kchristou@gsco.gov.gr" userId="S::urn:spo:guest#kchristou@gsco.gov.gr::" providerId="AD" clId="Web-{AD1E292F-7BDB-B96D-0CE6-019E0AC377A3}" dt="2025-07-21T13:35:15.397" v="1844" actId="1076"/>
          <ac:spMkLst>
            <pc:docMk/>
            <pc:sldMk cId="169613936" sldId="1292"/>
            <ac:spMk id="16" creationId="{C853DC82-89E3-CE98-035A-A9D6A87D2D90}"/>
          </ac:spMkLst>
        </pc:spChg>
        <pc:spChg chg="add mod">
          <ac:chgData name="kchristou@gsco.gov.gr" userId="S::urn:spo:guest#kchristou@gsco.gov.gr::" providerId="AD" clId="Web-{AD1E292F-7BDB-B96D-0CE6-019E0AC377A3}" dt="2025-07-21T13:35:15.413" v="1845" actId="1076"/>
          <ac:spMkLst>
            <pc:docMk/>
            <pc:sldMk cId="169613936" sldId="1292"/>
            <ac:spMk id="17" creationId="{C390D075-8BDF-E5C3-E2C1-733C73D6649B}"/>
          </ac:spMkLst>
        </pc:spChg>
        <pc:spChg chg="add mod">
          <ac:chgData name="kchristou@gsco.gov.gr" userId="S::urn:spo:guest#kchristou@gsco.gov.gr::" providerId="AD" clId="Web-{AD1E292F-7BDB-B96D-0CE6-019E0AC377A3}" dt="2025-07-21T13:35:15.428" v="1846" actId="1076"/>
          <ac:spMkLst>
            <pc:docMk/>
            <pc:sldMk cId="169613936" sldId="1292"/>
            <ac:spMk id="18" creationId="{15C338DC-C1EB-DFB7-E502-BDFEE4E7517C}"/>
          </ac:spMkLst>
        </pc:spChg>
        <pc:spChg chg="add mod">
          <ac:chgData name="kchristou@gsco.gov.gr" userId="S::urn:spo:guest#kchristou@gsco.gov.gr::" providerId="AD" clId="Web-{AD1E292F-7BDB-B96D-0CE6-019E0AC377A3}" dt="2025-07-21T13:35:15.444" v="1847" actId="1076"/>
          <ac:spMkLst>
            <pc:docMk/>
            <pc:sldMk cId="169613936" sldId="1292"/>
            <ac:spMk id="19" creationId="{D18F7219-103A-C31E-7FBB-93F508DAABBC}"/>
          </ac:spMkLst>
        </pc:spChg>
        <pc:spChg chg="add mod">
          <ac:chgData name="kchristou@gsco.gov.gr" userId="S::urn:spo:guest#kchristou@gsco.gov.gr::" providerId="AD" clId="Web-{AD1E292F-7BDB-B96D-0CE6-019E0AC377A3}" dt="2025-07-21T13:35:15.460" v="1848" actId="1076"/>
          <ac:spMkLst>
            <pc:docMk/>
            <pc:sldMk cId="169613936" sldId="1292"/>
            <ac:spMk id="20" creationId="{9004FAE0-9DBD-AC67-21B7-5FB6835CBF8B}"/>
          </ac:spMkLst>
        </pc:spChg>
        <pc:cxnChg chg="add mod">
          <ac:chgData name="kchristou@gsco.gov.gr" userId="S::urn:spo:guest#kchristou@gsco.gov.gr::" providerId="AD" clId="Web-{AD1E292F-7BDB-B96D-0CE6-019E0AC377A3}" dt="2025-07-21T13:26:20.173" v="1197" actId="1076"/>
          <ac:cxnSpMkLst>
            <pc:docMk/>
            <pc:sldMk cId="169613936" sldId="1292"/>
            <ac:cxnSpMk id="9" creationId="{2FF443B1-BEFF-3EF2-CFBC-10DB62B1E1E8}"/>
          </ac:cxnSpMkLst>
        </pc:cxnChg>
      </pc:sldChg>
      <pc:sldChg chg="addSp delSp modSp">
        <pc:chgData name="kchristou@gsco.gov.gr" userId="S::urn:spo:guest#kchristou@gsco.gov.gr::" providerId="AD" clId="Web-{AD1E292F-7BDB-B96D-0CE6-019E0AC377A3}" dt="2025-07-21T14:30:14.449" v="3466" actId="20577"/>
        <pc:sldMkLst>
          <pc:docMk/>
          <pc:sldMk cId="0" sldId="1321"/>
        </pc:sldMkLst>
        <pc:spChg chg="add mod">
          <ac:chgData name="kchristou@gsco.gov.gr" userId="S::urn:spo:guest#kchristou@gsco.gov.gr::" providerId="AD" clId="Web-{AD1E292F-7BDB-B96D-0CE6-019E0AC377A3}" dt="2025-07-21T14:14:12.833" v="2745" actId="1076"/>
          <ac:spMkLst>
            <pc:docMk/>
            <pc:sldMk cId="0" sldId="1321"/>
            <ac:spMk id="8" creationId="{9BC96FFB-AF72-1B7A-6ED7-DE08CAE51648}"/>
          </ac:spMkLst>
        </pc:spChg>
        <pc:spChg chg="add mod">
          <ac:chgData name="kchristou@gsco.gov.gr" userId="S::urn:spo:guest#kchristou@gsco.gov.gr::" providerId="AD" clId="Web-{AD1E292F-7BDB-B96D-0CE6-019E0AC377A3}" dt="2025-07-21T14:13:37.175" v="2741" actId="1076"/>
          <ac:spMkLst>
            <pc:docMk/>
            <pc:sldMk cId="0" sldId="1321"/>
            <ac:spMk id="12" creationId="{708E6212-95E0-7DA3-77B8-13539E19A495}"/>
          </ac:spMkLst>
        </pc:spChg>
        <pc:spChg chg="add mod">
          <ac:chgData name="kchristou@gsco.gov.gr" userId="S::urn:spo:guest#kchristou@gsco.gov.gr::" providerId="AD" clId="Web-{AD1E292F-7BDB-B96D-0CE6-019E0AC377A3}" dt="2025-07-21T14:14:34.583" v="2756" actId="1076"/>
          <ac:spMkLst>
            <pc:docMk/>
            <pc:sldMk cId="0" sldId="1321"/>
            <ac:spMk id="14" creationId="{E8904F37-5797-F6C3-D9DC-975CEE0AEB34}"/>
          </ac:spMkLst>
        </pc:spChg>
        <pc:spChg chg="add mod">
          <ac:chgData name="kchristou@gsco.gov.gr" userId="S::urn:spo:guest#kchristou@gsco.gov.gr::" providerId="AD" clId="Web-{AD1E292F-7BDB-B96D-0CE6-019E0AC377A3}" dt="2025-07-21T14:13:43.128" v="2743" actId="1076"/>
          <ac:spMkLst>
            <pc:docMk/>
            <pc:sldMk cId="0" sldId="1321"/>
            <ac:spMk id="16" creationId="{CC14ED2B-D108-7501-B40C-93C1828F4DB0}"/>
          </ac:spMkLst>
        </pc:spChg>
        <pc:spChg chg="add mod">
          <ac:chgData name="kchristou@gsco.gov.gr" userId="S::urn:spo:guest#kchristou@gsco.gov.gr::" providerId="AD" clId="Web-{AD1E292F-7BDB-B96D-0CE6-019E0AC377A3}" dt="2025-07-21T14:30:14.449" v="3466" actId="20577"/>
          <ac:spMkLst>
            <pc:docMk/>
            <pc:sldMk cId="0" sldId="1321"/>
            <ac:spMk id="18" creationId="{9E9EEF10-89A0-DECF-190E-6AE9C18E2C65}"/>
          </ac:spMkLst>
        </pc:spChg>
        <pc:spChg chg="add mod">
          <ac:chgData name="kchristou@gsco.gov.gr" userId="S::urn:spo:guest#kchristou@gsco.gov.gr::" providerId="AD" clId="Web-{AD1E292F-7BDB-B96D-0CE6-019E0AC377A3}" dt="2025-07-21T14:16:51.323" v="2927" actId="1076"/>
          <ac:spMkLst>
            <pc:docMk/>
            <pc:sldMk cId="0" sldId="1321"/>
            <ac:spMk id="21" creationId="{3DDE8D0A-F495-D15A-2479-B01A79AFA6E3}"/>
          </ac:spMkLst>
        </pc:spChg>
        <pc:spChg chg="add mod">
          <ac:chgData name="kchristou@gsco.gov.gr" userId="S::urn:spo:guest#kchristou@gsco.gov.gr::" providerId="AD" clId="Web-{AD1E292F-7BDB-B96D-0CE6-019E0AC377A3}" dt="2025-07-21T14:16:24.072" v="2922" actId="1076"/>
          <ac:spMkLst>
            <pc:docMk/>
            <pc:sldMk cId="0" sldId="1321"/>
            <ac:spMk id="22" creationId="{F294B223-4997-6895-3C00-C78DF4AB0D16}"/>
          </ac:spMkLst>
        </pc:spChg>
        <pc:spChg chg="add mod">
          <ac:chgData name="kchristou@gsco.gov.gr" userId="S::urn:spo:guest#kchristou@gsco.gov.gr::" providerId="AD" clId="Web-{AD1E292F-7BDB-B96D-0CE6-019E0AC377A3}" dt="2025-07-21T14:21:14.584" v="3124" actId="1076"/>
          <ac:spMkLst>
            <pc:docMk/>
            <pc:sldMk cId="0" sldId="1321"/>
            <ac:spMk id="23" creationId="{3D1713FF-B158-0502-CA59-EB8EC736B45B}"/>
          </ac:spMkLst>
        </pc:spChg>
        <pc:spChg chg="add mod">
          <ac:chgData name="kchristou@gsco.gov.gr" userId="S::urn:spo:guest#kchristou@gsco.gov.gr::" providerId="AD" clId="Web-{AD1E292F-7BDB-B96D-0CE6-019E0AC377A3}" dt="2025-07-21T14:20:56.427" v="3120" actId="14100"/>
          <ac:spMkLst>
            <pc:docMk/>
            <pc:sldMk cId="0" sldId="1321"/>
            <ac:spMk id="27" creationId="{0BA31584-2438-DBE6-E5E8-5DC9B76A0346}"/>
          </ac:spMkLst>
        </pc:spChg>
        <pc:spChg chg="add mod">
          <ac:chgData name="kchristou@gsco.gov.gr" userId="S::urn:spo:guest#kchristou@gsco.gov.gr::" providerId="AD" clId="Web-{AD1E292F-7BDB-B96D-0CE6-019E0AC377A3}" dt="2025-07-21T14:18:41.624" v="2985" actId="14100"/>
          <ac:spMkLst>
            <pc:docMk/>
            <pc:sldMk cId="0" sldId="1321"/>
            <ac:spMk id="28" creationId="{A2D68E18-F01C-2087-E4BB-428726E0843A}"/>
          </ac:spMkLst>
        </pc:spChg>
        <pc:spChg chg="add mod">
          <ac:chgData name="kchristou@gsco.gov.gr" userId="S::urn:spo:guest#kchristou@gsco.gov.gr::" providerId="AD" clId="Web-{AD1E292F-7BDB-B96D-0CE6-019E0AC377A3}" dt="2025-07-21T14:19:11.594" v="2997" actId="20577"/>
          <ac:spMkLst>
            <pc:docMk/>
            <pc:sldMk cId="0" sldId="1321"/>
            <ac:spMk id="30" creationId="{7BD2E3EA-C787-1433-B5E3-0398FFAC6F0C}"/>
          </ac:spMkLst>
        </pc:spChg>
        <pc:spChg chg="add mod">
          <ac:chgData name="kchristou@gsco.gov.gr" userId="S::urn:spo:guest#kchristou@gsco.gov.gr::" providerId="AD" clId="Web-{AD1E292F-7BDB-B96D-0CE6-019E0AC377A3}" dt="2025-07-21T14:21:27.412" v="3126" actId="1076"/>
          <ac:spMkLst>
            <pc:docMk/>
            <pc:sldMk cId="0" sldId="1321"/>
            <ac:spMk id="32" creationId="{9C2ADF62-2C29-53F9-C6C5-056D56BB2A7F}"/>
          </ac:spMkLst>
        </pc:spChg>
        <pc:cxnChg chg="add">
          <ac:chgData name="kchristou@gsco.gov.gr" userId="S::urn:spo:guest#kchristou@gsco.gov.gr::" providerId="AD" clId="Web-{AD1E292F-7BDB-B96D-0CE6-019E0AC377A3}" dt="2025-07-21T14:10:11.417" v="2633"/>
          <ac:cxnSpMkLst>
            <pc:docMk/>
            <pc:sldMk cId="0" sldId="1321"/>
            <ac:cxnSpMk id="10" creationId="{80EF63AD-E907-9BB3-1EDF-C7D1624AABE6}"/>
          </ac:cxnSpMkLst>
        </pc:cxnChg>
      </pc:sldChg>
      <pc:sldChg chg="del">
        <pc:chgData name="kchristou@gsco.gov.gr" userId="S::urn:spo:guest#kchristou@gsco.gov.gr::" providerId="AD" clId="Web-{AD1E292F-7BDB-B96D-0CE6-019E0AC377A3}" dt="2025-07-21T14:17:09.808" v="2949"/>
        <pc:sldMkLst>
          <pc:docMk/>
          <pc:sldMk cId="838220975" sldId="1323"/>
        </pc:sldMkLst>
      </pc:sldChg>
      <pc:sldChg chg="del">
        <pc:chgData name="kchristou@gsco.gov.gr" userId="S::urn:spo:guest#kchristou@gsco.gov.gr::" providerId="AD" clId="Web-{AD1E292F-7BDB-B96D-0CE6-019E0AC377A3}" dt="2025-07-21T14:21:31.709" v="3127"/>
        <pc:sldMkLst>
          <pc:docMk/>
          <pc:sldMk cId="3668906951" sldId="1324"/>
        </pc:sldMkLst>
      </pc:sldChg>
      <pc:sldChg chg="addSp delSp modSp">
        <pc:chgData name="kchristou@gsco.gov.gr" userId="S::urn:spo:guest#kchristou@gsco.gov.gr::" providerId="AD" clId="Web-{AD1E292F-7BDB-B96D-0CE6-019E0AC377A3}" dt="2025-07-21T14:32:08.547" v="3514" actId="20577"/>
        <pc:sldMkLst>
          <pc:docMk/>
          <pc:sldMk cId="2662644044" sldId="1439"/>
        </pc:sldMkLst>
      </pc:sldChg>
      <pc:sldChg chg="del">
        <pc:chgData name="kchristou@gsco.gov.gr" userId="S::urn:spo:guest#kchristou@gsco.gov.gr::" providerId="AD" clId="Web-{AD1E292F-7BDB-B96D-0CE6-019E0AC377A3}" dt="2025-07-21T13:35:02.490" v="1840"/>
        <pc:sldMkLst>
          <pc:docMk/>
          <pc:sldMk cId="362318605" sldId="1466"/>
        </pc:sldMkLst>
      </pc:sldChg>
      <pc:sldChg chg="addSp delSp modSp">
        <pc:chgData name="kchristou@gsco.gov.gr" userId="S::urn:spo:guest#kchristou@gsco.gov.gr::" providerId="AD" clId="Web-{AD1E292F-7BDB-B96D-0CE6-019E0AC377A3}" dt="2025-07-21T13:45:56.078" v="2126" actId="1076"/>
        <pc:sldMkLst>
          <pc:docMk/>
          <pc:sldMk cId="0" sldId="1468"/>
        </pc:sldMkLst>
        <pc:spChg chg="add mod">
          <ac:chgData name="kchristou@gsco.gov.gr" userId="S::urn:spo:guest#kchristou@gsco.gov.gr::" providerId="AD" clId="Web-{AD1E292F-7BDB-B96D-0CE6-019E0AC377A3}" dt="2025-07-21T13:41:41.756" v="1866" actId="20577"/>
          <ac:spMkLst>
            <pc:docMk/>
            <pc:sldMk cId="0" sldId="1468"/>
            <ac:spMk id="7" creationId="{42D900E0-5A42-1464-131C-4705BC1B352D}"/>
          </ac:spMkLst>
        </pc:spChg>
        <pc:spChg chg="add mod">
          <ac:chgData name="kchristou@gsco.gov.gr" userId="S::urn:spo:guest#kchristou@gsco.gov.gr::" providerId="AD" clId="Web-{AD1E292F-7BDB-B96D-0CE6-019E0AC377A3}" dt="2025-07-21T13:45:56.032" v="2123" actId="1076"/>
          <ac:spMkLst>
            <pc:docMk/>
            <pc:sldMk cId="0" sldId="1468"/>
            <ac:spMk id="11" creationId="{3CEBBD6B-5994-26D3-8431-8EC598A1A63E}"/>
          </ac:spMkLst>
        </pc:spChg>
        <pc:spChg chg="add mod">
          <ac:chgData name="kchristou@gsco.gov.gr" userId="S::urn:spo:guest#kchristou@gsco.gov.gr::" providerId="AD" clId="Web-{AD1E292F-7BDB-B96D-0CE6-019E0AC377A3}" dt="2025-07-21T13:45:56.032" v="2124" actId="1076"/>
          <ac:spMkLst>
            <pc:docMk/>
            <pc:sldMk cId="0" sldId="1468"/>
            <ac:spMk id="13" creationId="{56AC5970-CEC5-504B-C824-73718DA2C925}"/>
          </ac:spMkLst>
        </pc:spChg>
        <pc:spChg chg="add mod">
          <ac:chgData name="kchristou@gsco.gov.gr" userId="S::urn:spo:guest#kchristou@gsco.gov.gr::" providerId="AD" clId="Web-{AD1E292F-7BDB-B96D-0CE6-019E0AC377A3}" dt="2025-07-21T13:45:56.063" v="2125" actId="1076"/>
          <ac:spMkLst>
            <pc:docMk/>
            <pc:sldMk cId="0" sldId="1468"/>
            <ac:spMk id="15" creationId="{67F6C22B-9095-D61A-B9A9-21811407917C}"/>
          </ac:spMkLst>
        </pc:spChg>
        <pc:spChg chg="add mod">
          <ac:chgData name="kchristou@gsco.gov.gr" userId="S::urn:spo:guest#kchristou@gsco.gov.gr::" providerId="AD" clId="Web-{AD1E292F-7BDB-B96D-0CE6-019E0AC377A3}" dt="2025-07-21T13:45:56.078" v="2126" actId="1076"/>
          <ac:spMkLst>
            <pc:docMk/>
            <pc:sldMk cId="0" sldId="1468"/>
            <ac:spMk id="17" creationId="{BA1EACE6-BB19-CE5C-3D77-9E423585D9E4}"/>
          </ac:spMkLst>
        </pc:spChg>
        <pc:cxnChg chg="add">
          <ac:chgData name="kchristou@gsco.gov.gr" userId="S::urn:spo:guest#kchristou@gsco.gov.gr::" providerId="AD" clId="Web-{AD1E292F-7BDB-B96D-0CE6-019E0AC377A3}" dt="2025-07-21T13:35:58.117" v="1854"/>
          <ac:cxnSpMkLst>
            <pc:docMk/>
            <pc:sldMk cId="0" sldId="1468"/>
            <ac:cxnSpMk id="9" creationId="{5ECA43F3-3FAD-36CA-E98A-E323079492A9}"/>
          </ac:cxnSpMkLst>
        </pc:cxnChg>
      </pc:sldChg>
      <pc:sldChg chg="add del">
        <pc:chgData name="kchristou@gsco.gov.gr" userId="S::urn:spo:guest#kchristou@gsco.gov.gr::" providerId="AD" clId="Web-{AD1E292F-7BDB-B96D-0CE6-019E0AC377A3}" dt="2025-07-21T12:37:28.604" v="288"/>
        <pc:sldMkLst>
          <pc:docMk/>
          <pc:sldMk cId="1957603706" sldId="1473"/>
        </pc:sldMkLst>
      </pc:sldChg>
      <pc:sldChg chg="del">
        <pc:chgData name="kchristou@gsco.gov.gr" userId="S::urn:spo:guest#kchristou@gsco.gov.gr::" providerId="AD" clId="Web-{AD1E292F-7BDB-B96D-0CE6-019E0AC377A3}" dt="2025-07-21T12:37:29.620" v="289"/>
        <pc:sldMkLst>
          <pc:docMk/>
          <pc:sldMk cId="1371070460" sldId="1530"/>
        </pc:sldMkLst>
      </pc:sldChg>
      <pc:sldChg chg="del">
        <pc:chgData name="kchristou@gsco.gov.gr" userId="S::urn:spo:guest#kchristou@gsco.gov.gr::" providerId="AD" clId="Web-{AD1E292F-7BDB-B96D-0CE6-019E0AC377A3}" dt="2025-07-21T12:44:37.168" v="392"/>
        <pc:sldMkLst>
          <pc:docMk/>
          <pc:sldMk cId="2555878419" sldId="1531"/>
        </pc:sldMkLst>
      </pc:sldChg>
      <pc:sldChg chg="del">
        <pc:chgData name="kchristou@gsco.gov.gr" userId="S::urn:spo:guest#kchristou@gsco.gov.gr::" providerId="AD" clId="Web-{AD1E292F-7BDB-B96D-0CE6-019E0AC377A3}" dt="2025-07-21T14:33:20.628" v="3609"/>
        <pc:sldMkLst>
          <pc:docMk/>
          <pc:sldMk cId="3529971611" sldId="1569"/>
        </pc:sldMkLst>
      </pc:sldChg>
      <pc:sldChg chg="del ord">
        <pc:chgData name="kchristou@gsco.gov.gr" userId="S::urn:spo:guest#kchristou@gsco.gov.gr::" providerId="AD" clId="Web-{AD1E292F-7BDB-B96D-0CE6-019E0AC377A3}" dt="2025-07-21T14:35:25.851" v="3798"/>
        <pc:sldMkLst>
          <pc:docMk/>
          <pc:sldMk cId="3569729272" sldId="1578"/>
        </pc:sldMkLst>
      </pc:sldChg>
      <pc:sldChg chg="del">
        <pc:chgData name="kchristou@gsco.gov.gr" userId="S::urn:spo:guest#kchristou@gsco.gov.gr::" providerId="AD" clId="Web-{AD1E292F-7BDB-B96D-0CE6-019E0AC377A3}" dt="2025-07-21T12:47:49.191" v="415"/>
        <pc:sldMkLst>
          <pc:docMk/>
          <pc:sldMk cId="2439257590" sldId="1638"/>
        </pc:sldMkLst>
      </pc:sldChg>
      <pc:sldChg chg="del">
        <pc:chgData name="kchristou@gsco.gov.gr" userId="S::urn:spo:guest#kchristou@gsco.gov.gr::" providerId="AD" clId="Web-{AD1E292F-7BDB-B96D-0CE6-019E0AC377A3}" dt="2025-07-21T13:01:11.410" v="618"/>
        <pc:sldMkLst>
          <pc:docMk/>
          <pc:sldMk cId="3435557046" sldId="1639"/>
        </pc:sldMkLst>
      </pc:sldChg>
      <pc:sldChg chg="addSp delSp modSp">
        <pc:chgData name="kchristou@gsco.gov.gr" userId="S::urn:spo:guest#kchristou@gsco.gov.gr::" providerId="AD" clId="Web-{AD1E292F-7BDB-B96D-0CE6-019E0AC377A3}" dt="2025-07-21T14:09:49.010" v="2628" actId="1076"/>
        <pc:sldMkLst>
          <pc:docMk/>
          <pc:sldMk cId="3463634899" sldId="1703"/>
        </pc:sldMkLst>
        <pc:spChg chg="add mod">
          <ac:chgData name="kchristou@gsco.gov.gr" userId="S::urn:spo:guest#kchristou@gsco.gov.gr::" providerId="AD" clId="Web-{AD1E292F-7BDB-B96D-0CE6-019E0AC377A3}" dt="2025-07-21T13:49:07.555" v="2182" actId="20577"/>
          <ac:spMkLst>
            <pc:docMk/>
            <pc:sldMk cId="3463634899" sldId="1703"/>
            <ac:spMk id="7" creationId="{FFD9B3FF-8EBD-16B4-056A-3F13C0471384}"/>
          </ac:spMkLst>
        </pc:spChg>
        <pc:spChg chg="add mod">
          <ac:chgData name="kchristou@gsco.gov.gr" userId="S::urn:spo:guest#kchristou@gsco.gov.gr::" providerId="AD" clId="Web-{AD1E292F-7BDB-B96D-0CE6-019E0AC377A3}" dt="2025-07-21T14:02:00.741" v="2415" actId="14100"/>
          <ac:spMkLst>
            <pc:docMk/>
            <pc:sldMk cId="3463634899" sldId="1703"/>
            <ac:spMk id="11" creationId="{200DB468-9AD7-307B-48D2-E84065ED9B7F}"/>
          </ac:spMkLst>
        </pc:spChg>
        <pc:spChg chg="add mod">
          <ac:chgData name="kchristou@gsco.gov.gr" userId="S::urn:spo:guest#kchristou@gsco.gov.gr::" providerId="AD" clId="Web-{AD1E292F-7BDB-B96D-0CE6-019E0AC377A3}" dt="2025-07-21T14:00:57.755" v="2406" actId="20577"/>
          <ac:spMkLst>
            <pc:docMk/>
            <pc:sldMk cId="3463634899" sldId="1703"/>
            <ac:spMk id="13" creationId="{FC43719C-3A7E-116D-CC57-776F07595E32}"/>
          </ac:spMkLst>
        </pc:spChg>
        <pc:spChg chg="add mod">
          <ac:chgData name="kchristou@gsco.gov.gr" userId="S::urn:spo:guest#kchristou@gsco.gov.gr::" providerId="AD" clId="Web-{AD1E292F-7BDB-B96D-0CE6-019E0AC377A3}" dt="2025-07-21T14:01:40.475" v="2414" actId="14100"/>
          <ac:spMkLst>
            <pc:docMk/>
            <pc:sldMk cId="3463634899" sldId="1703"/>
            <ac:spMk id="15" creationId="{3BE62FD4-6A10-2F45-5A04-2847ED1761DF}"/>
          </ac:spMkLst>
        </pc:spChg>
        <pc:spChg chg="add mod">
          <ac:chgData name="kchristou@gsco.gov.gr" userId="S::urn:spo:guest#kchristou@gsco.gov.gr::" providerId="AD" clId="Web-{AD1E292F-7BDB-B96D-0CE6-019E0AC377A3}" dt="2025-07-21T14:01:31.678" v="2412" actId="1076"/>
          <ac:spMkLst>
            <pc:docMk/>
            <pc:sldMk cId="3463634899" sldId="1703"/>
            <ac:spMk id="17" creationId="{10D46CA2-4AD8-E9CB-BCF8-813205E52C71}"/>
          </ac:spMkLst>
        </pc:spChg>
        <pc:spChg chg="add mod">
          <ac:chgData name="kchristou@gsco.gov.gr" userId="S::urn:spo:guest#kchristou@gsco.gov.gr::" providerId="AD" clId="Web-{AD1E292F-7BDB-B96D-0CE6-019E0AC377A3}" dt="2025-07-21T14:02:18.492" v="2426" actId="14100"/>
          <ac:spMkLst>
            <pc:docMk/>
            <pc:sldMk cId="3463634899" sldId="1703"/>
            <ac:spMk id="18" creationId="{C1F424DE-3F95-8701-F974-B7A44E845B6C}"/>
          </ac:spMkLst>
        </pc:spChg>
        <pc:spChg chg="add mod">
          <ac:chgData name="kchristou@gsco.gov.gr" userId="S::urn:spo:guest#kchristou@gsco.gov.gr::" providerId="AD" clId="Web-{AD1E292F-7BDB-B96D-0CE6-019E0AC377A3}" dt="2025-07-21T14:09:40.244" v="2627" actId="14100"/>
          <ac:spMkLst>
            <pc:docMk/>
            <pc:sldMk cId="3463634899" sldId="1703"/>
            <ac:spMk id="19" creationId="{08D3D342-1A9D-3AB2-2F08-049FA6AFC1E2}"/>
          </ac:spMkLst>
        </pc:spChg>
        <pc:spChg chg="add mod">
          <ac:chgData name="kchristou@gsco.gov.gr" userId="S::urn:spo:guest#kchristou@gsco.gov.gr::" providerId="AD" clId="Web-{AD1E292F-7BDB-B96D-0CE6-019E0AC377A3}" dt="2025-07-21T14:08:23.475" v="2607" actId="20577"/>
          <ac:spMkLst>
            <pc:docMk/>
            <pc:sldMk cId="3463634899" sldId="1703"/>
            <ac:spMk id="22" creationId="{083D2D35-BB8F-B4B4-4B0D-C71CA088EC0F}"/>
          </ac:spMkLst>
        </pc:spChg>
        <pc:spChg chg="add mod">
          <ac:chgData name="kchristou@gsco.gov.gr" userId="S::urn:spo:guest#kchristou@gsco.gov.gr::" providerId="AD" clId="Web-{AD1E292F-7BDB-B96D-0CE6-019E0AC377A3}" dt="2025-07-21T14:09:03.180" v="2617" actId="20577"/>
          <ac:spMkLst>
            <pc:docMk/>
            <pc:sldMk cId="3463634899" sldId="1703"/>
            <ac:spMk id="23" creationId="{6106CDB5-1DF3-31E5-0ADE-8CE12C35E6B3}"/>
          </ac:spMkLst>
        </pc:spChg>
        <pc:spChg chg="add mod">
          <ac:chgData name="kchristou@gsco.gov.gr" userId="S::urn:spo:guest#kchristou@gsco.gov.gr::" providerId="AD" clId="Web-{AD1E292F-7BDB-B96D-0CE6-019E0AC377A3}" dt="2025-07-21T14:09:49.010" v="2628" actId="1076"/>
          <ac:spMkLst>
            <pc:docMk/>
            <pc:sldMk cId="3463634899" sldId="1703"/>
            <ac:spMk id="24" creationId="{5E5971E1-B485-B2E9-0396-74DD0423D881}"/>
          </ac:spMkLst>
        </pc:spChg>
        <pc:spChg chg="add mod">
          <ac:chgData name="kchristou@gsco.gov.gr" userId="S::urn:spo:guest#kchristou@gsco.gov.gr::" providerId="AD" clId="Web-{AD1E292F-7BDB-B96D-0CE6-019E0AC377A3}" dt="2025-07-21T14:09:29.056" v="2623" actId="1076"/>
          <ac:spMkLst>
            <pc:docMk/>
            <pc:sldMk cId="3463634899" sldId="1703"/>
            <ac:spMk id="25" creationId="{7531C973-372F-5071-ECD4-5E10EB7D75AE}"/>
          </ac:spMkLst>
        </pc:spChg>
        <pc:cxnChg chg="add mod">
          <ac:chgData name="kchristou@gsco.gov.gr" userId="S::urn:spo:guest#kchristou@gsco.gov.gr::" providerId="AD" clId="Web-{AD1E292F-7BDB-B96D-0CE6-019E0AC377A3}" dt="2025-07-21T13:48:34.225" v="2135" actId="1076"/>
          <ac:cxnSpMkLst>
            <pc:docMk/>
            <pc:sldMk cId="3463634899" sldId="1703"/>
            <ac:cxnSpMk id="9" creationId="{8B3AF0DF-04BF-5D85-4A1D-E40D68BC5A41}"/>
          </ac:cxnSpMkLst>
        </pc:cxnChg>
      </pc:sldChg>
      <pc:sldChg chg="addSp delSp modSp">
        <pc:chgData name="kchristou@gsco.gov.gr" userId="S::urn:spo:guest#kchristou@gsco.gov.gr::" providerId="AD" clId="Web-{AD1E292F-7BDB-B96D-0CE6-019E0AC377A3}" dt="2025-07-21T13:22:25.351" v="1113" actId="1076"/>
        <pc:sldMkLst>
          <pc:docMk/>
          <pc:sldMk cId="194678823" sldId="1729"/>
        </pc:sldMkLst>
        <pc:spChg chg="add mod">
          <ac:chgData name="kchristou@gsco.gov.gr" userId="S::urn:spo:guest#kchristou@gsco.gov.gr::" providerId="AD" clId="Web-{AD1E292F-7BDB-B96D-0CE6-019E0AC377A3}" dt="2025-07-21T13:19:21.953" v="1054" actId="14100"/>
          <ac:spMkLst>
            <pc:docMk/>
            <pc:sldMk cId="194678823" sldId="1729"/>
            <ac:spMk id="5" creationId="{139557F1-E504-0CBD-25E8-DA06C9F15626}"/>
          </ac:spMkLst>
        </pc:spChg>
        <pc:spChg chg="add mod">
          <ac:chgData name="kchristou@gsco.gov.gr" userId="S::urn:spo:guest#kchristou@gsco.gov.gr::" providerId="AD" clId="Web-{AD1E292F-7BDB-B96D-0CE6-019E0AC377A3}" dt="2025-07-21T13:22:25.351" v="1113" actId="1076"/>
          <ac:spMkLst>
            <pc:docMk/>
            <pc:sldMk cId="194678823" sldId="1729"/>
            <ac:spMk id="11" creationId="{79034380-B2C5-ACB3-2D94-D712DD661020}"/>
          </ac:spMkLst>
        </pc:spChg>
        <pc:spChg chg="add mod">
          <ac:chgData name="kchristou@gsco.gov.gr" userId="S::urn:spo:guest#kchristou@gsco.gov.gr::" providerId="AD" clId="Web-{AD1E292F-7BDB-B96D-0CE6-019E0AC377A3}" dt="2025-07-21T13:22:20.898" v="1112" actId="14100"/>
          <ac:spMkLst>
            <pc:docMk/>
            <pc:sldMk cId="194678823" sldId="1729"/>
            <ac:spMk id="13" creationId="{E56A05DF-0D2B-5B96-A306-01BF32E888FE}"/>
          </ac:spMkLst>
        </pc:spChg>
        <pc:spChg chg="add mod">
          <ac:chgData name="kchristou@gsco.gov.gr" userId="S::urn:spo:guest#kchristou@gsco.gov.gr::" providerId="AD" clId="Web-{AD1E292F-7BDB-B96D-0CE6-019E0AC377A3}" dt="2025-07-21T13:22:14.569" v="1111" actId="1076"/>
          <ac:spMkLst>
            <pc:docMk/>
            <pc:sldMk cId="194678823" sldId="1729"/>
            <ac:spMk id="17" creationId="{2CB7A871-C1E0-0867-0CFD-B6F601FC054B}"/>
          </ac:spMkLst>
        </pc:spChg>
        <pc:cxnChg chg="add">
          <ac:chgData name="kchristou@gsco.gov.gr" userId="S::urn:spo:guest#kchristou@gsco.gov.gr::" providerId="AD" clId="Web-{AD1E292F-7BDB-B96D-0CE6-019E0AC377A3}" dt="2025-07-21T13:18:33.342" v="998"/>
          <ac:cxnSpMkLst>
            <pc:docMk/>
            <pc:sldMk cId="194678823" sldId="1729"/>
            <ac:cxnSpMk id="7" creationId="{F64242CE-5358-44CC-4292-7FF6BF3215C8}"/>
          </ac:cxnSpMkLst>
        </pc:cxnChg>
      </pc:sldChg>
      <pc:sldChg chg="modSp">
        <pc:chgData name="kchristou@gsco.gov.gr" userId="S::urn:spo:guest#kchristou@gsco.gov.gr::" providerId="AD" clId="Web-{AD1E292F-7BDB-B96D-0CE6-019E0AC377A3}" dt="2025-07-21T13:01:49.178" v="622" actId="1076"/>
        <pc:sldMkLst>
          <pc:docMk/>
          <pc:sldMk cId="42924211" sldId="1749"/>
        </pc:sldMkLst>
        <pc:spChg chg="mod">
          <ac:chgData name="kchristou@gsco.gov.gr" userId="S::urn:spo:guest#kchristou@gsco.gov.gr::" providerId="AD" clId="Web-{AD1E292F-7BDB-B96D-0CE6-019E0AC377A3}" dt="2025-07-21T13:01:43.724" v="620" actId="1076"/>
          <ac:spMkLst>
            <pc:docMk/>
            <pc:sldMk cId="42924211" sldId="1749"/>
            <ac:spMk id="4" creationId="{32D971F0-EEA3-A05E-BDA9-2039134DC6E9}"/>
          </ac:spMkLst>
        </pc:spChg>
        <pc:spChg chg="mod">
          <ac:chgData name="kchristou@gsco.gov.gr" userId="S::urn:spo:guest#kchristou@gsco.gov.gr::" providerId="AD" clId="Web-{AD1E292F-7BDB-B96D-0CE6-019E0AC377A3}" dt="2025-07-21T13:01:49.178" v="622" actId="1076"/>
          <ac:spMkLst>
            <pc:docMk/>
            <pc:sldMk cId="42924211" sldId="1749"/>
            <ac:spMk id="8" creationId="{EA112854-6DCC-4473-3CF3-EE3C76D326A6}"/>
          </ac:spMkLst>
        </pc:spChg>
        <pc:spChg chg="mod">
          <ac:chgData name="kchristou@gsco.gov.gr" userId="S::urn:spo:guest#kchristou@gsco.gov.gr::" providerId="AD" clId="Web-{AD1E292F-7BDB-B96D-0CE6-019E0AC377A3}" dt="2025-07-21T13:01:46.287" v="621" actId="1076"/>
          <ac:spMkLst>
            <pc:docMk/>
            <pc:sldMk cId="42924211" sldId="1749"/>
            <ac:spMk id="12" creationId="{C66C4013-CF33-7A6F-BADA-90882B3F188C}"/>
          </ac:spMkLst>
        </pc:spChg>
      </pc:sldChg>
      <pc:sldChg chg="addSp delSp modSp">
        <pc:chgData name="kchristou@gsco.gov.gr" userId="S::urn:spo:guest#kchristou@gsco.gov.gr::" providerId="AD" clId="Web-{AD1E292F-7BDB-B96D-0CE6-019E0AC377A3}" dt="2025-07-21T12:27:07.721" v="181" actId="14100"/>
        <pc:sldMkLst>
          <pc:docMk/>
          <pc:sldMk cId="3873979063" sldId="1750"/>
        </pc:sldMkLst>
        <pc:spChg chg="mod">
          <ac:chgData name="kchristou@gsco.gov.gr" userId="S::urn:spo:guest#kchristou@gsco.gov.gr::" providerId="AD" clId="Web-{AD1E292F-7BDB-B96D-0CE6-019E0AC377A3}" dt="2025-07-21T12:25:21.638" v="161" actId="1076"/>
          <ac:spMkLst>
            <pc:docMk/>
            <pc:sldMk cId="3873979063" sldId="1750"/>
            <ac:spMk id="2" creationId="{13BBD728-068B-5BD3-34B7-F868425281D8}"/>
          </ac:spMkLst>
        </pc:spChg>
        <pc:spChg chg="mod">
          <ac:chgData name="kchristou@gsco.gov.gr" userId="S::urn:spo:guest#kchristou@gsco.gov.gr::" providerId="AD" clId="Web-{AD1E292F-7BDB-B96D-0CE6-019E0AC377A3}" dt="2025-07-21T12:25:14.857" v="159" actId="1076"/>
          <ac:spMkLst>
            <pc:docMk/>
            <pc:sldMk cId="3873979063" sldId="1750"/>
            <ac:spMk id="4" creationId="{EE10675E-AA1B-1281-2E0D-4EED205DD3DA}"/>
          </ac:spMkLst>
        </pc:spChg>
        <pc:spChg chg="mod">
          <ac:chgData name="kchristou@gsco.gov.gr" userId="S::urn:spo:guest#kchristou@gsco.gov.gr::" providerId="AD" clId="Web-{AD1E292F-7BDB-B96D-0CE6-019E0AC377A3}" dt="2025-07-21T12:25:04.716" v="157" actId="14100"/>
          <ac:spMkLst>
            <pc:docMk/>
            <pc:sldMk cId="3873979063" sldId="1750"/>
            <ac:spMk id="5" creationId="{16DD95D7-BBE4-ADFC-8D77-07E65F2BD674}"/>
          </ac:spMkLst>
        </pc:spChg>
        <pc:spChg chg="mod">
          <ac:chgData name="kchristou@gsco.gov.gr" userId="S::urn:spo:guest#kchristou@gsco.gov.gr::" providerId="AD" clId="Web-{AD1E292F-7BDB-B96D-0CE6-019E0AC377A3}" dt="2025-07-21T12:24:50.700" v="153" actId="1076"/>
          <ac:spMkLst>
            <pc:docMk/>
            <pc:sldMk cId="3873979063" sldId="1750"/>
            <ac:spMk id="8" creationId="{C6176E13-822F-0367-5211-442B48F7A54E}"/>
          </ac:spMkLst>
        </pc:spChg>
        <pc:spChg chg="mod">
          <ac:chgData name="kchristou@gsco.gov.gr" userId="S::urn:spo:guest#kchristou@gsco.gov.gr::" providerId="AD" clId="Web-{AD1E292F-7BDB-B96D-0CE6-019E0AC377A3}" dt="2025-07-21T12:25:18.545" v="160" actId="1076"/>
          <ac:spMkLst>
            <pc:docMk/>
            <pc:sldMk cId="3873979063" sldId="1750"/>
            <ac:spMk id="9" creationId="{F32AC677-A693-1CB3-21C6-F523F8F6F068}"/>
          </ac:spMkLst>
        </pc:spChg>
        <pc:spChg chg="add mod">
          <ac:chgData name="kchristou@gsco.gov.gr" userId="S::urn:spo:guest#kchristou@gsco.gov.gr::" providerId="AD" clId="Web-{AD1E292F-7BDB-B96D-0CE6-019E0AC377A3}" dt="2025-07-21T12:23:47.338" v="141" actId="1076"/>
          <ac:spMkLst>
            <pc:docMk/>
            <pc:sldMk cId="3873979063" sldId="1750"/>
            <ac:spMk id="11" creationId="{E9A6594F-63F3-840E-832E-360789A05A28}"/>
          </ac:spMkLst>
        </pc:spChg>
        <pc:spChg chg="mod">
          <ac:chgData name="kchristou@gsco.gov.gr" userId="S::urn:spo:guest#kchristou@gsco.gov.gr::" providerId="AD" clId="Web-{AD1E292F-7BDB-B96D-0CE6-019E0AC377A3}" dt="2025-07-21T12:24:32.340" v="149" actId="1076"/>
          <ac:spMkLst>
            <pc:docMk/>
            <pc:sldMk cId="3873979063" sldId="1750"/>
            <ac:spMk id="12" creationId="{4A6631AC-FC30-B3B3-A206-32B815408BDF}"/>
          </ac:spMkLst>
        </pc:spChg>
        <pc:spChg chg="add mod">
          <ac:chgData name="kchristou@gsco.gov.gr" userId="S::urn:spo:guest#kchristou@gsco.gov.gr::" providerId="AD" clId="Web-{AD1E292F-7BDB-B96D-0CE6-019E0AC377A3}" dt="2025-07-21T12:26:18.516" v="172" actId="14100"/>
          <ac:spMkLst>
            <pc:docMk/>
            <pc:sldMk cId="3873979063" sldId="1750"/>
            <ac:spMk id="13" creationId="{BAD17C09-EEA4-5D15-031D-A031F3D0F5A9}"/>
          </ac:spMkLst>
        </pc:spChg>
        <pc:spChg chg="mod">
          <ac:chgData name="kchristou@gsco.gov.gr" userId="S::urn:spo:guest#kchristou@gsco.gov.gr::" providerId="AD" clId="Web-{AD1E292F-7BDB-B96D-0CE6-019E0AC377A3}" dt="2025-07-21T12:24:16.777" v="146" actId="1076"/>
          <ac:spMkLst>
            <pc:docMk/>
            <pc:sldMk cId="3873979063" sldId="1750"/>
            <ac:spMk id="14" creationId="{395D8F44-833D-24C3-3C68-737529D563F5}"/>
          </ac:spMkLst>
        </pc:spChg>
        <pc:spChg chg="add mod">
          <ac:chgData name="kchristou@gsco.gov.gr" userId="S::urn:spo:guest#kchristou@gsco.gov.gr::" providerId="AD" clId="Web-{AD1E292F-7BDB-B96D-0CE6-019E0AC377A3}" dt="2025-07-21T12:15:46.053" v="39" actId="1076"/>
          <ac:spMkLst>
            <pc:docMk/>
            <pc:sldMk cId="3873979063" sldId="1750"/>
            <ac:spMk id="15" creationId="{C7EAD167-006A-759D-9E80-06929F901B4E}"/>
          </ac:spMkLst>
        </pc:spChg>
        <pc:spChg chg="mod">
          <ac:chgData name="kchristou@gsco.gov.gr" userId="S::urn:spo:guest#kchristou@gsco.gov.gr::" providerId="AD" clId="Web-{AD1E292F-7BDB-B96D-0CE6-019E0AC377A3}" dt="2025-07-21T12:24:56.184" v="155" actId="1076"/>
          <ac:spMkLst>
            <pc:docMk/>
            <pc:sldMk cId="3873979063" sldId="1750"/>
            <ac:spMk id="16" creationId="{07E8AD13-3A8D-0C78-8182-0E2A7BF49C49}"/>
          </ac:spMkLst>
        </pc:spChg>
        <pc:spChg chg="mod">
          <ac:chgData name="kchristou@gsco.gov.gr" userId="S::urn:spo:guest#kchristou@gsco.gov.gr::" providerId="AD" clId="Web-{AD1E292F-7BDB-B96D-0CE6-019E0AC377A3}" dt="2025-07-21T12:24:07.354" v="144" actId="1076"/>
          <ac:spMkLst>
            <pc:docMk/>
            <pc:sldMk cId="3873979063" sldId="1750"/>
            <ac:spMk id="17" creationId="{07B4CA66-DF36-8499-4BFD-D8DBBA75589D}"/>
          </ac:spMkLst>
        </pc:spChg>
        <pc:spChg chg="add mod">
          <ac:chgData name="kchristou@gsco.gov.gr" userId="S::urn:spo:guest#kchristou@gsco.gov.gr::" providerId="AD" clId="Web-{AD1E292F-7BDB-B96D-0CE6-019E0AC377A3}" dt="2025-07-21T12:15:46.069" v="40" actId="1076"/>
          <ac:spMkLst>
            <pc:docMk/>
            <pc:sldMk cId="3873979063" sldId="1750"/>
            <ac:spMk id="18" creationId="{D4076C70-7430-C668-0997-E6D490E34BAB}"/>
          </ac:spMkLst>
        </pc:spChg>
        <pc:spChg chg="mod">
          <ac:chgData name="kchristou@gsco.gov.gr" userId="S::urn:spo:guest#kchristou@gsco.gov.gr::" providerId="AD" clId="Web-{AD1E292F-7BDB-B96D-0CE6-019E0AC377A3}" dt="2025-07-21T12:24:53.950" v="154" actId="1076"/>
          <ac:spMkLst>
            <pc:docMk/>
            <pc:sldMk cId="3873979063" sldId="1750"/>
            <ac:spMk id="19" creationId="{8B880574-4268-4977-FBA4-931F1EDDCCF7}"/>
          </ac:spMkLst>
        </pc:spChg>
        <pc:spChg chg="add mod">
          <ac:chgData name="kchristou@gsco.gov.gr" userId="S::urn:spo:guest#kchristou@gsco.gov.gr::" providerId="AD" clId="Web-{AD1E292F-7BDB-B96D-0CE6-019E0AC377A3}" dt="2025-07-21T12:27:07.721" v="181" actId="14100"/>
          <ac:spMkLst>
            <pc:docMk/>
            <pc:sldMk cId="3873979063" sldId="1750"/>
            <ac:spMk id="20" creationId="{6FAA3649-22EB-DAD8-294D-7917F3DC54D2}"/>
          </ac:spMkLst>
        </pc:spChg>
        <pc:spChg chg="add mod">
          <ac:chgData name="kchristou@gsco.gov.gr" userId="S::urn:spo:guest#kchristou@gsco.gov.gr::" providerId="AD" clId="Web-{AD1E292F-7BDB-B96D-0CE6-019E0AC377A3}" dt="2025-07-21T12:27:05.205" v="180" actId="1076"/>
          <ac:spMkLst>
            <pc:docMk/>
            <pc:sldMk cId="3873979063" sldId="1750"/>
            <ac:spMk id="21" creationId="{22B1F794-DEDE-9215-ADD6-11555EA20AC2}"/>
          </ac:spMkLst>
        </pc:spChg>
        <pc:spChg chg="add mod">
          <ac:chgData name="kchristou@gsco.gov.gr" userId="S::urn:spo:guest#kchristou@gsco.gov.gr::" providerId="AD" clId="Web-{AD1E292F-7BDB-B96D-0CE6-019E0AC377A3}" dt="2025-07-21T12:25:58.155" v="169" actId="1076"/>
          <ac:spMkLst>
            <pc:docMk/>
            <pc:sldMk cId="3873979063" sldId="1750"/>
            <ac:spMk id="22" creationId="{0F835197-CF75-4A4C-1D84-ABD34323FF17}"/>
          </ac:spMkLst>
        </pc:spChg>
        <pc:spChg chg="add mod">
          <ac:chgData name="kchristou@gsco.gov.gr" userId="S::urn:spo:guest#kchristou@gsco.gov.gr::" providerId="AD" clId="Web-{AD1E292F-7BDB-B96D-0CE6-019E0AC377A3}" dt="2025-07-21T12:22:03.459" v="133" actId="1076"/>
          <ac:spMkLst>
            <pc:docMk/>
            <pc:sldMk cId="3873979063" sldId="1750"/>
            <ac:spMk id="23" creationId="{F65C9666-A6E8-80A0-4AC3-758FBB895FF5}"/>
          </ac:spMkLst>
        </pc:spChg>
        <pc:spChg chg="add mod">
          <ac:chgData name="kchristou@gsco.gov.gr" userId="S::urn:spo:guest#kchristou@gsco.gov.gr::" providerId="AD" clId="Web-{AD1E292F-7BDB-B96D-0CE6-019E0AC377A3}" dt="2025-07-21T12:25:35.405" v="164" actId="1076"/>
          <ac:spMkLst>
            <pc:docMk/>
            <pc:sldMk cId="3873979063" sldId="1750"/>
            <ac:spMk id="24" creationId="{12CABFF0-2E30-DD5A-258A-0ADA3F72B54F}"/>
          </ac:spMkLst>
        </pc:spChg>
        <pc:spChg chg="add mod">
          <ac:chgData name="kchristou@gsco.gov.gr" userId="S::urn:spo:guest#kchristou@gsco.gov.gr::" providerId="AD" clId="Web-{AD1E292F-7BDB-B96D-0CE6-019E0AC377A3}" dt="2025-07-21T12:26:30.235" v="175" actId="14100"/>
          <ac:spMkLst>
            <pc:docMk/>
            <pc:sldMk cId="3873979063" sldId="1750"/>
            <ac:spMk id="25" creationId="{869BA50C-38A0-87ED-6361-CF69ABEB0922}"/>
          </ac:spMkLst>
        </pc:spChg>
        <pc:spChg chg="mod">
          <ac:chgData name="kchristou@gsco.gov.gr" userId="S::urn:spo:guest#kchristou@gsco.gov.gr::" providerId="AD" clId="Web-{AD1E292F-7BDB-B96D-0CE6-019E0AC377A3}" dt="2025-07-21T12:24:20.683" v="147" actId="1076"/>
          <ac:spMkLst>
            <pc:docMk/>
            <pc:sldMk cId="3873979063" sldId="1750"/>
            <ac:spMk id="26" creationId="{9E917B47-69B4-953A-3F1F-AACF148CE19B}"/>
          </ac:spMkLst>
        </pc:spChg>
        <pc:spChg chg="add mod">
          <ac:chgData name="kchristou@gsco.gov.gr" userId="S::urn:spo:guest#kchristou@gsco.gov.gr::" providerId="AD" clId="Web-{AD1E292F-7BDB-B96D-0CE6-019E0AC377A3}" dt="2025-07-21T12:25:38.686" v="165" actId="1076"/>
          <ac:spMkLst>
            <pc:docMk/>
            <pc:sldMk cId="3873979063" sldId="1750"/>
            <ac:spMk id="27" creationId="{CC71904F-65B9-0749-F29A-25189A819357}"/>
          </ac:spMkLst>
        </pc:spChg>
        <pc:spChg chg="add mod">
          <ac:chgData name="kchristou@gsco.gov.gr" userId="S::urn:spo:guest#kchristou@gsco.gov.gr::" providerId="AD" clId="Web-{AD1E292F-7BDB-B96D-0CE6-019E0AC377A3}" dt="2025-07-21T12:23:37.681" v="139" actId="1076"/>
          <ac:spMkLst>
            <pc:docMk/>
            <pc:sldMk cId="3873979063" sldId="1750"/>
            <ac:spMk id="28" creationId="{2ABE9826-82CF-4595-444E-F90A948C644A}"/>
          </ac:spMkLst>
        </pc:spChg>
        <pc:spChg chg="add mod">
          <ac:chgData name="kchristou@gsco.gov.gr" userId="S::urn:spo:guest#kchristou@gsco.gov.gr::" providerId="AD" clId="Web-{AD1E292F-7BDB-B96D-0CE6-019E0AC377A3}" dt="2025-07-21T12:25:49.546" v="168" actId="14100"/>
          <ac:spMkLst>
            <pc:docMk/>
            <pc:sldMk cId="3873979063" sldId="1750"/>
            <ac:spMk id="29" creationId="{231500C1-756A-55B8-1BBF-B97DAF854E14}"/>
          </ac:spMkLst>
        </pc:spChg>
        <pc:spChg chg="mod">
          <ac:chgData name="kchristou@gsco.gov.gr" userId="S::urn:spo:guest#kchristou@gsco.gov.gr::" providerId="AD" clId="Web-{AD1E292F-7BDB-B96D-0CE6-019E0AC377A3}" dt="2025-07-21T12:24:24.855" v="148" actId="1076"/>
          <ac:spMkLst>
            <pc:docMk/>
            <pc:sldMk cId="3873979063" sldId="1750"/>
            <ac:spMk id="30" creationId="{EE4D5112-119A-910C-C2D7-36F6DF33D32D}"/>
          </ac:spMkLst>
        </pc:spChg>
        <pc:spChg chg="add mod">
          <ac:chgData name="kchristou@gsco.gov.gr" userId="S::urn:spo:guest#kchristou@gsco.gov.gr::" providerId="AD" clId="Web-{AD1E292F-7BDB-B96D-0CE6-019E0AC377A3}" dt="2025-07-21T12:26:12.906" v="171" actId="14100"/>
          <ac:spMkLst>
            <pc:docMk/>
            <pc:sldMk cId="3873979063" sldId="1750"/>
            <ac:spMk id="31" creationId="{12B78EA8-E2B3-9DBE-9A93-D80C2595F293}"/>
          </ac:spMkLst>
        </pc:spChg>
        <pc:spChg chg="add mod">
          <ac:chgData name="kchristou@gsco.gov.gr" userId="S::urn:spo:guest#kchristou@gsco.gov.gr::" providerId="AD" clId="Web-{AD1E292F-7BDB-B96D-0CE6-019E0AC377A3}" dt="2025-07-21T12:16:51.540" v="71" actId="1076"/>
          <ac:spMkLst>
            <pc:docMk/>
            <pc:sldMk cId="3873979063" sldId="1750"/>
            <ac:spMk id="32" creationId="{D3FF8C61-7788-2B1D-B697-A49A8E6BA7A8}"/>
          </ac:spMkLst>
        </pc:spChg>
        <pc:spChg chg="add mod">
          <ac:chgData name="kchristou@gsco.gov.gr" userId="S::urn:spo:guest#kchristou@gsco.gov.gr::" providerId="AD" clId="Web-{AD1E292F-7BDB-B96D-0CE6-019E0AC377A3}" dt="2025-07-21T12:16:51.587" v="72" actId="1076"/>
          <ac:spMkLst>
            <pc:docMk/>
            <pc:sldMk cId="3873979063" sldId="1750"/>
            <ac:spMk id="33" creationId="{88EAFA56-5820-C9B6-B23C-104A4576C255}"/>
          </ac:spMkLst>
        </pc:spChg>
      </pc:sldChg>
      <pc:sldChg chg="addSp delSp del">
        <pc:chgData name="kchristou@gsco.gov.gr" userId="S::urn:spo:guest#kchristou@gsco.gov.gr::" providerId="AD" clId="Web-{AD1E292F-7BDB-B96D-0CE6-019E0AC377A3}" dt="2025-07-21T12:26:53.751" v="178"/>
        <pc:sldMkLst>
          <pc:docMk/>
          <pc:sldMk cId="1801349931" sldId="1751"/>
        </pc:sldMkLst>
      </pc:sldChg>
      <pc:sldChg chg="addSp delSp modSp add replId">
        <pc:chgData name="kchristou@gsco.gov.gr" userId="S::urn:spo:guest#kchristou@gsco.gov.gr::" providerId="AD" clId="Web-{AD1E292F-7BDB-B96D-0CE6-019E0AC377A3}" dt="2025-07-21T13:01:06.613" v="617" actId="14100"/>
        <pc:sldMkLst>
          <pc:docMk/>
          <pc:sldMk cId="2164505280" sldId="1751"/>
        </pc:sldMkLst>
        <pc:spChg chg="mod">
          <ac:chgData name="kchristou@gsco.gov.gr" userId="S::urn:spo:guest#kchristou@gsco.gov.gr::" providerId="AD" clId="Web-{AD1E292F-7BDB-B96D-0CE6-019E0AC377A3}" dt="2025-07-21T12:36:22.758" v="281" actId="1076"/>
          <ac:spMkLst>
            <pc:docMk/>
            <pc:sldMk cId="2164505280" sldId="1751"/>
            <ac:spMk id="2" creationId="{484E6B38-1984-0E6D-488D-5716B1F6020D}"/>
          </ac:spMkLst>
        </pc:spChg>
        <pc:spChg chg="add mod">
          <ac:chgData name="kchristou@gsco.gov.gr" userId="S::urn:spo:guest#kchristou@gsco.gov.gr::" providerId="AD" clId="Web-{AD1E292F-7BDB-B96D-0CE6-019E0AC377A3}" dt="2025-07-21T13:01:06.613" v="617" actId="14100"/>
          <ac:spMkLst>
            <pc:docMk/>
            <pc:sldMk cId="2164505280" sldId="1751"/>
            <ac:spMk id="3" creationId="{739C72F9-8081-C800-E235-41527E1244B6}"/>
          </ac:spMkLst>
        </pc:spChg>
        <pc:spChg chg="mod">
          <ac:chgData name="kchristou@gsco.gov.gr" userId="S::urn:spo:guest#kchristou@gsco.gov.gr::" providerId="AD" clId="Web-{AD1E292F-7BDB-B96D-0CE6-019E0AC377A3}" dt="2025-07-21T12:33:52.830" v="241" actId="1076"/>
          <ac:spMkLst>
            <pc:docMk/>
            <pc:sldMk cId="2164505280" sldId="1751"/>
            <ac:spMk id="4" creationId="{6BA5BD45-796B-7F17-83BB-8638724311DD}"/>
          </ac:spMkLst>
        </pc:spChg>
        <pc:spChg chg="mod">
          <ac:chgData name="kchristou@gsco.gov.gr" userId="S::urn:spo:guest#kchristou@gsco.gov.gr::" providerId="AD" clId="Web-{AD1E292F-7BDB-B96D-0CE6-019E0AC377A3}" dt="2025-07-21T12:49:21.398" v="444" actId="1076"/>
          <ac:spMkLst>
            <pc:docMk/>
            <pc:sldMk cId="2164505280" sldId="1751"/>
            <ac:spMk id="5" creationId="{9CDB47DF-8622-1B12-CE3C-476343B4A23B}"/>
          </ac:spMkLst>
        </pc:spChg>
        <pc:spChg chg="add mod">
          <ac:chgData name="kchristou@gsco.gov.gr" userId="S::urn:spo:guest#kchristou@gsco.gov.gr::" providerId="AD" clId="Web-{AD1E292F-7BDB-B96D-0CE6-019E0AC377A3}" dt="2025-07-21T12:56:58.838" v="524" actId="1076"/>
          <ac:spMkLst>
            <pc:docMk/>
            <pc:sldMk cId="2164505280" sldId="1751"/>
            <ac:spMk id="6" creationId="{1E41031B-4EE5-9472-1C10-3A6DD51D4184}"/>
          </ac:spMkLst>
        </pc:spChg>
        <pc:spChg chg="mod">
          <ac:chgData name="kchristou@gsco.gov.gr" userId="S::urn:spo:guest#kchristou@gsco.gov.gr::" providerId="AD" clId="Web-{AD1E292F-7BDB-B96D-0CE6-019E0AC377A3}" dt="2025-07-21T12:52:11.405" v="456" actId="14100"/>
          <ac:spMkLst>
            <pc:docMk/>
            <pc:sldMk cId="2164505280" sldId="1751"/>
            <ac:spMk id="8" creationId="{422474F7-E6A8-987B-7FA0-2CE821847155}"/>
          </ac:spMkLst>
        </pc:spChg>
        <pc:spChg chg="mod">
          <ac:chgData name="kchristou@gsco.gov.gr" userId="S::urn:spo:guest#kchristou@gsco.gov.gr::" providerId="AD" clId="Web-{AD1E292F-7BDB-B96D-0CE6-019E0AC377A3}" dt="2025-07-21T12:47:37.925" v="414" actId="20577"/>
          <ac:spMkLst>
            <pc:docMk/>
            <pc:sldMk cId="2164505280" sldId="1751"/>
            <ac:spMk id="9" creationId="{2F3676D9-2A48-0EDA-4106-4FB89C4E4BEF}"/>
          </ac:spMkLst>
        </pc:spChg>
        <pc:spChg chg="add mod">
          <ac:chgData name="kchristou@gsco.gov.gr" userId="S::urn:spo:guest#kchristou@gsco.gov.gr::" providerId="AD" clId="Web-{AD1E292F-7BDB-B96D-0CE6-019E0AC377A3}" dt="2025-07-21T13:00:51.925" v="615" actId="1076"/>
          <ac:spMkLst>
            <pc:docMk/>
            <pc:sldMk cId="2164505280" sldId="1751"/>
            <ac:spMk id="10" creationId="{25C4C927-FCAB-C28B-2D32-1152112F196E}"/>
          </ac:spMkLst>
        </pc:spChg>
        <pc:spChg chg="mod">
          <ac:chgData name="kchristou@gsco.gov.gr" userId="S::urn:spo:guest#kchristou@gsco.gov.gr::" providerId="AD" clId="Web-{AD1E292F-7BDB-B96D-0CE6-019E0AC377A3}" dt="2025-07-21T12:50:03.869" v="449" actId="1076"/>
          <ac:spMkLst>
            <pc:docMk/>
            <pc:sldMk cId="2164505280" sldId="1751"/>
            <ac:spMk id="12" creationId="{9328B0E7-8EB7-4AB1-B675-D2E3AF3F0D21}"/>
          </ac:spMkLst>
        </pc:spChg>
        <pc:spChg chg="add del mod">
          <ac:chgData name="kchristou@gsco.gov.gr" userId="S::urn:spo:guest#kchristou@gsco.gov.gr::" providerId="AD" clId="Web-{AD1E292F-7BDB-B96D-0CE6-019E0AC377A3}" dt="2025-07-21T12:50:24.057" v="454" actId="14100"/>
          <ac:spMkLst>
            <pc:docMk/>
            <pc:sldMk cId="2164505280" sldId="1751"/>
            <ac:spMk id="14" creationId="{81D0224B-2DDD-4D1D-F1D0-5E02CDEE20EC}"/>
          </ac:spMkLst>
        </pc:spChg>
        <pc:spChg chg="mod">
          <ac:chgData name="kchristou@gsco.gov.gr" userId="S::urn:spo:guest#kchristou@gsco.gov.gr::" providerId="AD" clId="Web-{AD1E292F-7BDB-B96D-0CE6-019E0AC377A3}" dt="2025-07-21T12:49:55.384" v="447" actId="14100"/>
          <ac:spMkLst>
            <pc:docMk/>
            <pc:sldMk cId="2164505280" sldId="1751"/>
            <ac:spMk id="16" creationId="{92ED134D-3F76-9A90-DB09-F26A745737BA}"/>
          </ac:spMkLst>
        </pc:spChg>
        <pc:spChg chg="mod">
          <ac:chgData name="kchristou@gsco.gov.gr" userId="S::urn:spo:guest#kchristou@gsco.gov.gr::" providerId="AD" clId="Web-{AD1E292F-7BDB-B96D-0CE6-019E0AC377A3}" dt="2025-07-21T12:50:06.228" v="450" actId="1076"/>
          <ac:spMkLst>
            <pc:docMk/>
            <pc:sldMk cId="2164505280" sldId="1751"/>
            <ac:spMk id="17" creationId="{F3FE9E5D-DFA3-2946-649A-767B800F41E4}"/>
          </ac:spMkLst>
        </pc:spChg>
        <pc:spChg chg="mod">
          <ac:chgData name="kchristou@gsco.gov.gr" userId="S::urn:spo:guest#kchristou@gsco.gov.gr::" providerId="AD" clId="Web-{AD1E292F-7BDB-B96D-0CE6-019E0AC377A3}" dt="2025-07-21T12:48:49.287" v="439" actId="1076"/>
          <ac:spMkLst>
            <pc:docMk/>
            <pc:sldMk cId="2164505280" sldId="1751"/>
            <ac:spMk id="19" creationId="{F9D0286D-1048-A76C-A8C7-AC5CA24F797F}"/>
          </ac:spMkLst>
        </pc:spChg>
        <pc:spChg chg="mod">
          <ac:chgData name="kchristou@gsco.gov.gr" userId="S::urn:spo:guest#kchristou@gsco.gov.gr::" providerId="AD" clId="Web-{AD1E292F-7BDB-B96D-0CE6-019E0AC377A3}" dt="2025-07-21T12:49:09.038" v="443" actId="1076"/>
          <ac:spMkLst>
            <pc:docMk/>
            <pc:sldMk cId="2164505280" sldId="1751"/>
            <ac:spMk id="26" creationId="{DF4EABBA-CB66-3731-1CBF-880AB2E3DF68}"/>
          </ac:spMkLst>
        </pc:spChg>
        <pc:spChg chg="mod">
          <ac:chgData name="kchristou@gsco.gov.gr" userId="S::urn:spo:guest#kchristou@gsco.gov.gr::" providerId="AD" clId="Web-{AD1E292F-7BDB-B96D-0CE6-019E0AC377A3}" dt="2025-07-21T12:48:54.569" v="440" actId="1076"/>
          <ac:spMkLst>
            <pc:docMk/>
            <pc:sldMk cId="2164505280" sldId="1751"/>
            <ac:spMk id="30" creationId="{53D95602-F088-A1AA-3B7F-399C6A7D33FF}"/>
          </ac:spMkLst>
        </pc:spChg>
        <pc:spChg chg="add del mod ord modVis">
          <ac:chgData name="kchristou@gsco.gov.gr" userId="S::urn:spo:guest#kchristou@gsco.gov.gr::" providerId="AD" clId="Web-{AD1E292F-7BDB-B96D-0CE6-019E0AC377A3}" dt="2025-07-21T13:01:02.910" v="616" actId="14100"/>
          <ac:spMkLst>
            <pc:docMk/>
            <pc:sldMk cId="2164505280" sldId="1751"/>
            <ac:spMk id="37" creationId="{DF102C52-1AD3-284D-3C76-C42563790FD6}"/>
          </ac:spMkLst>
        </pc:spChg>
        <pc:spChg chg="add mod">
          <ac:chgData name="kchristou@gsco.gov.gr" userId="S::urn:spo:guest#kchristou@gsco.gov.gr::" providerId="AD" clId="Web-{AD1E292F-7BDB-B96D-0CE6-019E0AC377A3}" dt="2025-07-21T13:00:14.674" v="607" actId="20577"/>
          <ac:spMkLst>
            <pc:docMk/>
            <pc:sldMk cId="2164505280" sldId="1751"/>
            <ac:spMk id="38" creationId="{52FB57C9-1AC9-7DCC-4AA6-63E9085B2470}"/>
          </ac:spMkLst>
        </pc:spChg>
      </pc:sldChg>
      <pc:sldChg chg="addSp delSp modSp add replId">
        <pc:chgData name="kchristou@gsco.gov.gr" userId="S::urn:spo:guest#kchristou@gsco.gov.gr::" providerId="AD" clId="Web-{AD1E292F-7BDB-B96D-0CE6-019E0AC377A3}" dt="2025-07-21T14:37:29.809" v="3896" actId="20577"/>
        <pc:sldMkLst>
          <pc:docMk/>
          <pc:sldMk cId="391153355" sldId="1752"/>
        </pc:sldMkLst>
        <pc:spChg chg="add mod">
          <ac:chgData name="kchristou@gsco.gov.gr" userId="S::urn:spo:guest#kchristou@gsco.gov.gr::" providerId="AD" clId="Web-{AD1E292F-7BDB-B96D-0CE6-019E0AC377A3}" dt="2025-07-21T14:35:42.743" v="3803" actId="1076"/>
          <ac:spMkLst>
            <pc:docMk/>
            <pc:sldMk cId="391153355" sldId="1752"/>
            <ac:spMk id="6" creationId="{F88CA7E1-AA23-4DE7-64EB-E6DB24896E46}"/>
          </ac:spMkLst>
        </pc:spChg>
        <pc:spChg chg="add mod">
          <ac:chgData name="kchristou@gsco.gov.gr" userId="S::urn:spo:guest#kchristou@gsco.gov.gr::" providerId="AD" clId="Web-{AD1E292F-7BDB-B96D-0CE6-019E0AC377A3}" dt="2025-07-21T14:37:29.809" v="3896" actId="20577"/>
          <ac:spMkLst>
            <pc:docMk/>
            <pc:sldMk cId="391153355" sldId="1752"/>
            <ac:spMk id="7" creationId="{19E4A608-D052-1BBD-B781-F51E2402723B}"/>
          </ac:spMkLst>
        </pc:spChg>
        <pc:spChg chg="mod">
          <ac:chgData name="kchristou@gsco.gov.gr" userId="S::urn:spo:guest#kchristou@gsco.gov.gr::" providerId="AD" clId="Web-{AD1E292F-7BDB-B96D-0CE6-019E0AC377A3}" dt="2025-07-21T14:29:26.994" v="3445" actId="20577"/>
          <ac:spMkLst>
            <pc:docMk/>
            <pc:sldMk cId="391153355" sldId="1752"/>
            <ac:spMk id="8" creationId="{0B9EB023-CEC4-76D0-D977-5B3706C300C5}"/>
          </ac:spMkLst>
        </pc:spChg>
        <pc:spChg chg="add mod">
          <ac:chgData name="kchristou@gsco.gov.gr" userId="S::urn:spo:guest#kchristou@gsco.gov.gr::" providerId="AD" clId="Web-{AD1E292F-7BDB-B96D-0CE6-019E0AC377A3}" dt="2025-07-21T14:35:42.790" v="3805" actId="1076"/>
          <ac:spMkLst>
            <pc:docMk/>
            <pc:sldMk cId="391153355" sldId="1752"/>
            <ac:spMk id="9" creationId="{31C120B8-B422-BD61-DEA8-1C9CC57241B7}"/>
          </ac:spMkLst>
        </pc:spChg>
        <pc:spChg chg="add mod">
          <ac:chgData name="kchristou@gsco.gov.gr" userId="S::urn:spo:guest#kchristou@gsco.gov.gr::" providerId="AD" clId="Web-{AD1E292F-7BDB-B96D-0CE6-019E0AC377A3}" dt="2025-07-21T14:35:42.836" v="3806" actId="1076"/>
          <ac:spMkLst>
            <pc:docMk/>
            <pc:sldMk cId="391153355" sldId="1752"/>
            <ac:spMk id="11" creationId="{33EE2C13-97DE-5E5E-9DF4-D10FD205549F}"/>
          </ac:spMkLst>
        </pc:spChg>
        <pc:spChg chg="mod">
          <ac:chgData name="kchristou@gsco.gov.gr" userId="S::urn:spo:guest#kchristou@gsco.gov.gr::" providerId="AD" clId="Web-{AD1E292F-7BDB-B96D-0CE6-019E0AC377A3}" dt="2025-07-21T14:36:32.167" v="3831" actId="1076"/>
          <ac:spMkLst>
            <pc:docMk/>
            <pc:sldMk cId="391153355" sldId="1752"/>
            <ac:spMk id="12" creationId="{B70193AA-4506-465A-0FFB-832D11A4020F}"/>
          </ac:spMkLst>
        </pc:spChg>
        <pc:spChg chg="mod">
          <ac:chgData name="kchristou@gsco.gov.gr" userId="S::urn:spo:guest#kchristou@gsco.gov.gr::" providerId="AD" clId="Web-{AD1E292F-7BDB-B96D-0CE6-019E0AC377A3}" dt="2025-07-21T14:36:28.416" v="3830" actId="1076"/>
          <ac:spMkLst>
            <pc:docMk/>
            <pc:sldMk cId="391153355" sldId="1752"/>
            <ac:spMk id="14" creationId="{F5D5B5D1-A5B7-A9FB-DC4B-9038191DF721}"/>
          </ac:spMkLst>
        </pc:spChg>
        <pc:spChg chg="mod">
          <ac:chgData name="kchristou@gsco.gov.gr" userId="S::urn:spo:guest#kchristou@gsco.gov.gr::" providerId="AD" clId="Web-{AD1E292F-7BDB-B96D-0CE6-019E0AC377A3}" dt="2025-07-21T14:36:24.385" v="3828" actId="1076"/>
          <ac:spMkLst>
            <pc:docMk/>
            <pc:sldMk cId="391153355" sldId="1752"/>
            <ac:spMk id="16" creationId="{3732CCF2-7AB2-BF0C-A20B-34FDCD377628}"/>
          </ac:spMkLst>
        </pc:spChg>
        <pc:spChg chg="mod">
          <ac:chgData name="kchristou@gsco.gov.gr" userId="S::urn:spo:guest#kchristou@gsco.gov.gr::" providerId="AD" clId="Web-{AD1E292F-7BDB-B96D-0CE6-019E0AC377A3}" dt="2025-07-21T14:36:24.401" v="3829" actId="1076"/>
          <ac:spMkLst>
            <pc:docMk/>
            <pc:sldMk cId="391153355" sldId="1752"/>
            <ac:spMk id="18" creationId="{1D79E54E-7BF3-504D-B0B4-2EDF44B8BE50}"/>
          </ac:spMkLst>
        </pc:spChg>
        <pc:spChg chg="mod">
          <ac:chgData name="kchristou@gsco.gov.gr" userId="S::urn:spo:guest#kchristou@gsco.gov.gr::" providerId="AD" clId="Web-{AD1E292F-7BDB-B96D-0CE6-019E0AC377A3}" dt="2025-07-21T14:36:01.478" v="3812" actId="1076"/>
          <ac:spMkLst>
            <pc:docMk/>
            <pc:sldMk cId="391153355" sldId="1752"/>
            <ac:spMk id="20" creationId="{21B7F35F-2CFE-63C5-4B25-B1EA1F07B28C}"/>
          </ac:spMkLst>
        </pc:spChg>
        <pc:spChg chg="mod">
          <ac:chgData name="kchristou@gsco.gov.gr" userId="S::urn:spo:guest#kchristou@gsco.gov.gr::" providerId="AD" clId="Web-{AD1E292F-7BDB-B96D-0CE6-019E0AC377A3}" dt="2025-07-21T14:36:04.509" v="3816" actId="1076"/>
          <ac:spMkLst>
            <pc:docMk/>
            <pc:sldMk cId="391153355" sldId="1752"/>
            <ac:spMk id="21" creationId="{6AF2633D-4951-C930-EAFB-E5EB57BB00D6}"/>
          </ac:spMkLst>
        </pc:spChg>
        <pc:spChg chg="mod">
          <ac:chgData name="kchristou@gsco.gov.gr" userId="S::urn:spo:guest#kchristou@gsco.gov.gr::" providerId="AD" clId="Web-{AD1E292F-7BDB-B96D-0CE6-019E0AC377A3}" dt="2025-07-21T14:36:01.540" v="3814" actId="1076"/>
          <ac:spMkLst>
            <pc:docMk/>
            <pc:sldMk cId="391153355" sldId="1752"/>
            <ac:spMk id="22" creationId="{818E18BA-25DA-2CE5-0DD5-02EC610F1C36}"/>
          </ac:spMkLst>
        </pc:spChg>
        <pc:spChg chg="mod">
          <ac:chgData name="kchristou@gsco.gov.gr" userId="S::urn:spo:guest#kchristou@gsco.gov.gr::" providerId="AD" clId="Web-{AD1E292F-7BDB-B96D-0CE6-019E0AC377A3}" dt="2025-07-21T14:36:01.572" v="3815" actId="1076"/>
          <ac:spMkLst>
            <pc:docMk/>
            <pc:sldMk cId="391153355" sldId="1752"/>
            <ac:spMk id="23" creationId="{AE378E99-C688-0CB4-31B1-7960BAA3E2AD}"/>
          </ac:spMkLst>
        </pc:spChg>
        <pc:spChg chg="mod">
          <ac:chgData name="kchristou@gsco.gov.gr" userId="S::urn:spo:guest#kchristou@gsco.gov.gr::" providerId="AD" clId="Web-{AD1E292F-7BDB-B96D-0CE6-019E0AC377A3}" dt="2025-07-21T14:35:52.743" v="3807" actId="1076"/>
          <ac:spMkLst>
            <pc:docMk/>
            <pc:sldMk cId="391153355" sldId="1752"/>
            <ac:spMk id="24" creationId="{6BD4BCBF-40C3-F14C-B882-B9AAD7C4DAD6}"/>
          </ac:spMkLst>
        </pc:spChg>
        <pc:spChg chg="mod">
          <ac:chgData name="kchristou@gsco.gov.gr" userId="S::urn:spo:guest#kchristou@gsco.gov.gr::" providerId="AD" clId="Web-{AD1E292F-7BDB-B96D-0CE6-019E0AC377A3}" dt="2025-07-21T14:35:52.790" v="3808" actId="1076"/>
          <ac:spMkLst>
            <pc:docMk/>
            <pc:sldMk cId="391153355" sldId="1752"/>
            <ac:spMk id="25" creationId="{544B8066-DB55-1ACD-EF00-6563F5257162}"/>
          </ac:spMkLst>
        </pc:spChg>
        <pc:spChg chg="mod">
          <ac:chgData name="kchristou@gsco.gov.gr" userId="S::urn:spo:guest#kchristou@gsco.gov.gr::" providerId="AD" clId="Web-{AD1E292F-7BDB-B96D-0CE6-019E0AC377A3}" dt="2025-07-21T14:35:52.821" v="3809" actId="1076"/>
          <ac:spMkLst>
            <pc:docMk/>
            <pc:sldMk cId="391153355" sldId="1752"/>
            <ac:spMk id="26" creationId="{8A63E27B-13E8-F075-2157-E27449157D52}"/>
          </ac:spMkLst>
        </pc:spChg>
        <pc:spChg chg="mod">
          <ac:chgData name="kchristou@gsco.gov.gr" userId="S::urn:spo:guest#kchristou@gsco.gov.gr::" providerId="AD" clId="Web-{AD1E292F-7BDB-B96D-0CE6-019E0AC377A3}" dt="2025-07-21T14:35:52.868" v="3810" actId="1076"/>
          <ac:spMkLst>
            <pc:docMk/>
            <pc:sldMk cId="391153355" sldId="1752"/>
            <ac:spMk id="27" creationId="{D0A6F310-EB40-FEA2-2324-934CC359A3E8}"/>
          </ac:spMkLst>
        </pc:spChg>
        <pc:cxnChg chg="mod">
          <ac:chgData name="kchristou@gsco.gov.gr" userId="S::urn:spo:guest#kchristou@gsco.gov.gr::" providerId="AD" clId="Web-{AD1E292F-7BDB-B96D-0CE6-019E0AC377A3}" dt="2025-07-21T14:35:55.821" v="3811" actId="1076"/>
          <ac:cxnSpMkLst>
            <pc:docMk/>
            <pc:sldMk cId="391153355" sldId="1752"/>
            <ac:cxnSpMk id="10" creationId="{5529DD71-FD1A-DA07-F2F2-4F5395721B9E}"/>
          </ac:cxnSpMkLst>
        </pc:cxnChg>
      </pc:sldChg>
    </pc:docChg>
  </pc:docChgLst>
  <pc:docChgLst>
    <pc:chgData name="Έλια Αποστολοπούλου" userId="55324f8b-f5ef-49c9-8ce3-afc1f275c581" providerId="ADAL" clId="{6415B64A-6679-4FBD-B0B0-D37264004EED}"/>
    <pc:docChg chg="undo custSel addSld delSld modSld sldOrd delMainMaster">
      <pc:chgData name="Έλια Αποστολοπούλου" userId="55324f8b-f5ef-49c9-8ce3-afc1f275c581" providerId="ADAL" clId="{6415B64A-6679-4FBD-B0B0-D37264004EED}" dt="2025-07-23T02:56:28.973" v="1967" actId="1076"/>
      <pc:docMkLst>
        <pc:docMk/>
      </pc:docMkLst>
      <pc:sldChg chg="addSp delSp modSp mod">
        <pc:chgData name="Έλια Αποστολοπούλου" userId="55324f8b-f5ef-49c9-8ce3-afc1f275c581" providerId="ADAL" clId="{6415B64A-6679-4FBD-B0B0-D37264004EED}" dt="2025-07-22T19:33:10.113" v="254" actId="1076"/>
        <pc:sldMkLst>
          <pc:docMk/>
          <pc:sldMk cId="2395453747" sldId="279"/>
        </pc:sldMkLst>
        <pc:spChg chg="mod">
          <ac:chgData name="Έλια Αποστολοπούλου" userId="55324f8b-f5ef-49c9-8ce3-afc1f275c581" providerId="ADAL" clId="{6415B64A-6679-4FBD-B0B0-D37264004EED}" dt="2025-07-22T19:33:10.113" v="254" actId="1076"/>
          <ac:spMkLst>
            <pc:docMk/>
            <pc:sldMk cId="2395453747" sldId="279"/>
            <ac:spMk id="7" creationId="{81D34EB3-FF1F-7665-FDD8-180C03ACC9B7}"/>
          </ac:spMkLst>
        </pc:spChg>
        <pc:spChg chg="mod">
          <ac:chgData name="Έλια Αποστολοπούλου" userId="55324f8b-f5ef-49c9-8ce3-afc1f275c581" providerId="ADAL" clId="{6415B64A-6679-4FBD-B0B0-D37264004EED}" dt="2025-07-22T19:32:17.654" v="243" actId="1076"/>
          <ac:spMkLst>
            <pc:docMk/>
            <pc:sldMk cId="2395453747" sldId="279"/>
            <ac:spMk id="8" creationId="{9AFD8FE8-C7FF-4928-DFF4-A1F4B5A64D12}"/>
          </ac:spMkLst>
        </pc:spChg>
        <pc:spChg chg="del mod">
          <ac:chgData name="Έλια Αποστολοπούλου" userId="55324f8b-f5ef-49c9-8ce3-afc1f275c581" providerId="ADAL" clId="{6415B64A-6679-4FBD-B0B0-D37264004EED}" dt="2025-07-22T19:31:39.312" v="230" actId="478"/>
          <ac:spMkLst>
            <pc:docMk/>
            <pc:sldMk cId="2395453747" sldId="279"/>
            <ac:spMk id="9" creationId="{C938718F-9283-E540-BE2B-01C6EF0C99E2}"/>
          </ac:spMkLst>
        </pc:spChg>
        <pc:spChg chg="mod">
          <ac:chgData name="Έλια Αποστολοπούλου" userId="55324f8b-f5ef-49c9-8ce3-afc1f275c581" providerId="ADAL" clId="{6415B64A-6679-4FBD-B0B0-D37264004EED}" dt="2025-07-22T19:32:50.591" v="249" actId="1076"/>
          <ac:spMkLst>
            <pc:docMk/>
            <pc:sldMk cId="2395453747" sldId="279"/>
            <ac:spMk id="12" creationId="{B8891765-7DA3-B472-FDD5-ECCF59CAC2B1}"/>
          </ac:spMkLst>
        </pc:spChg>
        <pc:spChg chg="mod">
          <ac:chgData name="Έλια Αποστολοπούλου" userId="55324f8b-f5ef-49c9-8ce3-afc1f275c581" providerId="ADAL" clId="{6415B64A-6679-4FBD-B0B0-D37264004EED}" dt="2025-07-22T19:32:33.245" v="246" actId="1076"/>
          <ac:spMkLst>
            <pc:docMk/>
            <pc:sldMk cId="2395453747" sldId="279"/>
            <ac:spMk id="17" creationId="{A6788291-91BC-4DC7-66C5-8E35FFA82A9A}"/>
          </ac:spMkLst>
        </pc:spChg>
        <pc:spChg chg="mod">
          <ac:chgData name="Έλια Αποστολοπούλου" userId="55324f8b-f5ef-49c9-8ce3-afc1f275c581" providerId="ADAL" clId="{6415B64A-6679-4FBD-B0B0-D37264004EED}" dt="2025-07-22T19:32:38.230" v="247" actId="6549"/>
          <ac:spMkLst>
            <pc:docMk/>
            <pc:sldMk cId="2395453747" sldId="279"/>
            <ac:spMk id="19" creationId="{8C9B7FB4-E5B5-1C68-E83A-A62229C6A212}"/>
          </ac:spMkLst>
        </pc:spChg>
        <pc:spChg chg="mod">
          <ac:chgData name="Έλια Αποστολοπούλου" userId="55324f8b-f5ef-49c9-8ce3-afc1f275c581" providerId="ADAL" clId="{6415B64A-6679-4FBD-B0B0-D37264004EED}" dt="2025-07-22T19:32:47.617" v="248" actId="1076"/>
          <ac:spMkLst>
            <pc:docMk/>
            <pc:sldMk cId="2395453747" sldId="279"/>
            <ac:spMk id="21" creationId="{76270BEE-3502-B9DB-5FD0-B96851F5CDB1}"/>
          </ac:spMkLst>
        </pc:spChg>
        <pc:spChg chg="mod">
          <ac:chgData name="Έλια Αποστολοπούλου" userId="55324f8b-f5ef-49c9-8ce3-afc1f275c581" providerId="ADAL" clId="{6415B64A-6679-4FBD-B0B0-D37264004EED}" dt="2025-07-22T19:33:05.613" v="253" actId="1076"/>
          <ac:spMkLst>
            <pc:docMk/>
            <pc:sldMk cId="2395453747" sldId="279"/>
            <ac:spMk id="1480" creationId="{D97555DB-A771-9F1F-62F8-637398738136}"/>
          </ac:spMkLst>
        </pc:spChg>
        <pc:spChg chg="del mod">
          <ac:chgData name="Έλια Αποστολοπούλου" userId="55324f8b-f5ef-49c9-8ce3-afc1f275c581" providerId="ADAL" clId="{6415B64A-6679-4FBD-B0B0-D37264004EED}" dt="2025-07-22T19:31:54.144" v="237" actId="478"/>
          <ac:spMkLst>
            <pc:docMk/>
            <pc:sldMk cId="2395453747" sldId="279"/>
            <ac:spMk id="1491" creationId="{7869A7C1-65E7-9699-43CF-37C1DE3D437A}"/>
          </ac:spMkLst>
        </pc:spChg>
        <pc:spChg chg="mod">
          <ac:chgData name="Έλια Αποστολοπούλου" userId="55324f8b-f5ef-49c9-8ce3-afc1f275c581" providerId="ADAL" clId="{6415B64A-6679-4FBD-B0B0-D37264004EED}" dt="2025-07-22T19:32:56.905" v="251" actId="1076"/>
          <ac:spMkLst>
            <pc:docMk/>
            <pc:sldMk cId="2395453747" sldId="279"/>
            <ac:spMk id="1510" creationId="{4DBE8B12-A9DD-2362-7C9B-5D023D4683D4}"/>
          </ac:spMkLst>
        </pc:spChg>
        <pc:spChg chg="mod">
          <ac:chgData name="Έλια Αποστολοπούλου" userId="55324f8b-f5ef-49c9-8ce3-afc1f275c581" providerId="ADAL" clId="{6415B64A-6679-4FBD-B0B0-D37264004EED}" dt="2025-07-22T19:32:53.495" v="250" actId="1076"/>
          <ac:spMkLst>
            <pc:docMk/>
            <pc:sldMk cId="2395453747" sldId="279"/>
            <ac:spMk id="1522" creationId="{082F8036-FC8F-3719-D713-B88E6F4CA429}"/>
          </ac:spMkLst>
        </pc:spChg>
        <pc:grpChg chg="add del">
          <ac:chgData name="Έλια Αποστολοπούλου" userId="55324f8b-f5ef-49c9-8ce3-afc1f275c581" providerId="ADAL" clId="{6415B64A-6679-4FBD-B0B0-D37264004EED}" dt="2025-07-22T19:31:50.846" v="236" actId="478"/>
          <ac:grpSpMkLst>
            <pc:docMk/>
            <pc:sldMk cId="2395453747" sldId="279"/>
            <ac:grpSpMk id="1482" creationId="{5A2393A6-73FA-C209-D4A2-5B95EF25E241}"/>
          </ac:grpSpMkLst>
        </pc:grpChg>
      </pc:sldChg>
      <pc:sldChg chg="modSp mod">
        <pc:chgData name="Έλια Αποστολοπούλου" userId="55324f8b-f5ef-49c9-8ce3-afc1f275c581" providerId="ADAL" clId="{6415B64A-6679-4FBD-B0B0-D37264004EED}" dt="2025-07-22T19:17:23.243" v="75" actId="20577"/>
        <pc:sldMkLst>
          <pc:docMk/>
          <pc:sldMk cId="3830522271" sldId="626"/>
        </pc:sldMkLst>
        <pc:spChg chg="mod">
          <ac:chgData name="Έλια Αποστολοπούλου" userId="55324f8b-f5ef-49c9-8ce3-afc1f275c581" providerId="ADAL" clId="{6415B64A-6679-4FBD-B0B0-D37264004EED}" dt="2025-07-22T19:17:23.243" v="75" actId="20577"/>
          <ac:spMkLst>
            <pc:docMk/>
            <pc:sldMk cId="3830522271" sldId="626"/>
            <ac:spMk id="2" creationId="{02745299-7DD2-9C31-62BB-C77FCD76A602}"/>
          </ac:spMkLst>
        </pc:spChg>
      </pc:sldChg>
      <pc:sldChg chg="modSp del mod">
        <pc:chgData name="Έλια Αποστολοπούλου" userId="55324f8b-f5ef-49c9-8ce3-afc1f275c581" providerId="ADAL" clId="{6415B64A-6679-4FBD-B0B0-D37264004EED}" dt="2025-07-22T20:20:08.557" v="1148" actId="47"/>
        <pc:sldMkLst>
          <pc:docMk/>
          <pc:sldMk cId="1256444973" sldId="688"/>
        </pc:sldMkLst>
        <pc:spChg chg="mod">
          <ac:chgData name="Έλια Αποστολοπούλου" userId="55324f8b-f5ef-49c9-8ce3-afc1f275c581" providerId="ADAL" clId="{6415B64A-6679-4FBD-B0B0-D37264004EED}" dt="2025-07-22T20:00:14.552" v="658" actId="20577"/>
          <ac:spMkLst>
            <pc:docMk/>
            <pc:sldMk cId="1256444973" sldId="688"/>
            <ac:spMk id="3" creationId="{7B9C5856-9D0D-1432-2B64-C743BB072A19}"/>
          </ac:spMkLst>
        </pc:spChg>
      </pc:sldChg>
      <pc:sldChg chg="del">
        <pc:chgData name="Έλια Αποστολοπούλου" userId="55324f8b-f5ef-49c9-8ce3-afc1f275c581" providerId="ADAL" clId="{6415B64A-6679-4FBD-B0B0-D37264004EED}" dt="2025-07-22T19:18:12.126" v="77" actId="47"/>
        <pc:sldMkLst>
          <pc:docMk/>
          <pc:sldMk cId="2297348448" sldId="809"/>
        </pc:sldMkLst>
      </pc:sldChg>
      <pc:sldChg chg="del">
        <pc:chgData name="Έλια Αποστολοπούλου" userId="55324f8b-f5ef-49c9-8ce3-afc1f275c581" providerId="ADAL" clId="{6415B64A-6679-4FBD-B0B0-D37264004EED}" dt="2025-07-22T19:40:43.918" v="289" actId="47"/>
        <pc:sldMkLst>
          <pc:docMk/>
          <pc:sldMk cId="4132512298" sldId="1135"/>
        </pc:sldMkLst>
      </pc:sldChg>
      <pc:sldChg chg="addSp modSp mod">
        <pc:chgData name="Έλια Αποστολοπούλου" userId="55324f8b-f5ef-49c9-8ce3-afc1f275c581" providerId="ADAL" clId="{6415B64A-6679-4FBD-B0B0-D37264004EED}" dt="2025-07-22T19:53:51.680" v="430" actId="1076"/>
        <pc:sldMkLst>
          <pc:docMk/>
          <pc:sldMk cId="2084428776" sldId="1257"/>
        </pc:sldMkLst>
        <pc:spChg chg="add mod">
          <ac:chgData name="Έλια Αποστολοπούλου" userId="55324f8b-f5ef-49c9-8ce3-afc1f275c581" providerId="ADAL" clId="{6415B64A-6679-4FBD-B0B0-D37264004EED}" dt="2025-07-22T19:53:46.134" v="428" actId="1076"/>
          <ac:spMkLst>
            <pc:docMk/>
            <pc:sldMk cId="2084428776" sldId="1257"/>
            <ac:spMk id="2" creationId="{E16C50CE-C339-D7DD-40B6-C2EF0B81185B}"/>
          </ac:spMkLst>
        </pc:spChg>
        <pc:spChg chg="add mod">
          <ac:chgData name="Έλια Αποστολοπούλου" userId="55324f8b-f5ef-49c9-8ce3-afc1f275c581" providerId="ADAL" clId="{6415B64A-6679-4FBD-B0B0-D37264004EED}" dt="2025-07-22T19:53:20.119" v="420" actId="1076"/>
          <ac:spMkLst>
            <pc:docMk/>
            <pc:sldMk cId="2084428776" sldId="1257"/>
            <ac:spMk id="3" creationId="{1E3D5378-98DF-5042-2553-A3BB7A5AF45D}"/>
          </ac:spMkLst>
        </pc:spChg>
        <pc:spChg chg="add mod">
          <ac:chgData name="Έλια Αποστολοπούλου" userId="55324f8b-f5ef-49c9-8ce3-afc1f275c581" providerId="ADAL" clId="{6415B64A-6679-4FBD-B0B0-D37264004EED}" dt="2025-07-22T19:53:49.318" v="429" actId="1076"/>
          <ac:spMkLst>
            <pc:docMk/>
            <pc:sldMk cId="2084428776" sldId="1257"/>
            <ac:spMk id="4" creationId="{2F114564-0801-56F4-8C42-8A3D244B7C57}"/>
          </ac:spMkLst>
        </pc:spChg>
        <pc:spChg chg="mod">
          <ac:chgData name="Έλια Αποστολοπούλου" userId="55324f8b-f5ef-49c9-8ce3-afc1f275c581" providerId="ADAL" clId="{6415B64A-6679-4FBD-B0B0-D37264004EED}" dt="2025-07-22T19:51:50.122" v="397" actId="1076"/>
          <ac:spMkLst>
            <pc:docMk/>
            <pc:sldMk cId="2084428776" sldId="1257"/>
            <ac:spMk id="5" creationId="{5CCF1E06-8CDF-45FE-30D9-E951DF8E670C}"/>
          </ac:spMkLst>
        </pc:spChg>
        <pc:spChg chg="add mod">
          <ac:chgData name="Έλια Αποστολοπούλου" userId="55324f8b-f5ef-49c9-8ce3-afc1f275c581" providerId="ADAL" clId="{6415B64A-6679-4FBD-B0B0-D37264004EED}" dt="2025-07-22T19:53:51.680" v="430" actId="1076"/>
          <ac:spMkLst>
            <pc:docMk/>
            <pc:sldMk cId="2084428776" sldId="1257"/>
            <ac:spMk id="6" creationId="{528046B0-3474-062B-11FA-9626F60FE373}"/>
          </ac:spMkLst>
        </pc:spChg>
        <pc:spChg chg="mod">
          <ac:chgData name="Έλια Αποστολοπούλου" userId="55324f8b-f5ef-49c9-8ce3-afc1f275c581" providerId="ADAL" clId="{6415B64A-6679-4FBD-B0B0-D37264004EED}" dt="2025-07-22T19:51:58.499" v="400" actId="1076"/>
          <ac:spMkLst>
            <pc:docMk/>
            <pc:sldMk cId="2084428776" sldId="1257"/>
            <ac:spMk id="7" creationId="{7DAA1D55-1870-F495-0545-E0B84E32A7A2}"/>
          </ac:spMkLst>
        </pc:spChg>
        <pc:spChg chg="mod">
          <ac:chgData name="Έλια Αποστολοπούλου" userId="55324f8b-f5ef-49c9-8ce3-afc1f275c581" providerId="ADAL" clId="{6415B64A-6679-4FBD-B0B0-D37264004EED}" dt="2025-07-22T19:51:50.122" v="397" actId="1076"/>
          <ac:spMkLst>
            <pc:docMk/>
            <pc:sldMk cId="2084428776" sldId="1257"/>
            <ac:spMk id="9" creationId="{BDD1ADA9-BE1F-E0C0-498F-0DA24445E568}"/>
          </ac:spMkLst>
        </pc:spChg>
        <pc:spChg chg="mod">
          <ac:chgData name="Έλια Αποστολοπούλου" userId="55324f8b-f5ef-49c9-8ce3-afc1f275c581" providerId="ADAL" clId="{6415B64A-6679-4FBD-B0B0-D37264004EED}" dt="2025-07-22T19:51:50.122" v="397" actId="1076"/>
          <ac:spMkLst>
            <pc:docMk/>
            <pc:sldMk cId="2084428776" sldId="1257"/>
            <ac:spMk id="11" creationId="{E30BEDB1-BDDC-26D3-C7D4-D29DC264A8A9}"/>
          </ac:spMkLst>
        </pc:spChg>
        <pc:spChg chg="mod">
          <ac:chgData name="Έλια Αποστολοπούλου" userId="55324f8b-f5ef-49c9-8ce3-afc1f275c581" providerId="ADAL" clId="{6415B64A-6679-4FBD-B0B0-D37264004EED}" dt="2025-07-22T19:49:23.596" v="388" actId="6549"/>
          <ac:spMkLst>
            <pc:docMk/>
            <pc:sldMk cId="2084428776" sldId="1257"/>
            <ac:spMk id="15" creationId="{922BE963-A695-F663-FCCE-6F5EF697BEC6}"/>
          </ac:spMkLst>
        </pc:spChg>
      </pc:sldChg>
      <pc:sldChg chg="addSp modSp mod">
        <pc:chgData name="Έλια Αποστολοπούλου" userId="55324f8b-f5ef-49c9-8ce3-afc1f275c581" providerId="ADAL" clId="{6415B64A-6679-4FBD-B0B0-D37264004EED}" dt="2025-07-22T20:09:02.050" v="947" actId="20577"/>
        <pc:sldMkLst>
          <pc:docMk/>
          <pc:sldMk cId="374853499" sldId="1267"/>
        </pc:sldMkLst>
        <pc:spChg chg="mod">
          <ac:chgData name="Έλια Αποστολοπούλου" userId="55324f8b-f5ef-49c9-8ce3-afc1f275c581" providerId="ADAL" clId="{6415B64A-6679-4FBD-B0B0-D37264004EED}" dt="2025-07-22T20:08:05.305" v="815" actId="1076"/>
          <ac:spMkLst>
            <pc:docMk/>
            <pc:sldMk cId="374853499" sldId="1267"/>
            <ac:spMk id="2" creationId="{5E3BC567-94BB-4262-628A-EE78058B9468}"/>
          </ac:spMkLst>
        </pc:spChg>
        <pc:spChg chg="mod">
          <ac:chgData name="Έλια Αποστολοπούλου" userId="55324f8b-f5ef-49c9-8ce3-afc1f275c581" providerId="ADAL" clId="{6415B64A-6679-4FBD-B0B0-D37264004EED}" dt="2025-07-22T20:08:05.305" v="815" actId="1076"/>
          <ac:spMkLst>
            <pc:docMk/>
            <pc:sldMk cId="374853499" sldId="1267"/>
            <ac:spMk id="3" creationId="{5C3ED296-4734-FEB5-4ECD-9F68976E2D92}"/>
          </ac:spMkLst>
        </pc:spChg>
        <pc:spChg chg="mod">
          <ac:chgData name="Έλια Αποστολοπούλου" userId="55324f8b-f5ef-49c9-8ce3-afc1f275c581" providerId="ADAL" clId="{6415B64A-6679-4FBD-B0B0-D37264004EED}" dt="2025-07-22T20:08:05.305" v="815" actId="1076"/>
          <ac:spMkLst>
            <pc:docMk/>
            <pc:sldMk cId="374853499" sldId="1267"/>
            <ac:spMk id="4" creationId="{8A4718D7-3DF5-788D-2116-1E6ABDDE8122}"/>
          </ac:spMkLst>
        </pc:spChg>
        <pc:spChg chg="mod">
          <ac:chgData name="Έλια Αποστολοπούλου" userId="55324f8b-f5ef-49c9-8ce3-afc1f275c581" providerId="ADAL" clId="{6415B64A-6679-4FBD-B0B0-D37264004EED}" dt="2025-07-22T20:06:59.864" v="800" actId="1076"/>
          <ac:spMkLst>
            <pc:docMk/>
            <pc:sldMk cId="374853499" sldId="1267"/>
            <ac:spMk id="5" creationId="{B8EA7ED4-B212-59B7-C659-3FC289D973C8}"/>
          </ac:spMkLst>
        </pc:spChg>
        <pc:spChg chg="add mod">
          <ac:chgData name="Έλια Αποστολοπούλου" userId="55324f8b-f5ef-49c9-8ce3-afc1f275c581" providerId="ADAL" clId="{6415B64A-6679-4FBD-B0B0-D37264004EED}" dt="2025-07-22T20:07:53.353" v="812" actId="1076"/>
          <ac:spMkLst>
            <pc:docMk/>
            <pc:sldMk cId="374853499" sldId="1267"/>
            <ac:spMk id="6" creationId="{6E0FEC06-DF7F-93D6-B2DC-A4BF98B02D07}"/>
          </ac:spMkLst>
        </pc:spChg>
        <pc:spChg chg="mod">
          <ac:chgData name="Έλια Αποστολοπούλου" userId="55324f8b-f5ef-49c9-8ce3-afc1f275c581" providerId="ADAL" clId="{6415B64A-6679-4FBD-B0B0-D37264004EED}" dt="2025-07-22T20:06:59.864" v="800" actId="1076"/>
          <ac:spMkLst>
            <pc:docMk/>
            <pc:sldMk cId="374853499" sldId="1267"/>
            <ac:spMk id="7" creationId="{0D2772A5-47A2-1F68-6C94-B7BC05677D07}"/>
          </ac:spMkLst>
        </pc:spChg>
        <pc:spChg chg="add mod">
          <ac:chgData name="Έλια Αποστολοπούλου" userId="55324f8b-f5ef-49c9-8ce3-afc1f275c581" providerId="ADAL" clId="{6415B64A-6679-4FBD-B0B0-D37264004EED}" dt="2025-07-22T20:08:27.352" v="868" actId="20577"/>
          <ac:spMkLst>
            <pc:docMk/>
            <pc:sldMk cId="374853499" sldId="1267"/>
            <ac:spMk id="8" creationId="{0FC944FD-384A-F175-BBCD-9BBCD850E561}"/>
          </ac:spMkLst>
        </pc:spChg>
        <pc:spChg chg="mod">
          <ac:chgData name="Έλια Αποστολοπούλου" userId="55324f8b-f5ef-49c9-8ce3-afc1f275c581" providerId="ADAL" clId="{6415B64A-6679-4FBD-B0B0-D37264004EED}" dt="2025-07-22T20:06:59.864" v="800" actId="1076"/>
          <ac:spMkLst>
            <pc:docMk/>
            <pc:sldMk cId="374853499" sldId="1267"/>
            <ac:spMk id="9" creationId="{19473346-F42F-721C-680B-ED62BF16D8C9}"/>
          </ac:spMkLst>
        </pc:spChg>
        <pc:spChg chg="mod">
          <ac:chgData name="Έλια Αποστολοπούλου" userId="55324f8b-f5ef-49c9-8ce3-afc1f275c581" providerId="ADAL" clId="{6415B64A-6679-4FBD-B0B0-D37264004EED}" dt="2025-07-22T20:06:46.013" v="798" actId="20577"/>
          <ac:spMkLst>
            <pc:docMk/>
            <pc:sldMk cId="374853499" sldId="1267"/>
            <ac:spMk id="10" creationId="{1AD9C01A-9629-964C-DCB2-CC8715F16F09}"/>
          </ac:spMkLst>
        </pc:spChg>
        <pc:spChg chg="mod">
          <ac:chgData name="Έλια Αποστολοπούλου" userId="55324f8b-f5ef-49c9-8ce3-afc1f275c581" providerId="ADAL" clId="{6415B64A-6679-4FBD-B0B0-D37264004EED}" dt="2025-07-22T20:06:59.864" v="800" actId="1076"/>
          <ac:spMkLst>
            <pc:docMk/>
            <pc:sldMk cId="374853499" sldId="1267"/>
            <ac:spMk id="11" creationId="{2565FF2C-3AF4-0419-D85C-52163AC3C65B}"/>
          </ac:spMkLst>
        </pc:spChg>
        <pc:spChg chg="add mod">
          <ac:chgData name="Έλια Αποστολοπούλου" userId="55324f8b-f5ef-49c9-8ce3-afc1f275c581" providerId="ADAL" clId="{6415B64A-6679-4FBD-B0B0-D37264004EED}" dt="2025-07-22T20:09:02.050" v="947" actId="20577"/>
          <ac:spMkLst>
            <pc:docMk/>
            <pc:sldMk cId="374853499" sldId="1267"/>
            <ac:spMk id="12" creationId="{B960A1DC-D9ED-4429-7009-F7F919B94BBD}"/>
          </ac:spMkLst>
        </pc:spChg>
      </pc:sldChg>
      <pc:sldChg chg="modSp mod">
        <pc:chgData name="Έλια Αποστολοπούλου" userId="55324f8b-f5ef-49c9-8ce3-afc1f275c581" providerId="ADAL" clId="{6415B64A-6679-4FBD-B0B0-D37264004EED}" dt="2025-07-22T20:22:12.990" v="1159" actId="6549"/>
        <pc:sldMkLst>
          <pc:docMk/>
          <pc:sldMk cId="169613936" sldId="1292"/>
        </pc:sldMkLst>
        <pc:spChg chg="mod">
          <ac:chgData name="Έλια Αποστολοπούλου" userId="55324f8b-f5ef-49c9-8ce3-afc1f275c581" providerId="ADAL" clId="{6415B64A-6679-4FBD-B0B0-D37264004EED}" dt="2025-07-22T20:22:12.990" v="1159" actId="6549"/>
          <ac:spMkLst>
            <pc:docMk/>
            <pc:sldMk cId="169613936" sldId="1292"/>
            <ac:spMk id="16" creationId="{C853DC82-89E3-CE98-035A-A9D6A87D2D90}"/>
          </ac:spMkLst>
        </pc:spChg>
      </pc:sldChg>
      <pc:sldChg chg="modSp mod">
        <pc:chgData name="Έλια Αποστολοπούλου" userId="55324f8b-f5ef-49c9-8ce3-afc1f275c581" providerId="ADAL" clId="{6415B64A-6679-4FBD-B0B0-D37264004EED}" dt="2025-07-23T02:26:22.302" v="1295" actId="1076"/>
        <pc:sldMkLst>
          <pc:docMk/>
          <pc:sldMk cId="0" sldId="1321"/>
        </pc:sldMkLst>
        <pc:spChg chg="mod">
          <ac:chgData name="Έλια Αποστολοπούλου" userId="55324f8b-f5ef-49c9-8ce3-afc1f275c581" providerId="ADAL" clId="{6415B64A-6679-4FBD-B0B0-D37264004EED}" dt="2025-07-23T02:26:18.840" v="1294" actId="1076"/>
          <ac:spMkLst>
            <pc:docMk/>
            <pc:sldMk cId="0" sldId="1321"/>
            <ac:spMk id="24" creationId="{CEE9E3D7-A5CC-C89D-4BCF-35F398896D46}"/>
          </ac:spMkLst>
        </pc:spChg>
        <pc:spChg chg="mod">
          <ac:chgData name="Έλια Αποστολοπούλου" userId="55324f8b-f5ef-49c9-8ce3-afc1f275c581" providerId="ADAL" clId="{6415B64A-6679-4FBD-B0B0-D37264004EED}" dt="2025-07-23T02:26:22.302" v="1295" actId="1076"/>
          <ac:spMkLst>
            <pc:docMk/>
            <pc:sldMk cId="0" sldId="1321"/>
            <ac:spMk id="26" creationId="{005956EE-0EAF-EF13-A147-CF558B020D23}"/>
          </ac:spMkLst>
        </pc:spChg>
        <pc:spChg chg="mod">
          <ac:chgData name="Έλια Αποστολοπούλου" userId="55324f8b-f5ef-49c9-8ce3-afc1f275c581" providerId="ADAL" clId="{6415B64A-6679-4FBD-B0B0-D37264004EED}" dt="2025-07-22T20:27:31.930" v="1169" actId="6549"/>
          <ac:spMkLst>
            <pc:docMk/>
            <pc:sldMk cId="0" sldId="1321"/>
            <ac:spMk id="38" creationId="{CC0FF5CB-9B81-7ACB-CA78-CB0EA52EE6E3}"/>
          </ac:spMkLst>
        </pc:spChg>
      </pc:sldChg>
      <pc:sldChg chg="addSp delSp modSp mod">
        <pc:chgData name="Έλια Αποστολοπούλου" userId="55324f8b-f5ef-49c9-8ce3-afc1f275c581" providerId="ADAL" clId="{6415B64A-6679-4FBD-B0B0-D37264004EED}" dt="2025-07-23T02:56:05.192" v="1964" actId="20577"/>
        <pc:sldMkLst>
          <pc:docMk/>
          <pc:sldMk cId="773167784" sldId="1425"/>
        </pc:sldMkLst>
        <pc:spChg chg="mod">
          <ac:chgData name="Έλια Αποστολοπούλου" userId="55324f8b-f5ef-49c9-8ce3-afc1f275c581" providerId="ADAL" clId="{6415B64A-6679-4FBD-B0B0-D37264004EED}" dt="2025-07-23T02:55:41.811" v="1903" actId="1036"/>
          <ac:spMkLst>
            <pc:docMk/>
            <pc:sldMk cId="773167784" sldId="1425"/>
            <ac:spMk id="2" creationId="{FE310346-1034-C4CC-2912-090C15E6AA1B}"/>
          </ac:spMkLst>
        </pc:spChg>
        <pc:spChg chg="mod">
          <ac:chgData name="Έλια Αποστολοπούλου" userId="55324f8b-f5ef-49c9-8ce3-afc1f275c581" providerId="ADAL" clId="{6415B64A-6679-4FBD-B0B0-D37264004EED}" dt="2025-07-23T02:55:41.811" v="1903" actId="1036"/>
          <ac:spMkLst>
            <pc:docMk/>
            <pc:sldMk cId="773167784" sldId="1425"/>
            <ac:spMk id="3" creationId="{97E9C5DB-7906-3C33-63E2-B6C86143D044}"/>
          </ac:spMkLst>
        </pc:spChg>
        <pc:spChg chg="mod">
          <ac:chgData name="Έλια Αποστολοπούλου" userId="55324f8b-f5ef-49c9-8ce3-afc1f275c581" providerId="ADAL" clId="{6415B64A-6679-4FBD-B0B0-D37264004EED}" dt="2025-07-23T02:55:41.811" v="1903" actId="1036"/>
          <ac:spMkLst>
            <pc:docMk/>
            <pc:sldMk cId="773167784" sldId="1425"/>
            <ac:spMk id="4" creationId="{539C84EB-0F12-B240-F05E-657386377C8B}"/>
          </ac:spMkLst>
        </pc:spChg>
        <pc:spChg chg="mod">
          <ac:chgData name="Έλια Αποστολοπούλου" userId="55324f8b-f5ef-49c9-8ce3-afc1f275c581" providerId="ADAL" clId="{6415B64A-6679-4FBD-B0B0-D37264004EED}" dt="2025-07-23T02:49:57.060" v="1680" actId="14100"/>
          <ac:spMkLst>
            <pc:docMk/>
            <pc:sldMk cId="773167784" sldId="1425"/>
            <ac:spMk id="5" creationId="{BCC004D0-3E92-26B0-EFB5-1EAD4E1B8CCD}"/>
          </ac:spMkLst>
        </pc:spChg>
        <pc:spChg chg="mod">
          <ac:chgData name="Έλια Αποστολοπούλου" userId="55324f8b-f5ef-49c9-8ce3-afc1f275c581" providerId="ADAL" clId="{6415B64A-6679-4FBD-B0B0-D37264004EED}" dt="2025-07-23T02:55:41.811" v="1903" actId="1036"/>
          <ac:spMkLst>
            <pc:docMk/>
            <pc:sldMk cId="773167784" sldId="1425"/>
            <ac:spMk id="6" creationId="{50D7C314-2C92-8CC8-9202-8EE625EF4D0E}"/>
          </ac:spMkLst>
        </pc:spChg>
        <pc:spChg chg="mod">
          <ac:chgData name="Έλια Αποστολοπούλου" userId="55324f8b-f5ef-49c9-8ce3-afc1f275c581" providerId="ADAL" clId="{6415B64A-6679-4FBD-B0B0-D37264004EED}" dt="2025-07-23T02:55:50.119" v="1942" actId="1036"/>
          <ac:spMkLst>
            <pc:docMk/>
            <pc:sldMk cId="773167784" sldId="1425"/>
            <ac:spMk id="7" creationId="{4EDBA7AA-78C5-4E8C-718D-D5AC33449018}"/>
          </ac:spMkLst>
        </pc:spChg>
        <pc:spChg chg="add mod">
          <ac:chgData name="Έλια Αποστολοπούλου" userId="55324f8b-f5ef-49c9-8ce3-afc1f275c581" providerId="ADAL" clId="{6415B64A-6679-4FBD-B0B0-D37264004EED}" dt="2025-07-23T02:56:05.192" v="1964" actId="20577"/>
          <ac:spMkLst>
            <pc:docMk/>
            <pc:sldMk cId="773167784" sldId="1425"/>
            <ac:spMk id="8" creationId="{2044EEFF-FB04-CF73-3FDE-E2BE5B7922B7}"/>
          </ac:spMkLst>
        </pc:spChg>
        <pc:spChg chg="mod">
          <ac:chgData name="Έλια Αποστολοπούλου" userId="55324f8b-f5ef-49c9-8ce3-afc1f275c581" providerId="ADAL" clId="{6415B64A-6679-4FBD-B0B0-D37264004EED}" dt="2025-07-23T02:55:50.119" v="1942" actId="1036"/>
          <ac:spMkLst>
            <pc:docMk/>
            <pc:sldMk cId="773167784" sldId="1425"/>
            <ac:spMk id="11" creationId="{C5FB73E6-5E41-5385-C7E7-CA17AD30FEA8}"/>
          </ac:spMkLst>
        </pc:spChg>
        <pc:spChg chg="del">
          <ac:chgData name="Έλια Αποστολοπούλου" userId="55324f8b-f5ef-49c9-8ce3-afc1f275c581" providerId="ADAL" clId="{6415B64A-6679-4FBD-B0B0-D37264004EED}" dt="2025-07-23T02:38:07.693" v="1454" actId="478"/>
          <ac:spMkLst>
            <pc:docMk/>
            <pc:sldMk cId="773167784" sldId="1425"/>
            <ac:spMk id="12" creationId="{160C68F2-6C8E-7100-D0F7-18BF01E7F77F}"/>
          </ac:spMkLst>
        </pc:spChg>
        <pc:spChg chg="mod">
          <ac:chgData name="Έλια Αποστολοπούλου" userId="55324f8b-f5ef-49c9-8ce3-afc1f275c581" providerId="ADAL" clId="{6415B64A-6679-4FBD-B0B0-D37264004EED}" dt="2025-07-23T02:55:50.119" v="1942" actId="1036"/>
          <ac:spMkLst>
            <pc:docMk/>
            <pc:sldMk cId="773167784" sldId="1425"/>
            <ac:spMk id="13" creationId="{A36AE588-0EFC-C3D2-0434-F5C9555FB207}"/>
          </ac:spMkLst>
        </pc:spChg>
        <pc:spChg chg="mod">
          <ac:chgData name="Έλια Αποστολοπούλου" userId="55324f8b-f5ef-49c9-8ce3-afc1f275c581" providerId="ADAL" clId="{6415B64A-6679-4FBD-B0B0-D37264004EED}" dt="2025-07-23T02:51:10.041" v="1693" actId="1076"/>
          <ac:spMkLst>
            <pc:docMk/>
            <pc:sldMk cId="773167784" sldId="1425"/>
            <ac:spMk id="16" creationId="{059B4DA9-4717-03AF-7BA2-A21F281A0F35}"/>
          </ac:spMkLst>
        </pc:spChg>
        <pc:spChg chg="mod">
          <ac:chgData name="Έλια Αποστολοπούλου" userId="55324f8b-f5ef-49c9-8ce3-afc1f275c581" providerId="ADAL" clId="{6415B64A-6679-4FBD-B0B0-D37264004EED}" dt="2025-07-23T02:55:50.119" v="1942" actId="1036"/>
          <ac:spMkLst>
            <pc:docMk/>
            <pc:sldMk cId="773167784" sldId="1425"/>
            <ac:spMk id="17" creationId="{8BFF5A9E-2C6C-90B0-0EB0-07649995F7E7}"/>
          </ac:spMkLst>
        </pc:spChg>
        <pc:spChg chg="mod">
          <ac:chgData name="Έλια Αποστολοπούλου" userId="55324f8b-f5ef-49c9-8ce3-afc1f275c581" providerId="ADAL" clId="{6415B64A-6679-4FBD-B0B0-D37264004EED}" dt="2025-07-23T02:55:50.119" v="1942" actId="1036"/>
          <ac:spMkLst>
            <pc:docMk/>
            <pc:sldMk cId="773167784" sldId="1425"/>
            <ac:spMk id="18" creationId="{320A502A-ED57-B16A-170F-7781CE3948F0}"/>
          </ac:spMkLst>
        </pc:spChg>
        <pc:spChg chg="mod">
          <ac:chgData name="Έλια Αποστολοπούλου" userId="55324f8b-f5ef-49c9-8ce3-afc1f275c581" providerId="ADAL" clId="{6415B64A-6679-4FBD-B0B0-D37264004EED}" dt="2025-07-23T02:55:50.119" v="1942" actId="1036"/>
          <ac:spMkLst>
            <pc:docMk/>
            <pc:sldMk cId="773167784" sldId="1425"/>
            <ac:spMk id="19" creationId="{D28671AE-E56A-F1BE-E497-1C1AACAE0D30}"/>
          </ac:spMkLst>
        </pc:spChg>
        <pc:spChg chg="mod">
          <ac:chgData name="Έλια Αποστολοπούλου" userId="55324f8b-f5ef-49c9-8ce3-afc1f275c581" providerId="ADAL" clId="{6415B64A-6679-4FBD-B0B0-D37264004EED}" dt="2025-07-23T02:55:50.119" v="1942" actId="1036"/>
          <ac:spMkLst>
            <pc:docMk/>
            <pc:sldMk cId="773167784" sldId="1425"/>
            <ac:spMk id="23" creationId="{B4B79B33-68FD-2963-782E-2ADE00BFA154}"/>
          </ac:spMkLst>
        </pc:spChg>
        <pc:spChg chg="mod">
          <ac:chgData name="Έλια Αποστολοπούλου" userId="55324f8b-f5ef-49c9-8ce3-afc1f275c581" providerId="ADAL" clId="{6415B64A-6679-4FBD-B0B0-D37264004EED}" dt="2025-07-23T02:55:50.119" v="1942" actId="1036"/>
          <ac:spMkLst>
            <pc:docMk/>
            <pc:sldMk cId="773167784" sldId="1425"/>
            <ac:spMk id="24" creationId="{1269B2A4-9882-01CD-DA20-53C68D54542E}"/>
          </ac:spMkLst>
        </pc:spChg>
        <pc:spChg chg="mod">
          <ac:chgData name="Έλια Αποστολοπούλου" userId="55324f8b-f5ef-49c9-8ce3-afc1f275c581" providerId="ADAL" clId="{6415B64A-6679-4FBD-B0B0-D37264004EED}" dt="2025-07-23T02:55:50.119" v="1942" actId="1036"/>
          <ac:spMkLst>
            <pc:docMk/>
            <pc:sldMk cId="773167784" sldId="1425"/>
            <ac:spMk id="25" creationId="{C3E8A3A1-82F2-BD00-3355-CED7C50EBC8E}"/>
          </ac:spMkLst>
        </pc:spChg>
        <pc:spChg chg="del">
          <ac:chgData name="Έλια Αποστολοπούλου" userId="55324f8b-f5ef-49c9-8ce3-afc1f275c581" providerId="ADAL" clId="{6415B64A-6679-4FBD-B0B0-D37264004EED}" dt="2025-07-23T02:53:19.516" v="1745" actId="478"/>
          <ac:spMkLst>
            <pc:docMk/>
            <pc:sldMk cId="773167784" sldId="1425"/>
            <ac:spMk id="27" creationId="{075B6790-2994-3C2B-1019-D2E9E4B3115F}"/>
          </ac:spMkLst>
        </pc:spChg>
        <pc:spChg chg="mod">
          <ac:chgData name="Έλια Αποστολοπούλου" userId="55324f8b-f5ef-49c9-8ce3-afc1f275c581" providerId="ADAL" clId="{6415B64A-6679-4FBD-B0B0-D37264004EED}" dt="2025-07-23T02:55:50.119" v="1942" actId="1036"/>
          <ac:spMkLst>
            <pc:docMk/>
            <pc:sldMk cId="773167784" sldId="1425"/>
            <ac:spMk id="29" creationId="{D3DBC357-4596-7ADF-BE91-8233D8B0D2B0}"/>
          </ac:spMkLst>
        </pc:spChg>
        <pc:spChg chg="del">
          <ac:chgData name="Έλια Αποστολοπούλου" userId="55324f8b-f5ef-49c9-8ce3-afc1f275c581" providerId="ADAL" clId="{6415B64A-6679-4FBD-B0B0-D37264004EED}" dt="2025-07-23T02:38:33.099" v="1456" actId="478"/>
          <ac:spMkLst>
            <pc:docMk/>
            <pc:sldMk cId="773167784" sldId="1425"/>
            <ac:spMk id="30" creationId="{A6CCC9A4-8256-99CF-8C60-B77251FD1142}"/>
          </ac:spMkLst>
        </pc:spChg>
        <pc:spChg chg="del">
          <ac:chgData name="Έλια Αποστολοπούλου" userId="55324f8b-f5ef-49c9-8ce3-afc1f275c581" providerId="ADAL" clId="{6415B64A-6679-4FBD-B0B0-D37264004EED}" dt="2025-07-23T02:38:31.685" v="1455" actId="478"/>
          <ac:spMkLst>
            <pc:docMk/>
            <pc:sldMk cId="773167784" sldId="1425"/>
            <ac:spMk id="31" creationId="{011F5A8F-D726-52D1-F044-4E2E4F747175}"/>
          </ac:spMkLst>
        </pc:spChg>
        <pc:spChg chg="del">
          <ac:chgData name="Έλια Αποστολοπούλου" userId="55324f8b-f5ef-49c9-8ce3-afc1f275c581" providerId="ADAL" clId="{6415B64A-6679-4FBD-B0B0-D37264004EED}" dt="2025-07-23T02:38:34.817" v="1457" actId="478"/>
          <ac:spMkLst>
            <pc:docMk/>
            <pc:sldMk cId="773167784" sldId="1425"/>
            <ac:spMk id="35" creationId="{A1CFAA10-9B21-FD7C-31B6-B87E183A525F}"/>
          </ac:spMkLst>
        </pc:spChg>
        <pc:spChg chg="del">
          <ac:chgData name="Έλια Αποστολοπούλου" userId="55324f8b-f5ef-49c9-8ce3-afc1f275c581" providerId="ADAL" clId="{6415B64A-6679-4FBD-B0B0-D37264004EED}" dt="2025-07-23T02:38:36.235" v="1458" actId="478"/>
          <ac:spMkLst>
            <pc:docMk/>
            <pc:sldMk cId="773167784" sldId="1425"/>
            <ac:spMk id="36" creationId="{9E9B1F5C-5F4B-1631-8B72-7756CFE435BA}"/>
          </ac:spMkLst>
        </pc:spChg>
        <pc:cxnChg chg="add mod">
          <ac:chgData name="Έλια Αποστολοπούλου" userId="55324f8b-f5ef-49c9-8ce3-afc1f275c581" providerId="ADAL" clId="{6415B64A-6679-4FBD-B0B0-D37264004EED}" dt="2025-07-23T02:55:56.925" v="1943"/>
          <ac:cxnSpMkLst>
            <pc:docMk/>
            <pc:sldMk cId="773167784" sldId="1425"/>
            <ac:cxnSpMk id="9" creationId="{8E104D50-99D9-1ADF-532B-9C16F9862726}"/>
          </ac:cxnSpMkLst>
        </pc:cxnChg>
      </pc:sldChg>
      <pc:sldChg chg="modSp mod">
        <pc:chgData name="Έλια Αποστολοπούλου" userId="55324f8b-f5ef-49c9-8ce3-afc1f275c581" providerId="ADAL" clId="{6415B64A-6679-4FBD-B0B0-D37264004EED}" dt="2025-07-23T02:25:27.533" v="1291" actId="6549"/>
        <pc:sldMkLst>
          <pc:docMk/>
          <pc:sldMk cId="0" sldId="1468"/>
        </pc:sldMkLst>
        <pc:spChg chg="mod">
          <ac:chgData name="Έλια Αποστολοπούλου" userId="55324f8b-f5ef-49c9-8ce3-afc1f275c581" providerId="ADAL" clId="{6415B64A-6679-4FBD-B0B0-D37264004EED}" dt="2025-07-23T02:25:27.533" v="1291" actId="6549"/>
          <ac:spMkLst>
            <pc:docMk/>
            <pc:sldMk cId="0" sldId="1468"/>
            <ac:spMk id="7" creationId="{42D900E0-5A42-1464-131C-4705BC1B352D}"/>
          </ac:spMkLst>
        </pc:spChg>
        <pc:spChg chg="mod">
          <ac:chgData name="Έλια Αποστολοπούλου" userId="55324f8b-f5ef-49c9-8ce3-afc1f275c581" providerId="ADAL" clId="{6415B64A-6679-4FBD-B0B0-D37264004EED}" dt="2025-07-23T02:25:14.521" v="1284" actId="1076"/>
          <ac:spMkLst>
            <pc:docMk/>
            <pc:sldMk cId="0" sldId="1468"/>
            <ac:spMk id="8" creationId="{B7A28AEC-C2B9-CA8C-583E-0849D82190B5}"/>
          </ac:spMkLst>
        </pc:spChg>
        <pc:spChg chg="mod">
          <ac:chgData name="Έλια Αποστολοπούλου" userId="55324f8b-f5ef-49c9-8ce3-afc1f275c581" providerId="ADAL" clId="{6415B64A-6679-4FBD-B0B0-D37264004EED}" dt="2025-07-22T20:24:36.560" v="1164"/>
          <ac:spMkLst>
            <pc:docMk/>
            <pc:sldMk cId="0" sldId="1468"/>
            <ac:spMk id="15" creationId="{67F6C22B-9095-D61A-B9A9-21811407917C}"/>
          </ac:spMkLst>
        </pc:spChg>
        <pc:spChg chg="mod">
          <ac:chgData name="Έλια Αποστολοπούλου" userId="55324f8b-f5ef-49c9-8ce3-afc1f275c581" providerId="ADAL" clId="{6415B64A-6679-4FBD-B0B0-D37264004EED}" dt="2025-07-22T20:24:32.237" v="1163" actId="6549"/>
          <ac:spMkLst>
            <pc:docMk/>
            <pc:sldMk cId="0" sldId="1468"/>
            <ac:spMk id="17" creationId="{BA1EACE6-BB19-CE5C-3D77-9E423585D9E4}"/>
          </ac:spMkLst>
        </pc:spChg>
      </pc:sldChg>
      <pc:sldChg chg="del">
        <pc:chgData name="Έλια Αποστολοπούλου" userId="55324f8b-f5ef-49c9-8ce3-afc1f275c581" providerId="ADAL" clId="{6415B64A-6679-4FBD-B0B0-D37264004EED}" dt="2025-07-22T19:41:24.187" v="293" actId="47"/>
        <pc:sldMkLst>
          <pc:docMk/>
          <pc:sldMk cId="1765804339" sldId="1476"/>
        </pc:sldMkLst>
      </pc:sldChg>
      <pc:sldChg chg="del">
        <pc:chgData name="Έλια Αποστολοπούλου" userId="55324f8b-f5ef-49c9-8ce3-afc1f275c581" providerId="ADAL" clId="{6415B64A-6679-4FBD-B0B0-D37264004EED}" dt="2025-07-22T20:30:45.832" v="1270" actId="47"/>
        <pc:sldMkLst>
          <pc:docMk/>
          <pc:sldMk cId="2722838732" sldId="1485"/>
        </pc:sldMkLst>
      </pc:sldChg>
      <pc:sldChg chg="modSp mod">
        <pc:chgData name="Έλια Αποστολοπούλου" userId="55324f8b-f5ef-49c9-8ce3-afc1f275c581" providerId="ADAL" clId="{6415B64A-6679-4FBD-B0B0-D37264004EED}" dt="2025-07-23T02:56:28.973" v="1967" actId="1076"/>
        <pc:sldMkLst>
          <pc:docMk/>
          <pc:sldMk cId="3640972844" sldId="1486"/>
        </pc:sldMkLst>
        <pc:spChg chg="mod">
          <ac:chgData name="Έλια Αποστολοπούλου" userId="55324f8b-f5ef-49c9-8ce3-afc1f275c581" providerId="ADAL" clId="{6415B64A-6679-4FBD-B0B0-D37264004EED}" dt="2025-07-23T02:56:28.973" v="1967" actId="1076"/>
          <ac:spMkLst>
            <pc:docMk/>
            <pc:sldMk cId="3640972844" sldId="1486"/>
            <ac:spMk id="17" creationId="{1B02BAAC-1B23-E334-4FBE-17A9F48437BD}"/>
          </ac:spMkLst>
        </pc:spChg>
      </pc:sldChg>
      <pc:sldChg chg="del">
        <pc:chgData name="Έλια Αποστολοπούλου" userId="55324f8b-f5ef-49c9-8ce3-afc1f275c581" providerId="ADAL" clId="{6415B64A-6679-4FBD-B0B0-D37264004EED}" dt="2025-07-22T20:12:34.651" v="948" actId="47"/>
        <pc:sldMkLst>
          <pc:docMk/>
          <pc:sldMk cId="1452844303" sldId="1614"/>
        </pc:sldMkLst>
      </pc:sldChg>
      <pc:sldChg chg="modSp mod">
        <pc:chgData name="Έλια Αποστολοπούλου" userId="55324f8b-f5ef-49c9-8ce3-afc1f275c581" providerId="ADAL" clId="{6415B64A-6679-4FBD-B0B0-D37264004EED}" dt="2025-07-23T02:25:49.024" v="1293" actId="113"/>
        <pc:sldMkLst>
          <pc:docMk/>
          <pc:sldMk cId="3463634899" sldId="1703"/>
        </pc:sldMkLst>
        <pc:spChg chg="mod">
          <ac:chgData name="Έλια Αποστολοπούλου" userId="55324f8b-f5ef-49c9-8ce3-afc1f275c581" providerId="ADAL" clId="{6415B64A-6679-4FBD-B0B0-D37264004EED}" dt="2025-07-23T02:25:43.898" v="1292" actId="113"/>
          <ac:spMkLst>
            <pc:docMk/>
            <pc:sldMk cId="3463634899" sldId="1703"/>
            <ac:spMk id="15" creationId="{3BE62FD4-6A10-2F45-5A04-2847ED1761DF}"/>
          </ac:spMkLst>
        </pc:spChg>
        <pc:spChg chg="mod">
          <ac:chgData name="Έλια Αποστολοπούλου" userId="55324f8b-f5ef-49c9-8ce3-afc1f275c581" providerId="ADAL" clId="{6415B64A-6679-4FBD-B0B0-D37264004EED}" dt="2025-07-23T02:25:49.024" v="1293" actId="113"/>
          <ac:spMkLst>
            <pc:docMk/>
            <pc:sldMk cId="3463634899" sldId="1703"/>
            <ac:spMk id="25" creationId="{7531C973-372F-5071-ECD4-5E10EB7D75AE}"/>
          </ac:spMkLst>
        </pc:spChg>
      </pc:sldChg>
      <pc:sldChg chg="addSp modSp mod">
        <pc:chgData name="Έλια Αποστολοπούλου" userId="55324f8b-f5ef-49c9-8ce3-afc1f275c581" providerId="ADAL" clId="{6415B64A-6679-4FBD-B0B0-D37264004EED}" dt="2025-07-22T20:00:06.651" v="648" actId="1076"/>
        <pc:sldMkLst>
          <pc:docMk/>
          <pc:sldMk cId="0" sldId="1705"/>
        </pc:sldMkLst>
        <pc:spChg chg="add mod">
          <ac:chgData name="Έλια Αποστολοπούλου" userId="55324f8b-f5ef-49c9-8ce3-afc1f275c581" providerId="ADAL" clId="{6415B64A-6679-4FBD-B0B0-D37264004EED}" dt="2025-07-22T20:00:03.374" v="647" actId="1076"/>
          <ac:spMkLst>
            <pc:docMk/>
            <pc:sldMk cId="0" sldId="1705"/>
            <ac:spMk id="2" creationId="{AC281EED-0804-6C78-C6A6-2C6530B57F43}"/>
          </ac:spMkLst>
        </pc:spChg>
        <pc:spChg chg="mod">
          <ac:chgData name="Έλια Αποστολοπούλου" userId="55324f8b-f5ef-49c9-8ce3-afc1f275c581" providerId="ADAL" clId="{6415B64A-6679-4FBD-B0B0-D37264004EED}" dt="2025-07-22T19:59:43.429" v="621" actId="14100"/>
          <ac:spMkLst>
            <pc:docMk/>
            <pc:sldMk cId="0" sldId="1705"/>
            <ac:spMk id="8" creationId="{83E2E25E-569E-A52E-E029-54881B596C06}"/>
          </ac:spMkLst>
        </pc:spChg>
        <pc:spChg chg="mod">
          <ac:chgData name="Έλια Αποστολοπούλου" userId="55324f8b-f5ef-49c9-8ce3-afc1f275c581" providerId="ADAL" clId="{6415B64A-6679-4FBD-B0B0-D37264004EED}" dt="2025-07-22T19:59:50.467" v="645" actId="1036"/>
          <ac:spMkLst>
            <pc:docMk/>
            <pc:sldMk cId="0" sldId="1705"/>
            <ac:spMk id="10" creationId="{BB1DAD36-145F-9EEE-EDD9-505AFA4A2A78}"/>
          </ac:spMkLst>
        </pc:spChg>
        <pc:spChg chg="mod">
          <ac:chgData name="Έλια Αποστολοπούλου" userId="55324f8b-f5ef-49c9-8ce3-afc1f275c581" providerId="ADAL" clId="{6415B64A-6679-4FBD-B0B0-D37264004EED}" dt="2025-07-22T19:58:56.756" v="611" actId="1076"/>
          <ac:spMkLst>
            <pc:docMk/>
            <pc:sldMk cId="0" sldId="1705"/>
            <ac:spMk id="12" creationId="{A40412B9-95DB-C9CC-4713-6DDBD4C6D09C}"/>
          </ac:spMkLst>
        </pc:spChg>
        <pc:spChg chg="mod">
          <ac:chgData name="Έλια Αποστολοπούλου" userId="55324f8b-f5ef-49c9-8ce3-afc1f275c581" providerId="ADAL" clId="{6415B64A-6679-4FBD-B0B0-D37264004EED}" dt="2025-07-22T19:59:39.310" v="620" actId="14100"/>
          <ac:spMkLst>
            <pc:docMk/>
            <pc:sldMk cId="0" sldId="1705"/>
            <ac:spMk id="18" creationId="{849C313A-D518-559B-0A09-679A03FBAF47}"/>
          </ac:spMkLst>
        </pc:spChg>
        <pc:spChg chg="mod">
          <ac:chgData name="Έλια Αποστολοπούλου" userId="55324f8b-f5ef-49c9-8ce3-afc1f275c581" providerId="ADAL" clId="{6415B64A-6679-4FBD-B0B0-D37264004EED}" dt="2025-07-22T19:59:50.467" v="645" actId="1036"/>
          <ac:spMkLst>
            <pc:docMk/>
            <pc:sldMk cId="0" sldId="1705"/>
            <ac:spMk id="19" creationId="{52672512-8CA6-EE78-FD86-15DC076CC701}"/>
          </ac:spMkLst>
        </pc:spChg>
        <pc:spChg chg="mod">
          <ac:chgData name="Έλια Αποστολοπούλου" userId="55324f8b-f5ef-49c9-8ce3-afc1f275c581" providerId="ADAL" clId="{6415B64A-6679-4FBD-B0B0-D37264004EED}" dt="2025-07-22T19:59:06.993" v="613" actId="1076"/>
          <ac:spMkLst>
            <pc:docMk/>
            <pc:sldMk cId="0" sldId="1705"/>
            <ac:spMk id="20" creationId="{63B5AF09-22C8-51E7-219E-35EBA2C1A1D8}"/>
          </ac:spMkLst>
        </pc:spChg>
        <pc:spChg chg="mod">
          <ac:chgData name="Έλια Αποστολοπούλου" userId="55324f8b-f5ef-49c9-8ce3-afc1f275c581" providerId="ADAL" clId="{6415B64A-6679-4FBD-B0B0-D37264004EED}" dt="2025-07-22T19:59:34.161" v="619" actId="14100"/>
          <ac:spMkLst>
            <pc:docMk/>
            <pc:sldMk cId="0" sldId="1705"/>
            <ac:spMk id="25" creationId="{717E42A4-20C4-A81E-C28C-8F657CDAFD6E}"/>
          </ac:spMkLst>
        </pc:spChg>
        <pc:spChg chg="mod">
          <ac:chgData name="Έλια Αποστολοπούλου" userId="55324f8b-f5ef-49c9-8ce3-afc1f275c581" providerId="ADAL" clId="{6415B64A-6679-4FBD-B0B0-D37264004EED}" dt="2025-07-22T19:59:50.467" v="645" actId="1036"/>
          <ac:spMkLst>
            <pc:docMk/>
            <pc:sldMk cId="0" sldId="1705"/>
            <ac:spMk id="26" creationId="{C45002D9-CBAE-CDAF-80E7-63BA6748F77B}"/>
          </ac:spMkLst>
        </pc:spChg>
        <pc:spChg chg="mod">
          <ac:chgData name="Έλια Αποστολοπούλου" userId="55324f8b-f5ef-49c9-8ce3-afc1f275c581" providerId="ADAL" clId="{6415B64A-6679-4FBD-B0B0-D37264004EED}" dt="2025-07-22T19:59:30.498" v="618" actId="1076"/>
          <ac:spMkLst>
            <pc:docMk/>
            <pc:sldMk cId="0" sldId="1705"/>
            <ac:spMk id="27" creationId="{0513AF0D-5214-937B-3367-604089CB7E64}"/>
          </ac:spMkLst>
        </pc:spChg>
        <pc:spChg chg="mod">
          <ac:chgData name="Έλια Αποστολοπούλου" userId="55324f8b-f5ef-49c9-8ce3-afc1f275c581" providerId="ADAL" clId="{6415B64A-6679-4FBD-B0B0-D37264004EED}" dt="2025-07-22T19:59:27.154" v="617" actId="1076"/>
          <ac:spMkLst>
            <pc:docMk/>
            <pc:sldMk cId="0" sldId="1705"/>
            <ac:spMk id="34" creationId="{24408E75-5427-D6EF-276B-9964BD623683}"/>
          </ac:spMkLst>
        </pc:spChg>
        <pc:spChg chg="mod">
          <ac:chgData name="Έλια Αποστολοπούλου" userId="55324f8b-f5ef-49c9-8ce3-afc1f275c581" providerId="ADAL" clId="{6415B64A-6679-4FBD-B0B0-D37264004EED}" dt="2025-07-22T19:58:45.170" v="609" actId="1036"/>
          <ac:spMkLst>
            <pc:docMk/>
            <pc:sldMk cId="0" sldId="1705"/>
            <ac:spMk id="53" creationId="{8677309B-3984-83F0-AF76-2198C598BAB3}"/>
          </ac:spMkLst>
        </pc:spChg>
        <pc:spChg chg="mod">
          <ac:chgData name="Έλια Αποστολοπούλου" userId="55324f8b-f5ef-49c9-8ce3-afc1f275c581" providerId="ADAL" clId="{6415B64A-6679-4FBD-B0B0-D37264004EED}" dt="2025-07-22T19:58:45.170" v="609" actId="1036"/>
          <ac:spMkLst>
            <pc:docMk/>
            <pc:sldMk cId="0" sldId="1705"/>
            <ac:spMk id="58" creationId="{029766B1-9EBB-86BC-4907-252C4A16962F}"/>
          </ac:spMkLst>
        </pc:spChg>
        <pc:spChg chg="mod">
          <ac:chgData name="Έλια Αποστολοπούλου" userId="55324f8b-f5ef-49c9-8ce3-afc1f275c581" providerId="ADAL" clId="{6415B64A-6679-4FBD-B0B0-D37264004EED}" dt="2025-07-22T19:58:45.170" v="609" actId="1036"/>
          <ac:spMkLst>
            <pc:docMk/>
            <pc:sldMk cId="0" sldId="1705"/>
            <ac:spMk id="59" creationId="{3643520C-9A49-23E5-DB53-54CEE01CC121}"/>
          </ac:spMkLst>
        </pc:spChg>
        <pc:cxnChg chg="add mod">
          <ac:chgData name="Έλια Αποστολοπούλου" userId="55324f8b-f5ef-49c9-8ce3-afc1f275c581" providerId="ADAL" clId="{6415B64A-6679-4FBD-B0B0-D37264004EED}" dt="2025-07-22T20:00:06.651" v="648" actId="1076"/>
          <ac:cxnSpMkLst>
            <pc:docMk/>
            <pc:sldMk cId="0" sldId="1705"/>
            <ac:cxnSpMk id="3" creationId="{F33AE31B-F179-C699-19F5-F3A87488D38A}"/>
          </ac:cxnSpMkLst>
        </pc:cxnChg>
      </pc:sldChg>
      <pc:sldChg chg="modSp mod">
        <pc:chgData name="Έλια Αποστολοπούλου" userId="55324f8b-f5ef-49c9-8ce3-afc1f275c581" providerId="ADAL" clId="{6415B64A-6679-4FBD-B0B0-D37264004EED}" dt="2025-07-23T02:24:46.139" v="1278" actId="1076"/>
        <pc:sldMkLst>
          <pc:docMk/>
          <pc:sldMk cId="194678823" sldId="1729"/>
        </pc:sldMkLst>
        <pc:spChg chg="mod">
          <ac:chgData name="Έλια Αποστολοπούλου" userId="55324f8b-f5ef-49c9-8ce3-afc1f275c581" providerId="ADAL" clId="{6415B64A-6679-4FBD-B0B0-D37264004EED}" dt="2025-07-23T02:24:46.139" v="1278" actId="1076"/>
          <ac:spMkLst>
            <pc:docMk/>
            <pc:sldMk cId="194678823" sldId="1729"/>
            <ac:spMk id="13" creationId="{E56A05DF-0D2B-5B96-A306-01BF32E888FE}"/>
          </ac:spMkLst>
        </pc:spChg>
      </pc:sldChg>
      <pc:sldChg chg="addSp delSp modSp mod">
        <pc:chgData name="Έλια Αποστολοπούλου" userId="55324f8b-f5ef-49c9-8ce3-afc1f275c581" providerId="ADAL" clId="{6415B64A-6679-4FBD-B0B0-D37264004EED}" dt="2025-07-22T19:24:29.246" v="183" actId="20577"/>
        <pc:sldMkLst>
          <pc:docMk/>
          <pc:sldMk cId="3422338694" sldId="1740"/>
        </pc:sldMkLst>
        <pc:spChg chg="mod">
          <ac:chgData name="Έλια Αποστολοπούλου" userId="55324f8b-f5ef-49c9-8ce3-afc1f275c581" providerId="ADAL" clId="{6415B64A-6679-4FBD-B0B0-D37264004EED}" dt="2025-07-22T19:20:50.379" v="96" actId="1076"/>
          <ac:spMkLst>
            <pc:docMk/>
            <pc:sldMk cId="3422338694" sldId="1740"/>
            <ac:spMk id="2" creationId="{7D14F6CA-611E-E3D6-3802-2720BD34C534}"/>
          </ac:spMkLst>
        </pc:spChg>
        <pc:spChg chg="add del mod">
          <ac:chgData name="Έλια Αποστολοπούλου" userId="55324f8b-f5ef-49c9-8ce3-afc1f275c581" providerId="ADAL" clId="{6415B64A-6679-4FBD-B0B0-D37264004EED}" dt="2025-07-22T19:21:30.710" v="101" actId="478"/>
          <ac:spMkLst>
            <pc:docMk/>
            <pc:sldMk cId="3422338694" sldId="1740"/>
            <ac:spMk id="3" creationId="{0319712C-CC19-85E5-4C05-E5D5E768502B}"/>
          </ac:spMkLst>
        </pc:spChg>
        <pc:spChg chg="mod">
          <ac:chgData name="Έλια Αποστολοπούλου" userId="55324f8b-f5ef-49c9-8ce3-afc1f275c581" providerId="ADAL" clId="{6415B64A-6679-4FBD-B0B0-D37264004EED}" dt="2025-07-22T19:19:36.875" v="89" actId="20577"/>
          <ac:spMkLst>
            <pc:docMk/>
            <pc:sldMk cId="3422338694" sldId="1740"/>
            <ac:spMk id="4" creationId="{E12490A5-AB33-90C6-D493-39279CADE019}"/>
          </ac:spMkLst>
        </pc:spChg>
        <pc:spChg chg="mod">
          <ac:chgData name="Έλια Αποστολοπούλου" userId="55324f8b-f5ef-49c9-8ce3-afc1f275c581" providerId="ADAL" clId="{6415B64A-6679-4FBD-B0B0-D37264004EED}" dt="2025-07-22T19:19:53.207" v="92" actId="255"/>
          <ac:spMkLst>
            <pc:docMk/>
            <pc:sldMk cId="3422338694" sldId="1740"/>
            <ac:spMk id="5" creationId="{ED12A7F7-D115-D902-7FB0-BEC5CFCDB472}"/>
          </ac:spMkLst>
        </pc:spChg>
        <pc:spChg chg="mod">
          <ac:chgData name="Έλια Αποστολοπούλου" userId="55324f8b-f5ef-49c9-8ce3-afc1f275c581" providerId="ADAL" clId="{6415B64A-6679-4FBD-B0B0-D37264004EED}" dt="2025-07-22T19:19:43.869" v="90" actId="255"/>
          <ac:spMkLst>
            <pc:docMk/>
            <pc:sldMk cId="3422338694" sldId="1740"/>
            <ac:spMk id="6" creationId="{A99299E9-B999-26BB-0C57-BDDAC671130A}"/>
          </ac:spMkLst>
        </pc:spChg>
        <pc:spChg chg="mod">
          <ac:chgData name="Έλια Αποστολοπούλου" userId="55324f8b-f5ef-49c9-8ce3-afc1f275c581" providerId="ADAL" clId="{6415B64A-6679-4FBD-B0B0-D37264004EED}" dt="2025-07-22T19:19:48.310" v="91" actId="255"/>
          <ac:spMkLst>
            <pc:docMk/>
            <pc:sldMk cId="3422338694" sldId="1740"/>
            <ac:spMk id="7" creationId="{02479DD9-7349-1AD4-9275-C0CFB620221E}"/>
          </ac:spMkLst>
        </pc:spChg>
        <pc:spChg chg="add del">
          <ac:chgData name="Έλια Αποστολοπούλου" userId="55324f8b-f5ef-49c9-8ce3-afc1f275c581" providerId="ADAL" clId="{6415B64A-6679-4FBD-B0B0-D37264004EED}" dt="2025-07-22T19:21:04.539" v="100" actId="11529"/>
          <ac:spMkLst>
            <pc:docMk/>
            <pc:sldMk cId="3422338694" sldId="1740"/>
            <ac:spMk id="11" creationId="{2114D15C-24E6-40DE-1176-F6E965196A9B}"/>
          </ac:spMkLst>
        </pc:spChg>
        <pc:spChg chg="add mod">
          <ac:chgData name="Έλια Αποστολοπούλου" userId="55324f8b-f5ef-49c9-8ce3-afc1f275c581" providerId="ADAL" clId="{6415B64A-6679-4FBD-B0B0-D37264004EED}" dt="2025-07-22T19:24:07.126" v="169" actId="17032"/>
          <ac:spMkLst>
            <pc:docMk/>
            <pc:sldMk cId="3422338694" sldId="1740"/>
            <ac:spMk id="13" creationId="{7718E742-1E2E-9E6C-4D7F-1E299E25C315}"/>
          </ac:spMkLst>
        </pc:spChg>
        <pc:spChg chg="add del mod">
          <ac:chgData name="Έλια Αποστολοπούλου" userId="55324f8b-f5ef-49c9-8ce3-afc1f275c581" providerId="ADAL" clId="{6415B64A-6679-4FBD-B0B0-D37264004EED}" dt="2025-07-22T19:22:38.799" v="107" actId="478"/>
          <ac:spMkLst>
            <pc:docMk/>
            <pc:sldMk cId="3422338694" sldId="1740"/>
            <ac:spMk id="14" creationId="{FA65C9AB-BFDF-CD00-07DD-70C7D7E574F5}"/>
          </ac:spMkLst>
        </pc:spChg>
        <pc:spChg chg="mod">
          <ac:chgData name="Έλια Αποστολοπούλου" userId="55324f8b-f5ef-49c9-8ce3-afc1f275c581" providerId="ADAL" clId="{6415B64A-6679-4FBD-B0B0-D37264004EED}" dt="2025-07-22T19:22:27.080" v="104"/>
          <ac:spMkLst>
            <pc:docMk/>
            <pc:sldMk cId="3422338694" sldId="1740"/>
            <ac:spMk id="16" creationId="{98FC0459-856D-0CB1-1EA4-500E349560E0}"/>
          </ac:spMkLst>
        </pc:spChg>
        <pc:spChg chg="mod">
          <ac:chgData name="Έλια Αποστολοπούλου" userId="55324f8b-f5ef-49c9-8ce3-afc1f275c581" providerId="ADAL" clId="{6415B64A-6679-4FBD-B0B0-D37264004EED}" dt="2025-07-22T19:22:27.080" v="104"/>
          <ac:spMkLst>
            <pc:docMk/>
            <pc:sldMk cId="3422338694" sldId="1740"/>
            <ac:spMk id="17" creationId="{2BCBC5E6-C48C-965D-8EFE-FEE3E77BAD90}"/>
          </ac:spMkLst>
        </pc:spChg>
        <pc:spChg chg="mod">
          <ac:chgData name="Έλια Αποστολοπούλου" userId="55324f8b-f5ef-49c9-8ce3-afc1f275c581" providerId="ADAL" clId="{6415B64A-6679-4FBD-B0B0-D37264004EED}" dt="2025-07-22T19:22:27.080" v="104"/>
          <ac:spMkLst>
            <pc:docMk/>
            <pc:sldMk cId="3422338694" sldId="1740"/>
            <ac:spMk id="18" creationId="{3EDEA835-7327-D6AC-23E4-F4E6D50F4C9A}"/>
          </ac:spMkLst>
        </pc:spChg>
        <pc:spChg chg="mod">
          <ac:chgData name="Έλια Αποστολοπούλου" userId="55324f8b-f5ef-49c9-8ce3-afc1f275c581" providerId="ADAL" clId="{6415B64A-6679-4FBD-B0B0-D37264004EED}" dt="2025-07-22T19:22:27.080" v="104"/>
          <ac:spMkLst>
            <pc:docMk/>
            <pc:sldMk cId="3422338694" sldId="1740"/>
            <ac:spMk id="20" creationId="{DAF32951-2027-A895-D0D5-0DE6636591E3}"/>
          </ac:spMkLst>
        </pc:spChg>
        <pc:spChg chg="add mod">
          <ac:chgData name="Έλια Αποστολοπούλου" userId="55324f8b-f5ef-49c9-8ce3-afc1f275c581" providerId="ADAL" clId="{6415B64A-6679-4FBD-B0B0-D37264004EED}" dt="2025-07-22T19:24:29.246" v="183" actId="20577"/>
          <ac:spMkLst>
            <pc:docMk/>
            <pc:sldMk cId="3422338694" sldId="1740"/>
            <ac:spMk id="21" creationId="{FDC21BD9-3929-6A4F-2EA6-31CC20689380}"/>
          </ac:spMkLst>
        </pc:spChg>
        <pc:grpChg chg="add mod ord">
          <ac:chgData name="Έλια Αποστολοπούλου" userId="55324f8b-f5ef-49c9-8ce3-afc1f275c581" providerId="ADAL" clId="{6415B64A-6679-4FBD-B0B0-D37264004EED}" dt="2025-07-22T19:23:16.026" v="117" actId="1076"/>
          <ac:grpSpMkLst>
            <pc:docMk/>
            <pc:sldMk cId="3422338694" sldId="1740"/>
            <ac:grpSpMk id="15" creationId="{98FE4DF8-ED63-F48A-F6BE-0C97BCF45D5F}"/>
          </ac:grpSpMkLst>
        </pc:grpChg>
      </pc:sldChg>
      <pc:sldChg chg="ord">
        <pc:chgData name="Έλια Αποστολοπούλου" userId="55324f8b-f5ef-49c9-8ce3-afc1f275c581" providerId="ADAL" clId="{6415B64A-6679-4FBD-B0B0-D37264004EED}" dt="2025-07-22T19:25:02.973" v="185"/>
        <pc:sldMkLst>
          <pc:docMk/>
          <pc:sldMk cId="144783531" sldId="1741"/>
        </pc:sldMkLst>
      </pc:sldChg>
      <pc:sldChg chg="delSp modSp mod ord">
        <pc:chgData name="Έλια Αποστολοπούλου" userId="55324f8b-f5ef-49c9-8ce3-afc1f275c581" providerId="ADAL" clId="{6415B64A-6679-4FBD-B0B0-D37264004EED}" dt="2025-07-22T19:33:33.667" v="255" actId="1076"/>
        <pc:sldMkLst>
          <pc:docMk/>
          <pc:sldMk cId="862157178" sldId="1743"/>
        </pc:sldMkLst>
        <pc:spChg chg="mod">
          <ac:chgData name="Έλια Αποστολοπούλου" userId="55324f8b-f5ef-49c9-8ce3-afc1f275c581" providerId="ADAL" clId="{6415B64A-6679-4FBD-B0B0-D37264004EED}" dt="2025-07-22T19:31:12.393" v="226" actId="1076"/>
          <ac:spMkLst>
            <pc:docMk/>
            <pc:sldMk cId="862157178" sldId="1743"/>
            <ac:spMk id="7" creationId="{BF8A40A2-7E2B-06D0-FD69-E99192031752}"/>
          </ac:spMkLst>
        </pc:spChg>
        <pc:spChg chg="mod">
          <ac:chgData name="Έλια Αποστολοπούλου" userId="55324f8b-f5ef-49c9-8ce3-afc1f275c581" providerId="ADAL" clId="{6415B64A-6679-4FBD-B0B0-D37264004EED}" dt="2025-07-22T19:31:22.511" v="229" actId="1076"/>
          <ac:spMkLst>
            <pc:docMk/>
            <pc:sldMk cId="862157178" sldId="1743"/>
            <ac:spMk id="8" creationId="{07B44DFA-B7FC-CC52-BB49-55E3FB7BE137}"/>
          </ac:spMkLst>
        </pc:spChg>
        <pc:spChg chg="del">
          <ac:chgData name="Έλια Αποστολοπούλου" userId="55324f8b-f5ef-49c9-8ce3-afc1f275c581" providerId="ADAL" clId="{6415B64A-6679-4FBD-B0B0-D37264004EED}" dt="2025-07-22T19:30:11.257" v="210" actId="478"/>
          <ac:spMkLst>
            <pc:docMk/>
            <pc:sldMk cId="862157178" sldId="1743"/>
            <ac:spMk id="9" creationId="{6ABCCE0E-FD8F-EA1F-A4D2-64E07F9DF539}"/>
          </ac:spMkLst>
        </pc:spChg>
        <pc:spChg chg="mod">
          <ac:chgData name="Έλια Αποστολοπούλου" userId="55324f8b-f5ef-49c9-8ce3-afc1f275c581" providerId="ADAL" clId="{6415B64A-6679-4FBD-B0B0-D37264004EED}" dt="2025-07-22T19:31:16.021" v="227" actId="1076"/>
          <ac:spMkLst>
            <pc:docMk/>
            <pc:sldMk cId="862157178" sldId="1743"/>
            <ac:spMk id="11" creationId="{51705EB8-CBBE-EC61-1062-B12054678034}"/>
          </ac:spMkLst>
        </pc:spChg>
        <pc:spChg chg="mod">
          <ac:chgData name="Έλια Αποστολοπούλου" userId="55324f8b-f5ef-49c9-8ce3-afc1f275c581" providerId="ADAL" clId="{6415B64A-6679-4FBD-B0B0-D37264004EED}" dt="2025-07-22T19:28:56.963" v="198" actId="1076"/>
          <ac:spMkLst>
            <pc:docMk/>
            <pc:sldMk cId="862157178" sldId="1743"/>
            <ac:spMk id="14" creationId="{00000000-0000-0000-0000-000000000000}"/>
          </ac:spMkLst>
        </pc:spChg>
        <pc:spChg chg="del mod">
          <ac:chgData name="Έλια Αποστολοπούλου" userId="55324f8b-f5ef-49c9-8ce3-afc1f275c581" providerId="ADAL" clId="{6415B64A-6679-4FBD-B0B0-D37264004EED}" dt="2025-07-22T19:30:39.232" v="217" actId="478"/>
          <ac:spMkLst>
            <pc:docMk/>
            <pc:sldMk cId="862157178" sldId="1743"/>
            <ac:spMk id="15" creationId="{399CCACB-182C-871E-B767-CEABA99C35F0}"/>
          </ac:spMkLst>
        </pc:spChg>
        <pc:spChg chg="mod">
          <ac:chgData name="Έλια Αποστολοπούλου" userId="55324f8b-f5ef-49c9-8ce3-afc1f275c581" providerId="ADAL" clId="{6415B64A-6679-4FBD-B0B0-D37264004EED}" dt="2025-07-22T19:31:18.763" v="228" actId="1076"/>
          <ac:spMkLst>
            <pc:docMk/>
            <pc:sldMk cId="862157178" sldId="1743"/>
            <ac:spMk id="17" creationId="{E421064D-435D-DFBB-87C2-510B4D5EA86E}"/>
          </ac:spMkLst>
        </pc:spChg>
        <pc:spChg chg="mod">
          <ac:chgData name="Έλια Αποστολοπούλου" userId="55324f8b-f5ef-49c9-8ce3-afc1f275c581" providerId="ADAL" clId="{6415B64A-6679-4FBD-B0B0-D37264004EED}" dt="2025-07-22T19:31:09.001" v="225" actId="1076"/>
          <ac:spMkLst>
            <pc:docMk/>
            <pc:sldMk cId="862157178" sldId="1743"/>
            <ac:spMk id="18" creationId="{2E5D706A-0BCC-7B02-74C9-F252623AF7D4}"/>
          </ac:spMkLst>
        </pc:spChg>
        <pc:spChg chg="mod">
          <ac:chgData name="Έλια Αποστολοπούλου" userId="55324f8b-f5ef-49c9-8ce3-afc1f275c581" providerId="ADAL" clId="{6415B64A-6679-4FBD-B0B0-D37264004EED}" dt="2025-07-22T19:33:33.667" v="255" actId="1076"/>
          <ac:spMkLst>
            <pc:docMk/>
            <pc:sldMk cId="862157178" sldId="1743"/>
            <ac:spMk id="1480" creationId="{CC9F85F9-C4F7-4243-2521-61A95B395F7A}"/>
          </ac:spMkLst>
        </pc:spChg>
        <pc:spChg chg="mod">
          <ac:chgData name="Έλια Αποστολοπούλου" userId="55324f8b-f5ef-49c9-8ce3-afc1f275c581" providerId="ADAL" clId="{6415B64A-6679-4FBD-B0B0-D37264004EED}" dt="2025-07-22T19:31:05.545" v="224" actId="1076"/>
          <ac:spMkLst>
            <pc:docMk/>
            <pc:sldMk cId="862157178" sldId="1743"/>
            <ac:spMk id="1538" creationId="{1FF8519D-F261-ED9D-3155-873E61159B07}"/>
          </ac:spMkLst>
        </pc:spChg>
      </pc:sldChg>
      <pc:sldChg chg="del">
        <pc:chgData name="Έλια Αποστολοπούλου" userId="55324f8b-f5ef-49c9-8ce3-afc1f275c581" providerId="ADAL" clId="{6415B64A-6679-4FBD-B0B0-D37264004EED}" dt="2025-07-22T19:41:12.797" v="290" actId="47"/>
        <pc:sldMkLst>
          <pc:docMk/>
          <pc:sldMk cId="380107711" sldId="1745"/>
        </pc:sldMkLst>
      </pc:sldChg>
      <pc:sldChg chg="modSp mod">
        <pc:chgData name="Έλια Αποστολοπούλου" userId="55324f8b-f5ef-49c9-8ce3-afc1f275c581" providerId="ADAL" clId="{6415B64A-6679-4FBD-B0B0-D37264004EED}" dt="2025-07-22T19:47:38.064" v="357"/>
        <pc:sldMkLst>
          <pc:docMk/>
          <pc:sldMk cId="3149460739" sldId="1746"/>
        </pc:sldMkLst>
        <pc:spChg chg="mod">
          <ac:chgData name="Έλια Αποστολοπούλου" userId="55324f8b-f5ef-49c9-8ce3-afc1f275c581" providerId="ADAL" clId="{6415B64A-6679-4FBD-B0B0-D37264004EED}" dt="2025-07-22T19:46:27.134" v="356" actId="14100"/>
          <ac:spMkLst>
            <pc:docMk/>
            <pc:sldMk cId="3149460739" sldId="1746"/>
            <ac:spMk id="11" creationId="{71CBDAB3-FA51-078D-394B-7F57C6E81D71}"/>
          </ac:spMkLst>
        </pc:spChg>
        <pc:graphicFrameChg chg="mod modGraphic">
          <ac:chgData name="Έλια Αποστολοπούλου" userId="55324f8b-f5ef-49c9-8ce3-afc1f275c581" providerId="ADAL" clId="{6415B64A-6679-4FBD-B0B0-D37264004EED}" dt="2025-07-22T19:47:38.064" v="357"/>
          <ac:graphicFrameMkLst>
            <pc:docMk/>
            <pc:sldMk cId="3149460739" sldId="1746"/>
            <ac:graphicFrameMk id="7" creationId="{D7D59CF0-498B-83DD-65D3-8928B7040DAB}"/>
          </ac:graphicFrameMkLst>
        </pc:graphicFrameChg>
      </pc:sldChg>
      <pc:sldChg chg="del">
        <pc:chgData name="Έλια Αποστολοπούλου" userId="55324f8b-f5ef-49c9-8ce3-afc1f275c581" providerId="ADAL" clId="{6415B64A-6679-4FBD-B0B0-D37264004EED}" dt="2025-07-22T19:41:21.844" v="291" actId="47"/>
        <pc:sldMkLst>
          <pc:docMk/>
          <pc:sldMk cId="614415875" sldId="1747"/>
        </pc:sldMkLst>
      </pc:sldChg>
      <pc:sldChg chg="del">
        <pc:chgData name="Έλια Αποστολοπούλου" userId="55324f8b-f5ef-49c9-8ce3-afc1f275c581" providerId="ADAL" clId="{6415B64A-6679-4FBD-B0B0-D37264004EED}" dt="2025-07-22T19:41:22.975" v="292" actId="47"/>
        <pc:sldMkLst>
          <pc:docMk/>
          <pc:sldMk cId="1432770923" sldId="1748"/>
        </pc:sldMkLst>
      </pc:sldChg>
      <pc:sldChg chg="modSp mod">
        <pc:chgData name="Έλια Αποστολοπούλου" userId="55324f8b-f5ef-49c9-8ce3-afc1f275c581" providerId="ADAL" clId="{6415B64A-6679-4FBD-B0B0-D37264004EED}" dt="2025-07-23T02:24:31.036" v="1276" actId="1076"/>
        <pc:sldMkLst>
          <pc:docMk/>
          <pc:sldMk cId="42924211" sldId="1749"/>
        </pc:sldMkLst>
        <pc:spChg chg="mod">
          <ac:chgData name="Έλια Αποστολοπούλου" userId="55324f8b-f5ef-49c9-8ce3-afc1f275c581" providerId="ADAL" clId="{6415B64A-6679-4FBD-B0B0-D37264004EED}" dt="2025-07-22T19:41:39.810" v="294" actId="113"/>
          <ac:spMkLst>
            <pc:docMk/>
            <pc:sldMk cId="42924211" sldId="1749"/>
            <ac:spMk id="17" creationId="{04FCD9E3-CB70-BF4A-C945-9927AE30801A}"/>
          </ac:spMkLst>
        </pc:spChg>
        <pc:spChg chg="mod">
          <ac:chgData name="Έλια Αποστολοπούλου" userId="55324f8b-f5ef-49c9-8ce3-afc1f275c581" providerId="ADAL" clId="{6415B64A-6679-4FBD-B0B0-D37264004EED}" dt="2025-07-23T02:24:31.036" v="1276" actId="1076"/>
          <ac:spMkLst>
            <pc:docMk/>
            <pc:sldMk cId="42924211" sldId="1749"/>
            <ac:spMk id="21" creationId="{80369024-9E2A-75C5-4DBE-2FC44806B493}"/>
          </ac:spMkLst>
        </pc:spChg>
        <pc:spChg chg="mod">
          <ac:chgData name="Έλια Αποστολοπούλου" userId="55324f8b-f5ef-49c9-8ce3-afc1f275c581" providerId="ADAL" clId="{6415B64A-6679-4FBD-B0B0-D37264004EED}" dt="2025-07-22T19:41:57.697" v="295" actId="20577"/>
          <ac:spMkLst>
            <pc:docMk/>
            <pc:sldMk cId="42924211" sldId="1749"/>
            <ac:spMk id="22" creationId="{7744D089-A765-4CAC-6FD5-A8070A217786}"/>
          </ac:spMkLst>
        </pc:spChg>
      </pc:sldChg>
      <pc:sldChg chg="modSp mod">
        <pc:chgData name="Έλια Αποστολοπούλου" userId="55324f8b-f5ef-49c9-8ce3-afc1f275c581" providerId="ADAL" clId="{6415B64A-6679-4FBD-B0B0-D37264004EED}" dt="2025-07-22T19:43:31.464" v="326" actId="20577"/>
        <pc:sldMkLst>
          <pc:docMk/>
          <pc:sldMk cId="3873979063" sldId="1750"/>
        </pc:sldMkLst>
        <pc:spChg chg="mod">
          <ac:chgData name="Έλια Αποστολοπούλου" userId="55324f8b-f5ef-49c9-8ce3-afc1f275c581" providerId="ADAL" clId="{6415B64A-6679-4FBD-B0B0-D37264004EED}" dt="2025-07-22T19:43:31.464" v="326" actId="20577"/>
          <ac:spMkLst>
            <pc:docMk/>
            <pc:sldMk cId="3873979063" sldId="1750"/>
            <ac:spMk id="18" creationId="{D4076C70-7430-C668-0997-E6D490E34BAB}"/>
          </ac:spMkLst>
        </pc:spChg>
      </pc:sldChg>
      <pc:sldChg chg="addSp modSp mod">
        <pc:chgData name="Έλια Αποστολοπούλου" userId="55324f8b-f5ef-49c9-8ce3-afc1f275c581" providerId="ADAL" clId="{6415B64A-6679-4FBD-B0B0-D37264004EED}" dt="2025-07-22T20:13:33.364" v="1016" actId="1076"/>
        <pc:sldMkLst>
          <pc:docMk/>
          <pc:sldMk cId="2164505280" sldId="1751"/>
        </pc:sldMkLst>
        <pc:spChg chg="mod">
          <ac:chgData name="Έλια Αποστολοπούλου" userId="55324f8b-f5ef-49c9-8ce3-afc1f275c581" providerId="ADAL" clId="{6415B64A-6679-4FBD-B0B0-D37264004EED}" dt="2025-07-22T20:13:19.126" v="1001" actId="1036"/>
          <ac:spMkLst>
            <pc:docMk/>
            <pc:sldMk cId="2164505280" sldId="1751"/>
            <ac:spMk id="2" creationId="{484E6B38-1984-0E6D-488D-5716B1F6020D}"/>
          </ac:spMkLst>
        </pc:spChg>
        <pc:spChg chg="mod">
          <ac:chgData name="Έλια Αποστολοπούλου" userId="55324f8b-f5ef-49c9-8ce3-afc1f275c581" providerId="ADAL" clId="{6415B64A-6679-4FBD-B0B0-D37264004EED}" dt="2025-07-22T20:13:19.126" v="1001" actId="1036"/>
          <ac:spMkLst>
            <pc:docMk/>
            <pc:sldMk cId="2164505280" sldId="1751"/>
            <ac:spMk id="4" creationId="{6BA5BD45-796B-7F17-83BB-8638724311DD}"/>
          </ac:spMkLst>
        </pc:spChg>
        <pc:spChg chg="mod">
          <ac:chgData name="Έλια Αποστολοπούλου" userId="55324f8b-f5ef-49c9-8ce3-afc1f275c581" providerId="ADAL" clId="{6415B64A-6679-4FBD-B0B0-D37264004EED}" dt="2025-07-22T20:13:19.126" v="1001" actId="1036"/>
          <ac:spMkLst>
            <pc:docMk/>
            <pc:sldMk cId="2164505280" sldId="1751"/>
            <ac:spMk id="5" creationId="{9CDB47DF-8622-1B12-CE3C-476343B4A23B}"/>
          </ac:spMkLst>
        </pc:spChg>
        <pc:spChg chg="add mod">
          <ac:chgData name="Έλια Αποστολοπούλου" userId="55324f8b-f5ef-49c9-8ce3-afc1f275c581" providerId="ADAL" clId="{6415B64A-6679-4FBD-B0B0-D37264004EED}" dt="2025-07-22T20:13:33.364" v="1016" actId="1076"/>
          <ac:spMkLst>
            <pc:docMk/>
            <pc:sldMk cId="2164505280" sldId="1751"/>
            <ac:spMk id="7" creationId="{63C5DA48-CBF2-3B93-F486-E4B1F481D436}"/>
          </ac:spMkLst>
        </pc:spChg>
        <pc:spChg chg="mod">
          <ac:chgData name="Έλια Αποστολοπούλου" userId="55324f8b-f5ef-49c9-8ce3-afc1f275c581" providerId="ADAL" clId="{6415B64A-6679-4FBD-B0B0-D37264004EED}" dt="2025-07-22T20:13:10.361" v="979" actId="1036"/>
          <ac:spMkLst>
            <pc:docMk/>
            <pc:sldMk cId="2164505280" sldId="1751"/>
            <ac:spMk id="8" creationId="{422474F7-E6A8-987B-7FA0-2CE821847155}"/>
          </ac:spMkLst>
        </pc:spChg>
        <pc:spChg chg="mod">
          <ac:chgData name="Έλια Αποστολοπούλου" userId="55324f8b-f5ef-49c9-8ce3-afc1f275c581" providerId="ADAL" clId="{6415B64A-6679-4FBD-B0B0-D37264004EED}" dt="2025-07-22T20:13:19.126" v="1001" actId="1036"/>
          <ac:spMkLst>
            <pc:docMk/>
            <pc:sldMk cId="2164505280" sldId="1751"/>
            <ac:spMk id="9" creationId="{2F3676D9-2A48-0EDA-4106-4FB89C4E4BEF}"/>
          </ac:spMkLst>
        </pc:spChg>
        <pc:spChg chg="mod">
          <ac:chgData name="Έλια Αποστολοπούλου" userId="55324f8b-f5ef-49c9-8ce3-afc1f275c581" providerId="ADAL" clId="{6415B64A-6679-4FBD-B0B0-D37264004EED}" dt="2025-07-22T20:13:10.361" v="979" actId="1036"/>
          <ac:spMkLst>
            <pc:docMk/>
            <pc:sldMk cId="2164505280" sldId="1751"/>
            <ac:spMk id="12" creationId="{9328B0E7-8EB7-4AB1-B675-D2E3AF3F0D21}"/>
          </ac:spMkLst>
        </pc:spChg>
        <pc:spChg chg="mod">
          <ac:chgData name="Έλια Αποστολοπούλου" userId="55324f8b-f5ef-49c9-8ce3-afc1f275c581" providerId="ADAL" clId="{6415B64A-6679-4FBD-B0B0-D37264004EED}" dt="2025-07-22T20:13:19.126" v="1001" actId="1036"/>
          <ac:spMkLst>
            <pc:docMk/>
            <pc:sldMk cId="2164505280" sldId="1751"/>
            <ac:spMk id="14" creationId="{81D0224B-2DDD-4D1D-F1D0-5E02CDEE20EC}"/>
          </ac:spMkLst>
        </pc:spChg>
        <pc:spChg chg="mod">
          <ac:chgData name="Έλια Αποστολοπούλου" userId="55324f8b-f5ef-49c9-8ce3-afc1f275c581" providerId="ADAL" clId="{6415B64A-6679-4FBD-B0B0-D37264004EED}" dt="2025-07-22T20:13:10.361" v="979" actId="1036"/>
          <ac:spMkLst>
            <pc:docMk/>
            <pc:sldMk cId="2164505280" sldId="1751"/>
            <ac:spMk id="16" creationId="{92ED134D-3F76-9A90-DB09-F26A745737BA}"/>
          </ac:spMkLst>
        </pc:spChg>
        <pc:spChg chg="mod">
          <ac:chgData name="Έλια Αποστολοπούλου" userId="55324f8b-f5ef-49c9-8ce3-afc1f275c581" providerId="ADAL" clId="{6415B64A-6679-4FBD-B0B0-D37264004EED}" dt="2025-07-22T20:13:19.126" v="1001" actId="1036"/>
          <ac:spMkLst>
            <pc:docMk/>
            <pc:sldMk cId="2164505280" sldId="1751"/>
            <ac:spMk id="17" creationId="{F3FE9E5D-DFA3-2946-649A-767B800F41E4}"/>
          </ac:spMkLst>
        </pc:spChg>
        <pc:spChg chg="mod">
          <ac:chgData name="Έλια Αποστολοπούλου" userId="55324f8b-f5ef-49c9-8ce3-afc1f275c581" providerId="ADAL" clId="{6415B64A-6679-4FBD-B0B0-D37264004EED}" dt="2025-07-22T20:13:10.361" v="979" actId="1036"/>
          <ac:spMkLst>
            <pc:docMk/>
            <pc:sldMk cId="2164505280" sldId="1751"/>
            <ac:spMk id="19" creationId="{F9D0286D-1048-A76C-A8C7-AC5CA24F797F}"/>
          </ac:spMkLst>
        </pc:spChg>
        <pc:spChg chg="mod">
          <ac:chgData name="Έλια Αποστολοπούλου" userId="55324f8b-f5ef-49c9-8ce3-afc1f275c581" providerId="ADAL" clId="{6415B64A-6679-4FBD-B0B0-D37264004EED}" dt="2025-07-22T20:13:19.126" v="1001" actId="1036"/>
          <ac:spMkLst>
            <pc:docMk/>
            <pc:sldMk cId="2164505280" sldId="1751"/>
            <ac:spMk id="26" creationId="{DF4EABBA-CB66-3731-1CBF-880AB2E3DF68}"/>
          </ac:spMkLst>
        </pc:spChg>
        <pc:spChg chg="mod">
          <ac:chgData name="Έλια Αποστολοπούλου" userId="55324f8b-f5ef-49c9-8ce3-afc1f275c581" providerId="ADAL" clId="{6415B64A-6679-4FBD-B0B0-D37264004EED}" dt="2025-07-22T20:13:19.126" v="1001" actId="1036"/>
          <ac:spMkLst>
            <pc:docMk/>
            <pc:sldMk cId="2164505280" sldId="1751"/>
            <ac:spMk id="30" creationId="{53D95602-F088-A1AA-3B7F-399C6A7D33FF}"/>
          </ac:spMkLst>
        </pc:spChg>
        <pc:cxnChg chg="add mod">
          <ac:chgData name="Έλια Αποστολοπούλου" userId="55324f8b-f5ef-49c9-8ce3-afc1f275c581" providerId="ADAL" clId="{6415B64A-6679-4FBD-B0B0-D37264004EED}" dt="2025-07-22T20:13:30.114" v="1015" actId="1076"/>
          <ac:cxnSpMkLst>
            <pc:docMk/>
            <pc:sldMk cId="2164505280" sldId="1751"/>
            <ac:cxnSpMk id="11" creationId="{3254CF63-C3AE-3A1B-CEDB-89FF1556C22D}"/>
          </ac:cxnSpMkLst>
        </pc:cxnChg>
      </pc:sldChg>
      <pc:sldChg chg="addSp modSp mod">
        <pc:chgData name="Έλια Αποστολοπούλου" userId="55324f8b-f5ef-49c9-8ce3-afc1f275c581" providerId="ADAL" clId="{6415B64A-6679-4FBD-B0B0-D37264004EED}" dt="2025-07-23T02:36:36.775" v="1451" actId="20577"/>
        <pc:sldMkLst>
          <pc:docMk/>
          <pc:sldMk cId="4230213373" sldId="1754"/>
        </pc:sldMkLst>
        <pc:spChg chg="add mod">
          <ac:chgData name="Έλια Αποστολοπούλου" userId="55324f8b-f5ef-49c9-8ce3-afc1f275c581" providerId="ADAL" clId="{6415B64A-6679-4FBD-B0B0-D37264004EED}" dt="2025-07-23T02:34:48.705" v="1354" actId="1076"/>
          <ac:spMkLst>
            <pc:docMk/>
            <pc:sldMk cId="4230213373" sldId="1754"/>
            <ac:spMk id="2" creationId="{F0464FAD-D731-07D3-1053-0CBC6C6C28B2}"/>
          </ac:spMkLst>
        </pc:spChg>
        <pc:spChg chg="add mod">
          <ac:chgData name="Έλια Αποστολοπούλου" userId="55324f8b-f5ef-49c9-8ce3-afc1f275c581" providerId="ADAL" clId="{6415B64A-6679-4FBD-B0B0-D37264004EED}" dt="2025-07-23T02:31:37.501" v="1318" actId="20577"/>
          <ac:spMkLst>
            <pc:docMk/>
            <pc:sldMk cId="4230213373" sldId="1754"/>
            <ac:spMk id="3" creationId="{BB440FAB-4684-D846-7979-8A6ADA05B217}"/>
          </ac:spMkLst>
        </pc:spChg>
        <pc:spChg chg="mod">
          <ac:chgData name="Έλια Αποστολοπούλου" userId="55324f8b-f5ef-49c9-8ce3-afc1f275c581" providerId="ADAL" clId="{6415B64A-6679-4FBD-B0B0-D37264004EED}" dt="2025-07-23T02:30:50.830" v="1296" actId="1076"/>
          <ac:spMkLst>
            <pc:docMk/>
            <pc:sldMk cId="4230213373" sldId="1754"/>
            <ac:spMk id="4" creationId="{FA0603B8-90F1-F248-E363-3789D63AAA9A}"/>
          </ac:spMkLst>
        </pc:spChg>
        <pc:spChg chg="add mod">
          <ac:chgData name="Έλια Αποστολοπούλου" userId="55324f8b-f5ef-49c9-8ce3-afc1f275c581" providerId="ADAL" clId="{6415B64A-6679-4FBD-B0B0-D37264004EED}" dt="2025-07-23T02:35:51.575" v="1367" actId="6549"/>
          <ac:spMkLst>
            <pc:docMk/>
            <pc:sldMk cId="4230213373" sldId="1754"/>
            <ac:spMk id="5" creationId="{F3BA1AA9-9E6F-1507-CBCE-5928A83D040D}"/>
          </ac:spMkLst>
        </pc:spChg>
        <pc:spChg chg="add mod">
          <ac:chgData name="Έλια Αποστολοπούλου" userId="55324f8b-f5ef-49c9-8ce3-afc1f275c581" providerId="ADAL" clId="{6415B64A-6679-4FBD-B0B0-D37264004EED}" dt="2025-07-23T02:35:06.915" v="1356" actId="13822"/>
          <ac:spMkLst>
            <pc:docMk/>
            <pc:sldMk cId="4230213373" sldId="1754"/>
            <ac:spMk id="6" creationId="{6503449E-04D7-BBC3-076D-0F95D7521347}"/>
          </ac:spMkLst>
        </pc:spChg>
        <pc:spChg chg="add mod">
          <ac:chgData name="Έλια Αποστολοπούλου" userId="55324f8b-f5ef-49c9-8ce3-afc1f275c581" providerId="ADAL" clId="{6415B64A-6679-4FBD-B0B0-D37264004EED}" dt="2025-07-23T02:36:02.468" v="1369" actId="14100"/>
          <ac:spMkLst>
            <pc:docMk/>
            <pc:sldMk cId="4230213373" sldId="1754"/>
            <ac:spMk id="7" creationId="{F4E09A4A-F8FB-F5A5-1C0A-94E2549C4CFE}"/>
          </ac:spMkLst>
        </pc:spChg>
        <pc:spChg chg="mod">
          <ac:chgData name="Έλια Αποστολοπούλου" userId="55324f8b-f5ef-49c9-8ce3-afc1f275c581" providerId="ADAL" clId="{6415B64A-6679-4FBD-B0B0-D37264004EED}" dt="2025-07-23T02:36:36.775" v="1451" actId="20577"/>
          <ac:spMkLst>
            <pc:docMk/>
            <pc:sldMk cId="4230213373" sldId="1754"/>
            <ac:spMk id="8" creationId="{D9AD986F-4F4D-2352-1727-04BA4FDA2721}"/>
          </ac:spMkLst>
        </pc:spChg>
        <pc:spChg chg="mod">
          <ac:chgData name="Έλια Αποστολοπούλου" userId="55324f8b-f5ef-49c9-8ce3-afc1f275c581" providerId="ADAL" clId="{6415B64A-6679-4FBD-B0B0-D37264004EED}" dt="2025-07-23T02:31:16.868" v="1297" actId="14100"/>
          <ac:spMkLst>
            <pc:docMk/>
            <pc:sldMk cId="4230213373" sldId="1754"/>
            <ac:spMk id="12" creationId="{34738000-02A0-E3D8-D9C6-E9ADDEB668EA}"/>
          </ac:spMkLst>
        </pc:spChg>
        <pc:spChg chg="mod">
          <ac:chgData name="Έλια Αποστολοπούλου" userId="55324f8b-f5ef-49c9-8ce3-afc1f275c581" providerId="ADAL" clId="{6415B64A-6679-4FBD-B0B0-D37264004EED}" dt="2025-07-23T02:31:19.573" v="1298" actId="1076"/>
          <ac:spMkLst>
            <pc:docMk/>
            <pc:sldMk cId="4230213373" sldId="1754"/>
            <ac:spMk id="14" creationId="{79CDE555-3846-953F-10F9-4F8CC5F700F5}"/>
          </ac:spMkLst>
        </pc:spChg>
        <pc:spChg chg="mod">
          <ac:chgData name="Έλια Αποστολοπούλου" userId="55324f8b-f5ef-49c9-8ce3-afc1f275c581" providerId="ADAL" clId="{6415B64A-6679-4FBD-B0B0-D37264004EED}" dt="2025-07-23T02:30:50.830" v="1296" actId="1076"/>
          <ac:spMkLst>
            <pc:docMk/>
            <pc:sldMk cId="4230213373" sldId="1754"/>
            <ac:spMk id="16" creationId="{5395F9FD-7878-8DA6-39C9-E591E68CC8F2}"/>
          </ac:spMkLst>
        </pc:spChg>
        <pc:spChg chg="mod">
          <ac:chgData name="Έλια Αποστολοπούλου" userId="55324f8b-f5ef-49c9-8ce3-afc1f275c581" providerId="ADAL" clId="{6415B64A-6679-4FBD-B0B0-D37264004EED}" dt="2025-07-23T02:30:50.830" v="1296" actId="1076"/>
          <ac:spMkLst>
            <pc:docMk/>
            <pc:sldMk cId="4230213373" sldId="1754"/>
            <ac:spMk id="18" creationId="{16EC2A47-1638-56EA-1D1F-191658497FEE}"/>
          </ac:spMkLst>
        </pc:spChg>
      </pc:sldChg>
      <pc:sldChg chg="addSp delSp modSp mod">
        <pc:chgData name="Έλια Αποστολοπούλου" userId="55324f8b-f5ef-49c9-8ce3-afc1f275c581" providerId="ADAL" clId="{6415B64A-6679-4FBD-B0B0-D37264004EED}" dt="2025-07-23T02:46:12.947" v="1615" actId="113"/>
        <pc:sldMkLst>
          <pc:docMk/>
          <pc:sldMk cId="3053627698" sldId="1756"/>
        </pc:sldMkLst>
        <pc:spChg chg="mod">
          <ac:chgData name="Έλια Αποστολοπούλου" userId="55324f8b-f5ef-49c9-8ce3-afc1f275c581" providerId="ADAL" clId="{6415B64A-6679-4FBD-B0B0-D37264004EED}" dt="2025-07-23T02:37:20.194" v="1453" actId="6549"/>
          <ac:spMkLst>
            <pc:docMk/>
            <pc:sldMk cId="3053627698" sldId="1756"/>
            <ac:spMk id="3" creationId="{2E71F4FC-400E-D4D4-0E71-3265C3763261}"/>
          </ac:spMkLst>
        </pc:spChg>
        <pc:spChg chg="add mod">
          <ac:chgData name="Έλια Αποστολοπούλου" userId="55324f8b-f5ef-49c9-8ce3-afc1f275c581" providerId="ADAL" clId="{6415B64A-6679-4FBD-B0B0-D37264004EED}" dt="2025-07-23T02:46:12.947" v="1615" actId="113"/>
          <ac:spMkLst>
            <pc:docMk/>
            <pc:sldMk cId="3053627698" sldId="1756"/>
            <ac:spMk id="4" creationId="{330F19C6-E009-D9C0-412B-8783177DE2FA}"/>
          </ac:spMkLst>
        </pc:spChg>
        <pc:spChg chg="del">
          <ac:chgData name="Έλια Αποστολοπούλου" userId="55324f8b-f5ef-49c9-8ce3-afc1f275c581" providerId="ADAL" clId="{6415B64A-6679-4FBD-B0B0-D37264004EED}" dt="2025-07-23T02:39:14.862" v="1461" actId="478"/>
          <ac:spMkLst>
            <pc:docMk/>
            <pc:sldMk cId="3053627698" sldId="1756"/>
            <ac:spMk id="5" creationId="{0BBAC252-30BB-FB25-98EF-4904A940CF95}"/>
          </ac:spMkLst>
        </pc:spChg>
        <pc:spChg chg="del">
          <ac:chgData name="Έλια Αποστολοπούλου" userId="55324f8b-f5ef-49c9-8ce3-afc1f275c581" providerId="ADAL" clId="{6415B64A-6679-4FBD-B0B0-D37264004EED}" dt="2025-07-23T02:39:14.862" v="1461" actId="478"/>
          <ac:spMkLst>
            <pc:docMk/>
            <pc:sldMk cId="3053627698" sldId="1756"/>
            <ac:spMk id="7" creationId="{F8A8AB09-0B2B-2EF7-CE89-8B1494C0D88B}"/>
          </ac:spMkLst>
        </pc:spChg>
        <pc:spChg chg="del">
          <ac:chgData name="Έλια Αποστολοπούλου" userId="55324f8b-f5ef-49c9-8ce3-afc1f275c581" providerId="ADAL" clId="{6415B64A-6679-4FBD-B0B0-D37264004EED}" dt="2025-07-23T02:38:56.505" v="1459" actId="478"/>
          <ac:spMkLst>
            <pc:docMk/>
            <pc:sldMk cId="3053627698" sldId="1756"/>
            <ac:spMk id="10" creationId="{5C5BC31F-132D-E734-8EB5-884603667C4B}"/>
          </ac:spMkLst>
        </pc:spChg>
        <pc:spChg chg="del">
          <ac:chgData name="Έλια Αποστολοπούλου" userId="55324f8b-f5ef-49c9-8ce3-afc1f275c581" providerId="ADAL" clId="{6415B64A-6679-4FBD-B0B0-D37264004EED}" dt="2025-07-23T02:39:14.862" v="1461" actId="478"/>
          <ac:spMkLst>
            <pc:docMk/>
            <pc:sldMk cId="3053627698" sldId="1756"/>
            <ac:spMk id="11" creationId="{28D288CE-D3D5-BA4F-6F3D-3FA405A1C63C}"/>
          </ac:spMkLst>
        </pc:spChg>
        <pc:spChg chg="del">
          <ac:chgData name="Έλια Αποστολοπούλου" userId="55324f8b-f5ef-49c9-8ce3-afc1f275c581" providerId="ADAL" clId="{6415B64A-6679-4FBD-B0B0-D37264004EED}" dt="2025-07-23T02:38:56.505" v="1459" actId="478"/>
          <ac:spMkLst>
            <pc:docMk/>
            <pc:sldMk cId="3053627698" sldId="1756"/>
            <ac:spMk id="12" creationId="{7F34E20B-0A16-6628-236D-21B28901265F}"/>
          </ac:spMkLst>
        </pc:spChg>
        <pc:spChg chg="del">
          <ac:chgData name="Έλια Αποστολοπούλου" userId="55324f8b-f5ef-49c9-8ce3-afc1f275c581" providerId="ADAL" clId="{6415B64A-6679-4FBD-B0B0-D37264004EED}" dt="2025-07-23T02:39:14.862" v="1461" actId="478"/>
          <ac:spMkLst>
            <pc:docMk/>
            <pc:sldMk cId="3053627698" sldId="1756"/>
            <ac:spMk id="13" creationId="{9F875449-5844-42A7-E8D1-CD912546CD84}"/>
          </ac:spMkLst>
        </pc:spChg>
        <pc:spChg chg="del">
          <ac:chgData name="Έλια Αποστολοπούλου" userId="55324f8b-f5ef-49c9-8ce3-afc1f275c581" providerId="ADAL" clId="{6415B64A-6679-4FBD-B0B0-D37264004EED}" dt="2025-07-23T02:38:56.505" v="1459" actId="478"/>
          <ac:spMkLst>
            <pc:docMk/>
            <pc:sldMk cId="3053627698" sldId="1756"/>
            <ac:spMk id="14" creationId="{9F1F6EDF-CFF0-B0F1-C1B3-C1639FCD1A00}"/>
          </ac:spMkLst>
        </pc:spChg>
        <pc:spChg chg="del">
          <ac:chgData name="Έλια Αποστολοπούλου" userId="55324f8b-f5ef-49c9-8ce3-afc1f275c581" providerId="ADAL" clId="{6415B64A-6679-4FBD-B0B0-D37264004EED}" dt="2025-07-23T02:38:56.505" v="1459" actId="478"/>
          <ac:spMkLst>
            <pc:docMk/>
            <pc:sldMk cId="3053627698" sldId="1756"/>
            <ac:spMk id="15" creationId="{10CF56A2-A98C-B75C-3FFB-7159B8192BF5}"/>
          </ac:spMkLst>
        </pc:spChg>
        <pc:graphicFrameChg chg="add mod modGraphic">
          <ac:chgData name="Έλια Αποστολοπούλου" userId="55324f8b-f5ef-49c9-8ce3-afc1f275c581" providerId="ADAL" clId="{6415B64A-6679-4FBD-B0B0-D37264004EED}" dt="2025-07-23T02:42:05.409" v="1484" actId="1076"/>
          <ac:graphicFrameMkLst>
            <pc:docMk/>
            <pc:sldMk cId="3053627698" sldId="1756"/>
            <ac:graphicFrameMk id="2" creationId="{F48C5EF8-487D-E527-2CC9-9483506A3E44}"/>
          </ac:graphicFrameMkLst>
        </pc:graphicFrameChg>
      </pc:sldChg>
      <pc:sldChg chg="addSp delSp mod">
        <pc:chgData name="Έλια Αποστολοπούλου" userId="55324f8b-f5ef-49c9-8ce3-afc1f275c581" providerId="ADAL" clId="{6415B64A-6679-4FBD-B0B0-D37264004EED}" dt="2025-07-22T19:28:10.718" v="191" actId="478"/>
        <pc:sldMkLst>
          <pc:docMk/>
          <pc:sldMk cId="4209284659" sldId="1758"/>
        </pc:sldMkLst>
        <pc:spChg chg="add del">
          <ac:chgData name="Έλια Αποστολοπούλου" userId="55324f8b-f5ef-49c9-8ce3-afc1f275c581" providerId="ADAL" clId="{6415B64A-6679-4FBD-B0B0-D37264004EED}" dt="2025-07-22T19:28:10.718" v="191" actId="478"/>
          <ac:spMkLst>
            <pc:docMk/>
            <pc:sldMk cId="4209284659" sldId="1758"/>
            <ac:spMk id="9" creationId="{A5968D0C-510B-EF09-09B9-974D17026FDA}"/>
          </ac:spMkLst>
        </pc:spChg>
      </pc:sldChg>
      <pc:sldChg chg="addSp modSp mod">
        <pc:chgData name="Έλια Αποστολοπούλου" userId="55324f8b-f5ef-49c9-8ce3-afc1f275c581" providerId="ADAL" clId="{6415B64A-6679-4FBD-B0B0-D37264004EED}" dt="2025-07-22T19:58:34.247" v="589" actId="1076"/>
        <pc:sldMkLst>
          <pc:docMk/>
          <pc:sldMk cId="3038362077" sldId="1759"/>
        </pc:sldMkLst>
        <pc:spChg chg="mod">
          <ac:chgData name="Έλια Αποστολοπούλου" userId="55324f8b-f5ef-49c9-8ce3-afc1f275c581" providerId="ADAL" clId="{6415B64A-6679-4FBD-B0B0-D37264004EED}" dt="2025-07-22T19:57:43.748" v="573" actId="1036"/>
          <ac:spMkLst>
            <pc:docMk/>
            <pc:sldMk cId="3038362077" sldId="1759"/>
            <ac:spMk id="2" creationId="{C8002EC8-AD1A-B073-BCA4-2B60960D478F}"/>
          </ac:spMkLst>
        </pc:spChg>
        <pc:spChg chg="add mod">
          <ac:chgData name="Έλια Αποστολοπούλου" userId="55324f8b-f5ef-49c9-8ce3-afc1f275c581" providerId="ADAL" clId="{6415B64A-6679-4FBD-B0B0-D37264004EED}" dt="2025-07-22T19:58:34.247" v="589" actId="1076"/>
          <ac:spMkLst>
            <pc:docMk/>
            <pc:sldMk cId="3038362077" sldId="1759"/>
            <ac:spMk id="3" creationId="{C9294E1E-4A73-6A49-46D4-31F0EF214CD2}"/>
          </ac:spMkLst>
        </pc:spChg>
        <pc:spChg chg="mod">
          <ac:chgData name="Έλια Αποστολοπούλου" userId="55324f8b-f5ef-49c9-8ce3-afc1f275c581" providerId="ADAL" clId="{6415B64A-6679-4FBD-B0B0-D37264004EED}" dt="2025-07-22T19:57:43.748" v="573" actId="1036"/>
          <ac:spMkLst>
            <pc:docMk/>
            <pc:sldMk cId="3038362077" sldId="1759"/>
            <ac:spMk id="5" creationId="{85923877-07AF-C0AC-0003-B38470DFD200}"/>
          </ac:spMkLst>
        </pc:spChg>
        <pc:spChg chg="mod">
          <ac:chgData name="Έλια Αποστολοπούλου" userId="55324f8b-f5ef-49c9-8ce3-afc1f275c581" providerId="ADAL" clId="{6415B64A-6679-4FBD-B0B0-D37264004EED}" dt="2025-07-22T19:57:43.748" v="573" actId="1036"/>
          <ac:spMkLst>
            <pc:docMk/>
            <pc:sldMk cId="3038362077" sldId="1759"/>
            <ac:spMk id="8" creationId="{3A1E4D8F-AC33-3170-F147-2F607AE29E9C}"/>
          </ac:spMkLst>
        </pc:spChg>
        <pc:spChg chg="mod">
          <ac:chgData name="Έλια Αποστολοπούλου" userId="55324f8b-f5ef-49c9-8ce3-afc1f275c581" providerId="ADAL" clId="{6415B64A-6679-4FBD-B0B0-D37264004EED}" dt="2025-07-22T19:57:43.748" v="573" actId="1036"/>
          <ac:spMkLst>
            <pc:docMk/>
            <pc:sldMk cId="3038362077" sldId="1759"/>
            <ac:spMk id="9" creationId="{60F72028-D220-7CA6-0159-10FCA89BF33D}"/>
          </ac:spMkLst>
        </pc:spChg>
        <pc:spChg chg="mod">
          <ac:chgData name="Έλια Αποστολοπούλου" userId="55324f8b-f5ef-49c9-8ce3-afc1f275c581" providerId="ADAL" clId="{6415B64A-6679-4FBD-B0B0-D37264004EED}" dt="2025-07-22T19:56:45.373" v="475" actId="1076"/>
          <ac:spMkLst>
            <pc:docMk/>
            <pc:sldMk cId="3038362077" sldId="1759"/>
            <ac:spMk id="11" creationId="{0D509911-1E2F-C940-D08D-CBB082C514DD}"/>
          </ac:spMkLst>
        </pc:spChg>
        <pc:spChg chg="mod">
          <ac:chgData name="Έλια Αποστολοπούλου" userId="55324f8b-f5ef-49c9-8ce3-afc1f275c581" providerId="ADAL" clId="{6415B64A-6679-4FBD-B0B0-D37264004EED}" dt="2025-07-22T19:57:43.748" v="573" actId="1036"/>
          <ac:spMkLst>
            <pc:docMk/>
            <pc:sldMk cId="3038362077" sldId="1759"/>
            <ac:spMk id="12" creationId="{BE2A5284-7BA5-610F-90A0-4B74D18565EC}"/>
          </ac:spMkLst>
        </pc:spChg>
        <pc:spChg chg="mod">
          <ac:chgData name="Έλια Αποστολοπούλου" userId="55324f8b-f5ef-49c9-8ce3-afc1f275c581" providerId="ADAL" clId="{6415B64A-6679-4FBD-B0B0-D37264004EED}" dt="2025-07-22T19:57:49.772" v="574" actId="14100"/>
          <ac:spMkLst>
            <pc:docMk/>
            <pc:sldMk cId="3038362077" sldId="1759"/>
            <ac:spMk id="13" creationId="{3AC02F13-EC30-1A43-613A-B4B1B62125B5}"/>
          </ac:spMkLst>
        </pc:spChg>
        <pc:spChg chg="mod">
          <ac:chgData name="Έλια Αποστολοπούλου" userId="55324f8b-f5ef-49c9-8ce3-afc1f275c581" providerId="ADAL" clId="{6415B64A-6679-4FBD-B0B0-D37264004EED}" dt="2025-07-22T19:57:43.748" v="573" actId="1036"/>
          <ac:spMkLst>
            <pc:docMk/>
            <pc:sldMk cId="3038362077" sldId="1759"/>
            <ac:spMk id="14" creationId="{5CE8A57A-2C44-889F-A085-E50E02711824}"/>
          </ac:spMkLst>
        </pc:spChg>
        <pc:spChg chg="mod">
          <ac:chgData name="Έλια Αποστολοπούλου" userId="55324f8b-f5ef-49c9-8ce3-afc1f275c581" providerId="ADAL" clId="{6415B64A-6679-4FBD-B0B0-D37264004EED}" dt="2025-07-22T19:56:48.063" v="476" actId="1076"/>
          <ac:spMkLst>
            <pc:docMk/>
            <pc:sldMk cId="3038362077" sldId="1759"/>
            <ac:spMk id="15" creationId="{FD748708-FF91-C880-F0C5-7DABCA807794}"/>
          </ac:spMkLst>
        </pc:spChg>
        <pc:spChg chg="mod">
          <ac:chgData name="Έλια Αποστολοπούλου" userId="55324f8b-f5ef-49c9-8ce3-afc1f275c581" providerId="ADAL" clId="{6415B64A-6679-4FBD-B0B0-D37264004EED}" dt="2025-07-22T19:57:43.748" v="573" actId="1036"/>
          <ac:spMkLst>
            <pc:docMk/>
            <pc:sldMk cId="3038362077" sldId="1759"/>
            <ac:spMk id="17" creationId="{775E389D-601F-6921-5E3C-EF9F8F0C956A}"/>
          </ac:spMkLst>
        </pc:spChg>
        <pc:spChg chg="mod">
          <ac:chgData name="Έλια Αποστολοπούλου" userId="55324f8b-f5ef-49c9-8ce3-afc1f275c581" providerId="ADAL" clId="{6415B64A-6679-4FBD-B0B0-D37264004EED}" dt="2025-07-22T19:56:41.847" v="473" actId="1076"/>
          <ac:spMkLst>
            <pc:docMk/>
            <pc:sldMk cId="3038362077" sldId="1759"/>
            <ac:spMk id="18" creationId="{91073706-0992-9FC2-667C-B6986D979F82}"/>
          </ac:spMkLst>
        </pc:spChg>
        <pc:spChg chg="mod">
          <ac:chgData name="Έλια Αποστολοπούλου" userId="55324f8b-f5ef-49c9-8ce3-afc1f275c581" providerId="ADAL" clId="{6415B64A-6679-4FBD-B0B0-D37264004EED}" dt="2025-07-22T19:57:43.748" v="573" actId="1036"/>
          <ac:spMkLst>
            <pc:docMk/>
            <pc:sldMk cId="3038362077" sldId="1759"/>
            <ac:spMk id="19" creationId="{84AAE112-F133-7A94-7752-5E9C7A2AD0E5}"/>
          </ac:spMkLst>
        </pc:spChg>
        <pc:spChg chg="mod">
          <ac:chgData name="Έλια Αποστολοπούλου" userId="55324f8b-f5ef-49c9-8ce3-afc1f275c581" providerId="ADAL" clId="{6415B64A-6679-4FBD-B0B0-D37264004EED}" dt="2025-07-22T19:56:15.511" v="469" actId="1036"/>
          <ac:spMkLst>
            <pc:docMk/>
            <pc:sldMk cId="3038362077" sldId="1759"/>
            <ac:spMk id="20" creationId="{10B5FEA4-C96D-9D19-DD84-EB0CEE63F0E3}"/>
          </ac:spMkLst>
        </pc:spChg>
        <pc:spChg chg="mod">
          <ac:chgData name="Έλια Αποστολοπούλου" userId="55324f8b-f5ef-49c9-8ce3-afc1f275c581" providerId="ADAL" clId="{6415B64A-6679-4FBD-B0B0-D37264004EED}" dt="2025-07-22T19:56:15.511" v="469" actId="1036"/>
          <ac:spMkLst>
            <pc:docMk/>
            <pc:sldMk cId="3038362077" sldId="1759"/>
            <ac:spMk id="22" creationId="{619C129F-1DC0-C5A0-F28F-44DC08BD57D3}"/>
          </ac:spMkLst>
        </pc:spChg>
        <pc:spChg chg="mod">
          <ac:chgData name="Έλια Αποστολοπούλου" userId="55324f8b-f5ef-49c9-8ce3-afc1f275c581" providerId="ADAL" clId="{6415B64A-6679-4FBD-B0B0-D37264004EED}" dt="2025-07-22T19:56:15.511" v="469" actId="1036"/>
          <ac:spMkLst>
            <pc:docMk/>
            <pc:sldMk cId="3038362077" sldId="1759"/>
            <ac:spMk id="23" creationId="{3B924B98-D727-497F-B01F-DFC5047303AF}"/>
          </ac:spMkLst>
        </pc:spChg>
        <pc:spChg chg="mod">
          <ac:chgData name="Έλια Αποστολοπούλου" userId="55324f8b-f5ef-49c9-8ce3-afc1f275c581" providerId="ADAL" clId="{6415B64A-6679-4FBD-B0B0-D37264004EED}" dt="2025-07-22T19:57:16.513" v="523" actId="1036"/>
          <ac:spMkLst>
            <pc:docMk/>
            <pc:sldMk cId="3038362077" sldId="1759"/>
            <ac:spMk id="24" creationId="{E89D150B-1489-61D2-5D3F-92D95D719554}"/>
          </ac:spMkLst>
        </pc:spChg>
        <pc:spChg chg="mod">
          <ac:chgData name="Έλια Αποστολοπούλου" userId="55324f8b-f5ef-49c9-8ce3-afc1f275c581" providerId="ADAL" clId="{6415B64A-6679-4FBD-B0B0-D37264004EED}" dt="2025-07-22T19:57:34.198" v="546" actId="1076"/>
          <ac:spMkLst>
            <pc:docMk/>
            <pc:sldMk cId="3038362077" sldId="1759"/>
            <ac:spMk id="25" creationId="{D009C0EC-7BD8-5EDD-1F1E-77435225179B}"/>
          </ac:spMkLst>
        </pc:spChg>
        <pc:spChg chg="mod">
          <ac:chgData name="Έλια Αποστολοπούλου" userId="55324f8b-f5ef-49c9-8ce3-afc1f275c581" providerId="ADAL" clId="{6415B64A-6679-4FBD-B0B0-D37264004EED}" dt="2025-07-22T19:57:43.748" v="573" actId="1036"/>
          <ac:spMkLst>
            <pc:docMk/>
            <pc:sldMk cId="3038362077" sldId="1759"/>
            <ac:spMk id="26" creationId="{1B65B015-3EFA-F07D-9679-666E83A574F0}"/>
          </ac:spMkLst>
        </pc:spChg>
        <pc:spChg chg="mod">
          <ac:chgData name="Έλια Αποστολοπούλου" userId="55324f8b-f5ef-49c9-8ce3-afc1f275c581" providerId="ADAL" clId="{6415B64A-6679-4FBD-B0B0-D37264004EED}" dt="2025-07-22T19:57:08.022" v="507" actId="1036"/>
          <ac:spMkLst>
            <pc:docMk/>
            <pc:sldMk cId="3038362077" sldId="1759"/>
            <ac:spMk id="27" creationId="{9E496B55-AA45-A2C3-A2F1-26B8017D300C}"/>
          </ac:spMkLst>
        </pc:spChg>
        <pc:spChg chg="mod">
          <ac:chgData name="Έλια Αποστολοπούλου" userId="55324f8b-f5ef-49c9-8ce3-afc1f275c581" providerId="ADAL" clId="{6415B64A-6679-4FBD-B0B0-D37264004EED}" dt="2025-07-22T19:56:59.675" v="493" actId="1036"/>
          <ac:spMkLst>
            <pc:docMk/>
            <pc:sldMk cId="3038362077" sldId="1759"/>
            <ac:spMk id="28" creationId="{6EA80C1A-1C82-5639-9F31-8D3C10B5F867}"/>
          </ac:spMkLst>
        </pc:spChg>
        <pc:spChg chg="mod">
          <ac:chgData name="Έλια Αποστολοπούλου" userId="55324f8b-f5ef-49c9-8ce3-afc1f275c581" providerId="ADAL" clId="{6415B64A-6679-4FBD-B0B0-D37264004EED}" dt="2025-07-22T19:57:21.487" v="526" actId="1076"/>
          <ac:spMkLst>
            <pc:docMk/>
            <pc:sldMk cId="3038362077" sldId="1759"/>
            <ac:spMk id="29" creationId="{F144DDC7-8B11-A2CA-B6B9-AC2831D7C8D0}"/>
          </ac:spMkLst>
        </pc:spChg>
        <pc:spChg chg="mod">
          <ac:chgData name="Έλια Αποστολοπούλου" userId="55324f8b-f5ef-49c9-8ce3-afc1f275c581" providerId="ADAL" clId="{6415B64A-6679-4FBD-B0B0-D37264004EED}" dt="2025-07-22T19:57:43.748" v="573" actId="1036"/>
          <ac:spMkLst>
            <pc:docMk/>
            <pc:sldMk cId="3038362077" sldId="1759"/>
            <ac:spMk id="30" creationId="{75D80854-E7DE-88AA-88DF-A1054FFFF788}"/>
          </ac:spMkLst>
        </pc:spChg>
        <pc:spChg chg="mod">
          <ac:chgData name="Έλια Αποστολοπούλου" userId="55324f8b-f5ef-49c9-8ce3-afc1f275c581" providerId="ADAL" clId="{6415B64A-6679-4FBD-B0B0-D37264004EED}" dt="2025-07-22T19:57:27.764" v="545" actId="1076"/>
          <ac:spMkLst>
            <pc:docMk/>
            <pc:sldMk cId="3038362077" sldId="1759"/>
            <ac:spMk id="32" creationId="{A36314B3-AF04-13CF-E20C-B557ACE83F78}"/>
          </ac:spMkLst>
        </pc:spChg>
        <pc:spChg chg="mod">
          <ac:chgData name="Έλια Αποστολοπούλου" userId="55324f8b-f5ef-49c9-8ce3-afc1f275c581" providerId="ADAL" clId="{6415B64A-6679-4FBD-B0B0-D37264004EED}" dt="2025-07-22T19:57:24.885" v="544" actId="1036"/>
          <ac:spMkLst>
            <pc:docMk/>
            <pc:sldMk cId="3038362077" sldId="1759"/>
            <ac:spMk id="33" creationId="{B96DFF8E-5E94-1581-8458-2B91210F5475}"/>
          </ac:spMkLst>
        </pc:spChg>
        <pc:cxnChg chg="add mod">
          <ac:chgData name="Έλια Αποστολοπούλου" userId="55324f8b-f5ef-49c9-8ce3-afc1f275c581" providerId="ADAL" clId="{6415B64A-6679-4FBD-B0B0-D37264004EED}" dt="2025-07-22T19:58:27.992" v="588" actId="14100"/>
          <ac:cxnSpMkLst>
            <pc:docMk/>
            <pc:sldMk cId="3038362077" sldId="1759"/>
            <ac:cxnSpMk id="6" creationId="{FD781DE7-E1A4-08C2-3E5C-D0BB95E728B9}"/>
          </ac:cxnSpMkLst>
        </pc:cxnChg>
      </pc:sldChg>
      <pc:sldChg chg="modSp mod ord">
        <pc:chgData name="Έλια Αποστολοπούλου" userId="55324f8b-f5ef-49c9-8ce3-afc1f275c581" providerId="ADAL" clId="{6415B64A-6679-4FBD-B0B0-D37264004EED}" dt="2025-07-22T20:29:10.848" v="1171"/>
        <pc:sldMkLst>
          <pc:docMk/>
          <pc:sldMk cId="1611269907" sldId="1760"/>
        </pc:sldMkLst>
        <pc:spChg chg="mod">
          <ac:chgData name="Έλια Αποστολοπούλου" userId="55324f8b-f5ef-49c9-8ce3-afc1f275c581" providerId="ADAL" clId="{6415B64A-6679-4FBD-B0B0-D37264004EED}" dt="2025-07-22T20:00:23.838" v="670" actId="20577"/>
          <ac:spMkLst>
            <pc:docMk/>
            <pc:sldMk cId="1611269907" sldId="1760"/>
            <ac:spMk id="11" creationId="{6434F6B1-FC66-03C7-F6E5-688D8B49486F}"/>
          </ac:spMkLst>
        </pc:spChg>
        <pc:spChg chg="mod">
          <ac:chgData name="Έλια Αποστολοπούλου" userId="55324f8b-f5ef-49c9-8ce3-afc1f275c581" providerId="ADAL" clId="{6415B64A-6679-4FBD-B0B0-D37264004EED}" dt="2025-07-22T20:20:27.350" v="1155" actId="20577"/>
          <ac:spMkLst>
            <pc:docMk/>
            <pc:sldMk cId="1611269907" sldId="1760"/>
            <ac:spMk id="12" creationId="{85F8FBE9-C1A1-C8EC-2660-3A230B40D864}"/>
          </ac:spMkLst>
        </pc:spChg>
      </pc:sldChg>
      <pc:sldChg chg="modSp mod">
        <pc:chgData name="Έλια Αποστολοπούλου" userId="55324f8b-f5ef-49c9-8ce3-afc1f275c581" providerId="ADAL" clId="{6415B64A-6679-4FBD-B0B0-D37264004EED}" dt="2025-07-22T19:25:17.557" v="186" actId="1076"/>
        <pc:sldMkLst>
          <pc:docMk/>
          <pc:sldMk cId="399762257" sldId="2145708111"/>
        </pc:sldMkLst>
        <pc:spChg chg="mod">
          <ac:chgData name="Έλια Αποστολοπούλου" userId="55324f8b-f5ef-49c9-8ce3-afc1f275c581" providerId="ADAL" clId="{6415B64A-6679-4FBD-B0B0-D37264004EED}" dt="2025-07-22T19:25:17.557" v="186" actId="1076"/>
          <ac:spMkLst>
            <pc:docMk/>
            <pc:sldMk cId="399762257" sldId="2145708111"/>
            <ac:spMk id="1480" creationId="{CC9F85F9-C4F7-4243-2521-61A95B395F7A}"/>
          </ac:spMkLst>
        </pc:spChg>
      </pc:sldChg>
      <pc:sldChg chg="modSp add mod">
        <pc:chgData name="Έλια Αποστολοπούλου" userId="55324f8b-f5ef-49c9-8ce3-afc1f275c581" providerId="ADAL" clId="{6415B64A-6679-4FBD-B0B0-D37264004EED}" dt="2025-07-22T19:18:29.486" v="79" actId="1076"/>
        <pc:sldMkLst>
          <pc:docMk/>
          <pc:sldMk cId="1978899217" sldId="2146849206"/>
        </pc:sldMkLst>
        <pc:spChg chg="mod">
          <ac:chgData name="Έλια Αποστολοπούλου" userId="55324f8b-f5ef-49c9-8ce3-afc1f275c581" providerId="ADAL" clId="{6415B64A-6679-4FBD-B0B0-D37264004EED}" dt="2025-07-22T19:18:17.824" v="78" actId="1076"/>
          <ac:spMkLst>
            <pc:docMk/>
            <pc:sldMk cId="1978899217" sldId="2146849206"/>
            <ac:spMk id="28" creationId="{E3180FA7-43F7-73FA-AA08-765B6CC83631}"/>
          </ac:spMkLst>
        </pc:spChg>
        <pc:grpChg chg="mod">
          <ac:chgData name="Έλια Αποστολοπούλου" userId="55324f8b-f5ef-49c9-8ce3-afc1f275c581" providerId="ADAL" clId="{6415B64A-6679-4FBD-B0B0-D37264004EED}" dt="2025-07-22T19:18:29.486" v="79" actId="1076"/>
          <ac:grpSpMkLst>
            <pc:docMk/>
            <pc:sldMk cId="1978899217" sldId="2146849206"/>
            <ac:grpSpMk id="14" creationId="{0B1FE642-D878-4332-901E-3BB188A32426}"/>
          </ac:grpSpMkLst>
        </pc:grpChg>
      </pc:sldChg>
      <pc:sldChg chg="delSp modSp mod">
        <pc:chgData name="Έλια Αποστολοπούλου" userId="55324f8b-f5ef-49c9-8ce3-afc1f275c581" providerId="ADAL" clId="{6415B64A-6679-4FBD-B0B0-D37264004EED}" dt="2025-07-22T19:36:52.075" v="265"/>
        <pc:sldMkLst>
          <pc:docMk/>
          <pc:sldMk cId="3441007482" sldId="2146849215"/>
        </pc:sldMkLst>
        <pc:spChg chg="mod">
          <ac:chgData name="Έλια Αποστολοπούλου" userId="55324f8b-f5ef-49c9-8ce3-afc1f275c581" providerId="ADAL" clId="{6415B64A-6679-4FBD-B0B0-D37264004EED}" dt="2025-07-22T19:21:52.550" v="103" actId="14100"/>
          <ac:spMkLst>
            <pc:docMk/>
            <pc:sldMk cId="3441007482" sldId="2146849215"/>
            <ac:spMk id="6" creationId="{394E08D2-80DA-FF08-E0C8-9D2C0732A6C9}"/>
          </ac:spMkLst>
        </pc:spChg>
        <pc:spChg chg="del mod">
          <ac:chgData name="Έλια Αποστολοπούλου" userId="55324f8b-f5ef-49c9-8ce3-afc1f275c581" providerId="ADAL" clId="{6415B64A-6679-4FBD-B0B0-D37264004EED}" dt="2025-07-22T19:36:52.075" v="265"/>
          <ac:spMkLst>
            <pc:docMk/>
            <pc:sldMk cId="3441007482" sldId="2146849215"/>
            <ac:spMk id="38" creationId="{9684E7C2-8E6B-5A67-D157-59F6ACC85E79}"/>
          </ac:spMkLst>
        </pc:spChg>
      </pc:sldChg>
      <pc:sldChg chg="delSp mod">
        <pc:chgData name="Έλια Αποστολοπούλου" userId="55324f8b-f5ef-49c9-8ce3-afc1f275c581" providerId="ADAL" clId="{6415B64A-6679-4FBD-B0B0-D37264004EED}" dt="2025-07-22T19:35:11.676" v="256" actId="478"/>
        <pc:sldMkLst>
          <pc:docMk/>
          <pc:sldMk cId="349407066" sldId="2146849242"/>
        </pc:sldMkLst>
        <pc:spChg chg="del">
          <ac:chgData name="Έλια Αποστολοπούλου" userId="55324f8b-f5ef-49c9-8ce3-afc1f275c581" providerId="ADAL" clId="{6415B64A-6679-4FBD-B0B0-D37264004EED}" dt="2025-07-22T19:35:11.676" v="256" actId="478"/>
          <ac:spMkLst>
            <pc:docMk/>
            <pc:sldMk cId="349407066" sldId="2146849242"/>
            <ac:spMk id="126" creationId="{9684E7C2-8E6B-5A67-D157-59F6ACC85E79}"/>
          </ac:spMkLst>
        </pc:spChg>
      </pc:sldChg>
      <pc:sldChg chg="delSp mod">
        <pc:chgData name="Έλια Αποστολοπούλου" userId="55324f8b-f5ef-49c9-8ce3-afc1f275c581" providerId="ADAL" clId="{6415B64A-6679-4FBD-B0B0-D37264004EED}" dt="2025-07-22T19:35:14.996" v="257" actId="478"/>
        <pc:sldMkLst>
          <pc:docMk/>
          <pc:sldMk cId="3008117883" sldId="2146849243"/>
        </pc:sldMkLst>
        <pc:spChg chg="del">
          <ac:chgData name="Έλια Αποστολοπούλου" userId="55324f8b-f5ef-49c9-8ce3-afc1f275c581" providerId="ADAL" clId="{6415B64A-6679-4FBD-B0B0-D37264004EED}" dt="2025-07-22T19:35:14.996" v="257" actId="478"/>
          <ac:spMkLst>
            <pc:docMk/>
            <pc:sldMk cId="3008117883" sldId="2146849243"/>
            <ac:spMk id="39" creationId="{9684E7C2-8E6B-5A67-D157-59F6ACC85E79}"/>
          </ac:spMkLst>
        </pc:spChg>
      </pc:sldChg>
      <pc:sldChg chg="delSp modSp mod">
        <pc:chgData name="Έλια Αποστολοπούλου" userId="55324f8b-f5ef-49c9-8ce3-afc1f275c581" providerId="ADAL" clId="{6415B64A-6679-4FBD-B0B0-D37264004EED}" dt="2025-07-22T19:35:23.415" v="260"/>
        <pc:sldMkLst>
          <pc:docMk/>
          <pc:sldMk cId="2025672321" sldId="2146849244"/>
        </pc:sldMkLst>
        <pc:spChg chg="del mod">
          <ac:chgData name="Έλια Αποστολοπούλου" userId="55324f8b-f5ef-49c9-8ce3-afc1f275c581" providerId="ADAL" clId="{6415B64A-6679-4FBD-B0B0-D37264004EED}" dt="2025-07-22T19:35:23.415" v="260"/>
          <ac:spMkLst>
            <pc:docMk/>
            <pc:sldMk cId="2025672321" sldId="2146849244"/>
            <ac:spMk id="19" creationId="{9684E7C2-8E6B-5A67-D157-59F6ACC85E79}"/>
          </ac:spMkLst>
        </pc:spChg>
      </pc:sldChg>
      <pc:sldChg chg="delSp mod">
        <pc:chgData name="Έλια Αποστολοπούλου" userId="55324f8b-f5ef-49c9-8ce3-afc1f275c581" providerId="ADAL" clId="{6415B64A-6679-4FBD-B0B0-D37264004EED}" dt="2025-07-22T19:35:31.469" v="262" actId="478"/>
        <pc:sldMkLst>
          <pc:docMk/>
          <pc:sldMk cId="2004633229" sldId="2146849246"/>
        </pc:sldMkLst>
        <pc:spChg chg="del">
          <ac:chgData name="Έλια Αποστολοπούλου" userId="55324f8b-f5ef-49c9-8ce3-afc1f275c581" providerId="ADAL" clId="{6415B64A-6679-4FBD-B0B0-D37264004EED}" dt="2025-07-22T19:35:31.469" v="262" actId="478"/>
          <ac:spMkLst>
            <pc:docMk/>
            <pc:sldMk cId="2004633229" sldId="2146849246"/>
            <ac:spMk id="79" creationId="{9684E7C2-8E6B-5A67-D157-59F6ACC85E79}"/>
          </ac:spMkLst>
        </pc:spChg>
      </pc:sldChg>
      <pc:sldChg chg="delSp mod">
        <pc:chgData name="Έλια Αποστολοπούλου" userId="55324f8b-f5ef-49c9-8ce3-afc1f275c581" providerId="ADAL" clId="{6415B64A-6679-4FBD-B0B0-D37264004EED}" dt="2025-07-22T19:35:27.070" v="261" actId="478"/>
        <pc:sldMkLst>
          <pc:docMk/>
          <pc:sldMk cId="3483231230" sldId="2146849248"/>
        </pc:sldMkLst>
        <pc:spChg chg="del">
          <ac:chgData name="Έλια Αποστολοπούλου" userId="55324f8b-f5ef-49c9-8ce3-afc1f275c581" providerId="ADAL" clId="{6415B64A-6679-4FBD-B0B0-D37264004EED}" dt="2025-07-22T19:35:27.070" v="261" actId="478"/>
          <ac:spMkLst>
            <pc:docMk/>
            <pc:sldMk cId="3483231230" sldId="2146849248"/>
            <ac:spMk id="23" creationId="{9684E7C2-8E6B-5A67-D157-59F6ACC85E79}"/>
          </ac:spMkLst>
        </pc:spChg>
      </pc:sldChg>
      <pc:sldChg chg="delSp modSp mod">
        <pc:chgData name="Έλια Αποστολοπούλου" userId="55324f8b-f5ef-49c9-8ce3-afc1f275c581" providerId="ADAL" clId="{6415B64A-6679-4FBD-B0B0-D37264004EED}" dt="2025-07-22T19:38:22.064" v="268" actId="1076"/>
        <pc:sldMkLst>
          <pc:docMk/>
          <pc:sldMk cId="3091645634" sldId="2146849249"/>
        </pc:sldMkLst>
        <pc:spChg chg="mod">
          <ac:chgData name="Έλια Αποστολοπούλου" userId="55324f8b-f5ef-49c9-8ce3-afc1f275c581" providerId="ADAL" clId="{6415B64A-6679-4FBD-B0B0-D37264004EED}" dt="2025-07-22T19:38:22.064" v="268" actId="1076"/>
          <ac:spMkLst>
            <pc:docMk/>
            <pc:sldMk cId="3091645634" sldId="2146849249"/>
            <ac:spMk id="10" creationId="{58F55985-5846-4469-70B9-3EC84BD70182}"/>
          </ac:spMkLst>
        </pc:spChg>
        <pc:spChg chg="del">
          <ac:chgData name="Έλια Αποστολοπούλου" userId="55324f8b-f5ef-49c9-8ce3-afc1f275c581" providerId="ADAL" clId="{6415B64A-6679-4FBD-B0B0-D37264004EED}" dt="2025-07-22T19:38:17.291" v="266" actId="478"/>
          <ac:spMkLst>
            <pc:docMk/>
            <pc:sldMk cId="3091645634" sldId="2146849249"/>
            <ac:spMk id="40" creationId="{9684E7C2-8E6B-5A67-D157-59F6ACC85E79}"/>
          </ac:spMkLst>
        </pc:spChg>
      </pc:sldChg>
      <pc:sldChg chg="delSp modSp mod">
        <pc:chgData name="Έλια Αποστολοπούλου" userId="55324f8b-f5ef-49c9-8ce3-afc1f275c581" providerId="ADAL" clId="{6415B64A-6679-4FBD-B0B0-D37264004EED}" dt="2025-07-22T19:38:35.448" v="272"/>
        <pc:sldMkLst>
          <pc:docMk/>
          <pc:sldMk cId="1728658558" sldId="2146849250"/>
        </pc:sldMkLst>
        <pc:spChg chg="mod">
          <ac:chgData name="Έλια Αποστολοπούλου" userId="55324f8b-f5ef-49c9-8ce3-afc1f275c581" providerId="ADAL" clId="{6415B64A-6679-4FBD-B0B0-D37264004EED}" dt="2025-07-22T19:38:34.980" v="270" actId="14100"/>
          <ac:spMkLst>
            <pc:docMk/>
            <pc:sldMk cId="1728658558" sldId="2146849250"/>
            <ac:spMk id="8" creationId="{584C1A4F-D30A-0608-7195-3A88ECA297CC}"/>
          </ac:spMkLst>
        </pc:spChg>
        <pc:spChg chg="del mod">
          <ac:chgData name="Έλια Αποστολοπούλου" userId="55324f8b-f5ef-49c9-8ce3-afc1f275c581" providerId="ADAL" clId="{6415B64A-6679-4FBD-B0B0-D37264004EED}" dt="2025-07-22T19:38:35.448" v="272"/>
          <ac:spMkLst>
            <pc:docMk/>
            <pc:sldMk cId="1728658558" sldId="2146849250"/>
            <ac:spMk id="47" creationId="{9684E7C2-8E6B-5A67-D157-59F6ACC85E79}"/>
          </ac:spMkLst>
        </pc:spChg>
      </pc:sldChg>
      <pc:sldChg chg="delSp mod">
        <pc:chgData name="Έλια Αποστολοπούλου" userId="55324f8b-f5ef-49c9-8ce3-afc1f275c581" providerId="ADAL" clId="{6415B64A-6679-4FBD-B0B0-D37264004EED}" dt="2025-07-22T19:38:43.967" v="273" actId="478"/>
        <pc:sldMkLst>
          <pc:docMk/>
          <pc:sldMk cId="545221625" sldId="2146849251"/>
        </pc:sldMkLst>
        <pc:spChg chg="del">
          <ac:chgData name="Έλια Αποστολοπούλου" userId="55324f8b-f5ef-49c9-8ce3-afc1f275c581" providerId="ADAL" clId="{6415B64A-6679-4FBD-B0B0-D37264004EED}" dt="2025-07-22T19:38:43.967" v="273" actId="478"/>
          <ac:spMkLst>
            <pc:docMk/>
            <pc:sldMk cId="545221625" sldId="2146849251"/>
            <ac:spMk id="19" creationId="{9684E7C2-8E6B-5A67-D157-59F6ACC85E79}"/>
          </ac:spMkLst>
        </pc:spChg>
      </pc:sldChg>
      <pc:sldChg chg="delSp mod">
        <pc:chgData name="Έλια Αποστολοπούλου" userId="55324f8b-f5ef-49c9-8ce3-afc1f275c581" providerId="ADAL" clId="{6415B64A-6679-4FBD-B0B0-D37264004EED}" dt="2025-07-22T19:38:51.468" v="274" actId="478"/>
        <pc:sldMkLst>
          <pc:docMk/>
          <pc:sldMk cId="2714680556" sldId="2146849252"/>
        </pc:sldMkLst>
        <pc:spChg chg="del">
          <ac:chgData name="Έλια Αποστολοπούλου" userId="55324f8b-f5ef-49c9-8ce3-afc1f275c581" providerId="ADAL" clId="{6415B64A-6679-4FBD-B0B0-D37264004EED}" dt="2025-07-22T19:38:51.468" v="274" actId="478"/>
          <ac:spMkLst>
            <pc:docMk/>
            <pc:sldMk cId="2714680556" sldId="2146849252"/>
            <ac:spMk id="13" creationId="{9684E7C2-8E6B-5A67-D157-59F6ACC85E79}"/>
          </ac:spMkLst>
        </pc:spChg>
      </pc:sldChg>
      <pc:sldChg chg="delSp mod">
        <pc:chgData name="Έλια Αποστολοπούλου" userId="55324f8b-f5ef-49c9-8ce3-afc1f275c581" providerId="ADAL" clId="{6415B64A-6679-4FBD-B0B0-D37264004EED}" dt="2025-07-22T19:38:55.916" v="275" actId="478"/>
        <pc:sldMkLst>
          <pc:docMk/>
          <pc:sldMk cId="2797691041" sldId="2146849253"/>
        </pc:sldMkLst>
        <pc:spChg chg="del">
          <ac:chgData name="Έλια Αποστολοπούλου" userId="55324f8b-f5ef-49c9-8ce3-afc1f275c581" providerId="ADAL" clId="{6415B64A-6679-4FBD-B0B0-D37264004EED}" dt="2025-07-22T19:38:55.916" v="275" actId="478"/>
          <ac:spMkLst>
            <pc:docMk/>
            <pc:sldMk cId="2797691041" sldId="2146849253"/>
            <ac:spMk id="14" creationId="{9684E7C2-8E6B-5A67-D157-59F6ACC85E79}"/>
          </ac:spMkLst>
        </pc:spChg>
      </pc:sldChg>
      <pc:sldChg chg="delSp mod">
        <pc:chgData name="Έλια Αποστολοπούλου" userId="55324f8b-f5ef-49c9-8ce3-afc1f275c581" providerId="ADAL" clId="{6415B64A-6679-4FBD-B0B0-D37264004EED}" dt="2025-07-22T19:39:02.900" v="276" actId="478"/>
        <pc:sldMkLst>
          <pc:docMk/>
          <pc:sldMk cId="1190054649" sldId="2146849254"/>
        </pc:sldMkLst>
        <pc:spChg chg="del">
          <ac:chgData name="Έλια Αποστολοπούλου" userId="55324f8b-f5ef-49c9-8ce3-afc1f275c581" providerId="ADAL" clId="{6415B64A-6679-4FBD-B0B0-D37264004EED}" dt="2025-07-22T19:39:02.900" v="276" actId="478"/>
          <ac:spMkLst>
            <pc:docMk/>
            <pc:sldMk cId="1190054649" sldId="2146849254"/>
            <ac:spMk id="13" creationId="{9684E7C2-8E6B-5A67-D157-59F6ACC85E79}"/>
          </ac:spMkLst>
        </pc:spChg>
      </pc:sldChg>
      <pc:sldChg chg="delSp modSp mod">
        <pc:chgData name="Έλια Αποστολοπούλου" userId="55324f8b-f5ef-49c9-8ce3-afc1f275c581" providerId="ADAL" clId="{6415B64A-6679-4FBD-B0B0-D37264004EED}" dt="2025-07-22T19:39:20.579" v="280"/>
        <pc:sldMkLst>
          <pc:docMk/>
          <pc:sldMk cId="3072967258" sldId="2146849255"/>
        </pc:sldMkLst>
        <pc:spChg chg="mod">
          <ac:chgData name="Έλια Αποστολοπούλου" userId="55324f8b-f5ef-49c9-8ce3-afc1f275c581" providerId="ADAL" clId="{6415B64A-6679-4FBD-B0B0-D37264004EED}" dt="2025-07-22T19:39:10.650" v="277" actId="207"/>
          <ac:spMkLst>
            <pc:docMk/>
            <pc:sldMk cId="3072967258" sldId="2146849255"/>
            <ac:spMk id="9" creationId="{83158652-855E-C9BC-3451-D10E72FC1207}"/>
          </ac:spMkLst>
        </pc:spChg>
        <pc:spChg chg="del mod">
          <ac:chgData name="Έλια Αποστολοπούλου" userId="55324f8b-f5ef-49c9-8ce3-afc1f275c581" providerId="ADAL" clId="{6415B64A-6679-4FBD-B0B0-D37264004EED}" dt="2025-07-22T19:39:20.579" v="280"/>
          <ac:spMkLst>
            <pc:docMk/>
            <pc:sldMk cId="3072967258" sldId="2146849255"/>
            <ac:spMk id="28" creationId="{9684E7C2-8E6B-5A67-D157-59F6ACC85E79}"/>
          </ac:spMkLst>
        </pc:spChg>
      </pc:sldChg>
      <pc:sldChg chg="delSp mod">
        <pc:chgData name="Έλια Αποστολοπούλου" userId="55324f8b-f5ef-49c9-8ce3-afc1f275c581" providerId="ADAL" clId="{6415B64A-6679-4FBD-B0B0-D37264004EED}" dt="2025-07-22T19:39:24.317" v="281" actId="478"/>
        <pc:sldMkLst>
          <pc:docMk/>
          <pc:sldMk cId="200449534" sldId="2146849256"/>
        </pc:sldMkLst>
        <pc:spChg chg="del">
          <ac:chgData name="Έλια Αποστολοπούλου" userId="55324f8b-f5ef-49c9-8ce3-afc1f275c581" providerId="ADAL" clId="{6415B64A-6679-4FBD-B0B0-D37264004EED}" dt="2025-07-22T19:39:24.317" v="281" actId="478"/>
          <ac:spMkLst>
            <pc:docMk/>
            <pc:sldMk cId="200449534" sldId="2146849256"/>
            <ac:spMk id="28" creationId="{9684E7C2-8E6B-5A67-D157-59F6ACC85E79}"/>
          </ac:spMkLst>
        </pc:spChg>
      </pc:sldChg>
      <pc:sldChg chg="delSp mod">
        <pc:chgData name="Έλια Αποστολοπούλου" userId="55324f8b-f5ef-49c9-8ce3-afc1f275c581" providerId="ADAL" clId="{6415B64A-6679-4FBD-B0B0-D37264004EED}" dt="2025-07-22T19:39:28.292" v="282" actId="478"/>
        <pc:sldMkLst>
          <pc:docMk/>
          <pc:sldMk cId="566887028" sldId="2146849257"/>
        </pc:sldMkLst>
        <pc:spChg chg="del">
          <ac:chgData name="Έλια Αποστολοπούλου" userId="55324f8b-f5ef-49c9-8ce3-afc1f275c581" providerId="ADAL" clId="{6415B64A-6679-4FBD-B0B0-D37264004EED}" dt="2025-07-22T19:39:28.292" v="282" actId="478"/>
          <ac:spMkLst>
            <pc:docMk/>
            <pc:sldMk cId="566887028" sldId="2146849257"/>
            <ac:spMk id="62" creationId="{9684E7C2-8E6B-5A67-D157-59F6ACC85E79}"/>
          </ac:spMkLst>
        </pc:spChg>
      </pc:sldChg>
      <pc:sldChg chg="delSp modSp mod">
        <pc:chgData name="Έλια Αποστολοπούλου" userId="55324f8b-f5ef-49c9-8ce3-afc1f275c581" providerId="ADAL" clId="{6415B64A-6679-4FBD-B0B0-D37264004EED}" dt="2025-07-22T19:39:40.884" v="285" actId="14100"/>
        <pc:sldMkLst>
          <pc:docMk/>
          <pc:sldMk cId="3987272497" sldId="2146849259"/>
        </pc:sldMkLst>
        <pc:spChg chg="mod">
          <ac:chgData name="Έλια Αποστολοπούλου" userId="55324f8b-f5ef-49c9-8ce3-afc1f275c581" providerId="ADAL" clId="{6415B64A-6679-4FBD-B0B0-D37264004EED}" dt="2025-07-22T19:39:40.884" v="285" actId="14100"/>
          <ac:spMkLst>
            <pc:docMk/>
            <pc:sldMk cId="3987272497" sldId="2146849259"/>
            <ac:spMk id="39" creationId="{6AC72A6F-AE2E-4048-844D-61B773B40F10}"/>
          </ac:spMkLst>
        </pc:spChg>
        <pc:spChg chg="del">
          <ac:chgData name="Έλια Αποστολοπούλου" userId="55324f8b-f5ef-49c9-8ce3-afc1f275c581" providerId="ADAL" clId="{6415B64A-6679-4FBD-B0B0-D37264004EED}" dt="2025-07-22T19:39:31.806" v="283" actId="478"/>
          <ac:spMkLst>
            <pc:docMk/>
            <pc:sldMk cId="3987272497" sldId="2146849259"/>
            <ac:spMk id="50" creationId="{9684E7C2-8E6B-5A67-D157-59F6ACC85E79}"/>
          </ac:spMkLst>
        </pc:spChg>
      </pc:sldChg>
      <pc:sldChg chg="delSp modSp mod">
        <pc:chgData name="Έλια Αποστολοπούλου" userId="55324f8b-f5ef-49c9-8ce3-afc1f275c581" providerId="ADAL" clId="{6415B64A-6679-4FBD-B0B0-D37264004EED}" dt="2025-07-22T19:39:50.971" v="288"/>
        <pc:sldMkLst>
          <pc:docMk/>
          <pc:sldMk cId="1795317235" sldId="2146849260"/>
        </pc:sldMkLst>
        <pc:spChg chg="del mod">
          <ac:chgData name="Έλια Αποστολοπούλου" userId="55324f8b-f5ef-49c9-8ce3-afc1f275c581" providerId="ADAL" clId="{6415B64A-6679-4FBD-B0B0-D37264004EED}" dt="2025-07-22T19:39:50.971" v="288"/>
          <ac:spMkLst>
            <pc:docMk/>
            <pc:sldMk cId="1795317235" sldId="2146849260"/>
            <ac:spMk id="16" creationId="{9684E7C2-8E6B-5A67-D157-59F6ACC85E79}"/>
          </ac:spMkLst>
        </pc:spChg>
      </pc:sldChg>
      <pc:sldChg chg="addSp delSp modSp add mod">
        <pc:chgData name="Έλια Αποστολοπούλου" userId="55324f8b-f5ef-49c9-8ce3-afc1f275c581" providerId="ADAL" clId="{6415B64A-6679-4FBD-B0B0-D37264004EED}" dt="2025-07-22T20:19:38.054" v="1145" actId="255"/>
        <pc:sldMkLst>
          <pc:docMk/>
          <pc:sldMk cId="293366041" sldId="2146849262"/>
        </pc:sldMkLst>
        <pc:spChg chg="del">
          <ac:chgData name="Έλια Αποστολοπούλου" userId="55324f8b-f5ef-49c9-8ce3-afc1f275c581" providerId="ADAL" clId="{6415B64A-6679-4FBD-B0B0-D37264004EED}" dt="2025-07-22T20:16:36.515" v="1100" actId="478"/>
          <ac:spMkLst>
            <pc:docMk/>
            <pc:sldMk cId="293366041" sldId="2146849262"/>
            <ac:spMk id="2" creationId="{7AB67446-CAA3-7077-04B5-541278FB550F}"/>
          </ac:spMkLst>
        </pc:spChg>
        <pc:spChg chg="del">
          <ac:chgData name="Έλια Αποστολοπούλου" userId="55324f8b-f5ef-49c9-8ce3-afc1f275c581" providerId="ADAL" clId="{6415B64A-6679-4FBD-B0B0-D37264004EED}" dt="2025-07-22T20:14:54.847" v="1018" actId="478"/>
          <ac:spMkLst>
            <pc:docMk/>
            <pc:sldMk cId="293366041" sldId="2146849262"/>
            <ac:spMk id="3" creationId="{767B9980-1AEB-7DA6-B380-FA122FA70F55}"/>
          </ac:spMkLst>
        </pc:spChg>
        <pc:spChg chg="del">
          <ac:chgData name="Έλια Αποστολοπούλου" userId="55324f8b-f5ef-49c9-8ce3-afc1f275c581" providerId="ADAL" clId="{6415B64A-6679-4FBD-B0B0-D37264004EED}" dt="2025-07-22T20:16:39.734" v="1102" actId="478"/>
          <ac:spMkLst>
            <pc:docMk/>
            <pc:sldMk cId="293366041" sldId="2146849262"/>
            <ac:spMk id="4" creationId="{9D08BF2F-0C1A-870C-3CD4-4CCC3F297337}"/>
          </ac:spMkLst>
        </pc:spChg>
        <pc:spChg chg="add del mod">
          <ac:chgData name="Έλια Αποστολοπούλου" userId="55324f8b-f5ef-49c9-8ce3-afc1f275c581" providerId="ADAL" clId="{6415B64A-6679-4FBD-B0B0-D37264004EED}" dt="2025-07-22T20:17:30.098" v="1107" actId="1076"/>
          <ac:spMkLst>
            <pc:docMk/>
            <pc:sldMk cId="293366041" sldId="2146849262"/>
            <ac:spMk id="5" creationId="{D74737C9-9BB9-1051-88B5-655EE8AA0BCA}"/>
          </ac:spMkLst>
        </pc:spChg>
        <pc:spChg chg="del">
          <ac:chgData name="Έλια Αποστολοπούλου" userId="55324f8b-f5ef-49c9-8ce3-afc1f275c581" providerId="ADAL" clId="{6415B64A-6679-4FBD-B0B0-D37264004EED}" dt="2025-07-22T20:16:38.653" v="1101" actId="478"/>
          <ac:spMkLst>
            <pc:docMk/>
            <pc:sldMk cId="293366041" sldId="2146849262"/>
            <ac:spMk id="6" creationId="{CBB4531A-794D-3B68-9A18-3670962C41FB}"/>
          </ac:spMkLst>
        </pc:spChg>
        <pc:spChg chg="mod">
          <ac:chgData name="Έλια Αποστολοπούλου" userId="55324f8b-f5ef-49c9-8ce3-afc1f275c581" providerId="ADAL" clId="{6415B64A-6679-4FBD-B0B0-D37264004EED}" dt="2025-07-22T20:19:38.054" v="1145" actId="255"/>
          <ac:spMkLst>
            <pc:docMk/>
            <pc:sldMk cId="293366041" sldId="2146849262"/>
            <ac:spMk id="7" creationId="{B9E604F4-EDCB-D228-793F-D3596F7B2152}"/>
          </ac:spMkLst>
        </pc:spChg>
        <pc:spChg chg="del mod">
          <ac:chgData name="Έλια Αποστολοπούλου" userId="55324f8b-f5ef-49c9-8ce3-afc1f275c581" providerId="ADAL" clId="{6415B64A-6679-4FBD-B0B0-D37264004EED}" dt="2025-07-22T20:16:02.167" v="1071" actId="478"/>
          <ac:spMkLst>
            <pc:docMk/>
            <pc:sldMk cId="293366041" sldId="2146849262"/>
            <ac:spMk id="9" creationId="{C364C0D8-00DC-D60E-3FD7-848178FFA4CB}"/>
          </ac:spMkLst>
        </pc:spChg>
        <pc:spChg chg="add del">
          <ac:chgData name="Έλια Αποστολοπούλου" userId="55324f8b-f5ef-49c9-8ce3-afc1f275c581" providerId="ADAL" clId="{6415B64A-6679-4FBD-B0B0-D37264004EED}" dt="2025-07-22T20:16:07.090" v="1074" actId="22"/>
          <ac:spMkLst>
            <pc:docMk/>
            <pc:sldMk cId="293366041" sldId="2146849262"/>
            <ac:spMk id="10" creationId="{9C415B3B-1EB2-E491-E415-BEFAB53EEEBE}"/>
          </ac:spMkLst>
        </pc:spChg>
        <pc:spChg chg="mod">
          <ac:chgData name="Έλια Αποστολοπούλου" userId="55324f8b-f5ef-49c9-8ce3-afc1f275c581" providerId="ADAL" clId="{6415B64A-6679-4FBD-B0B0-D37264004EED}" dt="2025-07-22T20:16:44.575" v="1103" actId="113"/>
          <ac:spMkLst>
            <pc:docMk/>
            <pc:sldMk cId="293366041" sldId="2146849262"/>
            <ac:spMk id="11" creationId="{20A6D69B-3415-DEBC-C49B-4B87DF5B3E16}"/>
          </ac:spMkLst>
        </pc:spChg>
        <pc:spChg chg="add del mod">
          <ac:chgData name="Έλια Αποστολοπούλου" userId="55324f8b-f5ef-49c9-8ce3-afc1f275c581" providerId="ADAL" clId="{6415B64A-6679-4FBD-B0B0-D37264004EED}" dt="2025-07-22T20:17:33.966" v="1108" actId="478"/>
          <ac:spMkLst>
            <pc:docMk/>
            <pc:sldMk cId="293366041" sldId="2146849262"/>
            <ac:spMk id="12" creationId="{6F8EF13B-64BA-67EA-012D-977F0FC0D138}"/>
          </ac:spMkLst>
        </pc:spChg>
        <pc:spChg chg="add del mod">
          <ac:chgData name="Έλια Αποστολοπούλου" userId="55324f8b-f5ef-49c9-8ce3-afc1f275c581" providerId="ADAL" clId="{6415B64A-6679-4FBD-B0B0-D37264004EED}" dt="2025-07-22T20:17:33.966" v="1108" actId="478"/>
          <ac:spMkLst>
            <pc:docMk/>
            <pc:sldMk cId="293366041" sldId="2146849262"/>
            <ac:spMk id="13" creationId="{A619B2D9-E884-440B-F1B4-29098F64CD1C}"/>
          </ac:spMkLst>
        </pc:spChg>
        <pc:spChg chg="add mod">
          <ac:chgData name="Έλια Αποστολοπούλου" userId="55324f8b-f5ef-49c9-8ce3-afc1f275c581" providerId="ADAL" clId="{6415B64A-6679-4FBD-B0B0-D37264004EED}" dt="2025-07-22T20:19:20.347" v="1142" actId="1035"/>
          <ac:spMkLst>
            <pc:docMk/>
            <pc:sldMk cId="293366041" sldId="2146849262"/>
            <ac:spMk id="14" creationId="{8DF245D7-61F9-CF04-47EC-80DA74B2E3BE}"/>
          </ac:spMkLst>
        </pc:spChg>
        <pc:spChg chg="mod">
          <ac:chgData name="Έλια Αποστολοπούλου" userId="55324f8b-f5ef-49c9-8ce3-afc1f275c581" providerId="ADAL" clId="{6415B64A-6679-4FBD-B0B0-D37264004EED}" dt="2025-07-22T20:12:50.768" v="967" actId="20577"/>
          <ac:spMkLst>
            <pc:docMk/>
            <pc:sldMk cId="293366041" sldId="2146849262"/>
            <ac:spMk id="15" creationId="{A4C11A50-1977-3AD7-E82F-9486D41B213A}"/>
          </ac:spMkLst>
        </pc:spChg>
        <pc:spChg chg="add mod">
          <ac:chgData name="Έλια Αποστολοπούλου" userId="55324f8b-f5ef-49c9-8ce3-afc1f275c581" providerId="ADAL" clId="{6415B64A-6679-4FBD-B0B0-D37264004EED}" dt="2025-07-22T20:18:45.167" v="1120" actId="20577"/>
          <ac:spMkLst>
            <pc:docMk/>
            <pc:sldMk cId="293366041" sldId="2146849262"/>
            <ac:spMk id="16" creationId="{57A44AE7-592E-FA86-CEC4-08F1D2F4133A}"/>
          </ac:spMkLst>
        </pc:spChg>
        <pc:spChg chg="add mod">
          <ac:chgData name="Έλια Αποστολοπούλου" userId="55324f8b-f5ef-49c9-8ce3-afc1f275c581" providerId="ADAL" clId="{6415B64A-6679-4FBD-B0B0-D37264004EED}" dt="2025-07-22T20:19:17.041" v="1137" actId="1035"/>
          <ac:spMkLst>
            <pc:docMk/>
            <pc:sldMk cId="293366041" sldId="2146849262"/>
            <ac:spMk id="18" creationId="{C5CBB0E1-B04B-491E-DAE8-096D1DF56551}"/>
          </ac:spMkLst>
        </pc:spChg>
        <pc:spChg chg="add mod">
          <ac:chgData name="Έλια Αποστολοπούλου" userId="55324f8b-f5ef-49c9-8ce3-afc1f275c581" providerId="ADAL" clId="{6415B64A-6679-4FBD-B0B0-D37264004EED}" dt="2025-07-22T20:19:03.344" v="1127" actId="20577"/>
          <ac:spMkLst>
            <pc:docMk/>
            <pc:sldMk cId="293366041" sldId="2146849262"/>
            <ac:spMk id="19" creationId="{973BF2F3-815C-2121-7769-F9C5F4DF0AB5}"/>
          </ac:spMkLst>
        </pc:spChg>
      </pc:sldChg>
      <pc:sldChg chg="modSp add mod">
        <pc:chgData name="Έλια Αποστολοπούλου" userId="55324f8b-f5ef-49c9-8ce3-afc1f275c581" providerId="ADAL" clId="{6415B64A-6679-4FBD-B0B0-D37264004EED}" dt="2025-07-22T20:30:10.813" v="1269" actId="1076"/>
        <pc:sldMkLst>
          <pc:docMk/>
          <pc:sldMk cId="1435504984" sldId="2146849263"/>
        </pc:sldMkLst>
        <pc:spChg chg="mod">
          <ac:chgData name="Έλια Αποστολοπούλου" userId="55324f8b-f5ef-49c9-8ce3-afc1f275c581" providerId="ADAL" clId="{6415B64A-6679-4FBD-B0B0-D37264004EED}" dt="2025-07-22T20:30:10.813" v="1269" actId="1076"/>
          <ac:spMkLst>
            <pc:docMk/>
            <pc:sldMk cId="1435504984" sldId="2146849263"/>
            <ac:spMk id="3" creationId="{8B5B5D80-1172-FF5A-3F95-D5BBDE2023A5}"/>
          </ac:spMkLst>
        </pc:spChg>
      </pc:sldChg>
      <pc:sldMasterChg chg="del delSldLayout">
        <pc:chgData name="Έλια Αποστολοπούλου" userId="55324f8b-f5ef-49c9-8ce3-afc1f275c581" providerId="ADAL" clId="{6415B64A-6679-4FBD-B0B0-D37264004EED}" dt="2025-07-22T19:41:24.187" v="293" actId="47"/>
        <pc:sldMasterMkLst>
          <pc:docMk/>
          <pc:sldMasterMk cId="3641091050" sldId="2147483787"/>
        </pc:sldMasterMkLst>
        <pc:sldLayoutChg chg="del">
          <pc:chgData name="Έλια Αποστολοπούλου" userId="55324f8b-f5ef-49c9-8ce3-afc1f275c581" providerId="ADAL" clId="{6415B64A-6679-4FBD-B0B0-D37264004EED}" dt="2025-07-22T19:40:43.918" v="289" actId="47"/>
          <pc:sldLayoutMkLst>
            <pc:docMk/>
            <pc:sldMasterMk cId="3641091050" sldId="2147483787"/>
            <pc:sldLayoutMk cId="3950844940" sldId="2147483788"/>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2560297638" sldId="2147483789"/>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1817528039" sldId="2147483790"/>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8742015" sldId="2147483791"/>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356453986" sldId="2147483792"/>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1332703547" sldId="2147483793"/>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341617539" sldId="2147483794"/>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543333288" sldId="2147483795"/>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1513380171" sldId="2147483796"/>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1505666440" sldId="2147483797"/>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3015742123" sldId="2147483798"/>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2185652771" sldId="2147483799"/>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1753311855" sldId="2147483800"/>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3754615257" sldId="2147483802"/>
          </pc:sldLayoutMkLst>
        </pc:sldLayoutChg>
        <pc:sldLayoutChg chg="del">
          <pc:chgData name="Έλια Αποστολοπούλου" userId="55324f8b-f5ef-49c9-8ce3-afc1f275c581" providerId="ADAL" clId="{6415B64A-6679-4FBD-B0B0-D37264004EED}" dt="2025-07-22T19:41:24.187" v="293" actId="47"/>
          <pc:sldLayoutMkLst>
            <pc:docMk/>
            <pc:sldMasterMk cId="3641091050" sldId="2147483787"/>
            <pc:sldLayoutMk cId="2071411037" sldId="2147484127"/>
          </pc:sldLayoutMkLst>
        </pc:sldLayoutChg>
      </pc:sldMasterChg>
      <pc:sldMasterChg chg="delSldLayout">
        <pc:chgData name="Έλια Αποστολοπούλου" userId="55324f8b-f5ef-49c9-8ce3-afc1f275c581" providerId="ADAL" clId="{6415B64A-6679-4FBD-B0B0-D37264004EED}" dt="2025-07-22T20:12:34.651" v="948" actId="47"/>
        <pc:sldMasterMkLst>
          <pc:docMk/>
          <pc:sldMasterMk cId="3149483968" sldId="2147484168"/>
        </pc:sldMasterMkLst>
        <pc:sldLayoutChg chg="del">
          <pc:chgData name="Έλια Αποστολοπούλου" userId="55324f8b-f5ef-49c9-8ce3-afc1f275c581" providerId="ADAL" clId="{6415B64A-6679-4FBD-B0B0-D37264004EED}" dt="2025-07-22T20:12:34.651" v="948" actId="47"/>
          <pc:sldLayoutMkLst>
            <pc:docMk/>
            <pc:sldMasterMk cId="3149483968" sldId="2147484168"/>
            <pc:sldLayoutMk cId="0" sldId="2147484200"/>
          </pc:sldLayoutMkLst>
        </pc:sldLayoutChg>
      </pc:sldMasterChg>
      <pc:sldMasterChg chg="del delSldLayout">
        <pc:chgData name="Έλια Αποστολοπούλου" userId="55324f8b-f5ef-49c9-8ce3-afc1f275c581" providerId="ADAL" clId="{6415B64A-6679-4FBD-B0B0-D37264004EED}" dt="2025-07-22T03:04:44.673" v="2"/>
        <pc:sldMasterMkLst>
          <pc:docMk/>
          <pc:sldMasterMk cId="4113829181" sldId="2147484190"/>
        </pc:sldMasterMkLst>
        <pc:sldLayoutChg chg="del">
          <pc:chgData name="Έλια Αποστολοπούλου" userId="55324f8b-f5ef-49c9-8ce3-afc1f275c581" providerId="ADAL" clId="{6415B64A-6679-4FBD-B0B0-D37264004EED}" dt="2025-07-22T03:04:44.673" v="2"/>
          <pc:sldLayoutMkLst>
            <pc:docMk/>
            <pc:sldMasterMk cId="4113829181" sldId="2147484190"/>
            <pc:sldLayoutMk cId="4230755548" sldId="2147484191"/>
          </pc:sldLayoutMkLst>
        </pc:sldLayoutChg>
        <pc:sldLayoutChg chg="del">
          <pc:chgData name="Έλια Αποστολοπούλου" userId="55324f8b-f5ef-49c9-8ce3-afc1f275c581" providerId="ADAL" clId="{6415B64A-6679-4FBD-B0B0-D37264004EED}" dt="2025-07-22T03:04:44.673" v="2"/>
          <pc:sldLayoutMkLst>
            <pc:docMk/>
            <pc:sldMasterMk cId="4113829181" sldId="2147484190"/>
            <pc:sldLayoutMk cId="878990688" sldId="2147484192"/>
          </pc:sldLayoutMkLst>
        </pc:sldLayoutChg>
        <pc:sldLayoutChg chg="del">
          <pc:chgData name="Έλια Αποστολοπούλου" userId="55324f8b-f5ef-49c9-8ce3-afc1f275c581" providerId="ADAL" clId="{6415B64A-6679-4FBD-B0B0-D37264004EED}" dt="2025-07-22T03:04:44.673" v="2"/>
          <pc:sldLayoutMkLst>
            <pc:docMk/>
            <pc:sldMasterMk cId="4113829181" sldId="2147484190"/>
            <pc:sldLayoutMk cId="4292292924" sldId="2147484193"/>
          </pc:sldLayoutMkLst>
        </pc:sldLayoutChg>
        <pc:sldLayoutChg chg="del">
          <pc:chgData name="Έλια Αποστολοπούλου" userId="55324f8b-f5ef-49c9-8ce3-afc1f275c581" providerId="ADAL" clId="{6415B64A-6679-4FBD-B0B0-D37264004EED}" dt="2025-07-22T03:04:44.673" v="2"/>
          <pc:sldLayoutMkLst>
            <pc:docMk/>
            <pc:sldMasterMk cId="4113829181" sldId="2147484190"/>
            <pc:sldLayoutMk cId="2218249261" sldId="2147484194"/>
          </pc:sldLayoutMkLst>
        </pc:sldLayoutChg>
        <pc:sldLayoutChg chg="del">
          <pc:chgData name="Έλια Αποστολοπούλου" userId="55324f8b-f5ef-49c9-8ce3-afc1f275c581" providerId="ADAL" clId="{6415B64A-6679-4FBD-B0B0-D37264004EED}" dt="2025-07-22T03:04:44.673" v="2"/>
          <pc:sldLayoutMkLst>
            <pc:docMk/>
            <pc:sldMasterMk cId="4113829181" sldId="2147484190"/>
            <pc:sldLayoutMk cId="2986624150" sldId="2147484195"/>
          </pc:sldLayoutMkLst>
        </pc:sldLayoutChg>
        <pc:sldLayoutChg chg="del">
          <pc:chgData name="Έλια Αποστολοπούλου" userId="55324f8b-f5ef-49c9-8ce3-afc1f275c581" providerId="ADAL" clId="{6415B64A-6679-4FBD-B0B0-D37264004EED}" dt="2025-07-22T03:04:44.673" v="2"/>
          <pc:sldLayoutMkLst>
            <pc:docMk/>
            <pc:sldMasterMk cId="4113829181" sldId="2147484190"/>
            <pc:sldLayoutMk cId="2968022517" sldId="2147484196"/>
          </pc:sldLayoutMkLst>
        </pc:sldLayoutChg>
      </pc:sldMasterChg>
    </pc:docChg>
  </pc:docChgLst>
  <pc:docChgLst>
    <pc:chgData name="Έλια Αποστολοπούλου" userId="55324f8b-f5ef-49c9-8ce3-afc1f275c581" providerId="ADAL" clId="{9E7137ED-CCFA-4E42-9EC7-5B1406527940}"/>
    <pc:docChg chg="undo custSel addSld delSld modSld sldOrd delMainMaster">
      <pc:chgData name="Έλια Αποστολοπούλου" userId="55324f8b-f5ef-49c9-8ce3-afc1f275c581" providerId="ADAL" clId="{9E7137ED-CCFA-4E42-9EC7-5B1406527940}" dt="2024-12-04T09:24:43.490" v="1059" actId="20577"/>
      <pc:docMkLst>
        <pc:docMk/>
      </pc:docMkLst>
      <pc:sldChg chg="del">
        <pc:chgData name="Έλια Αποστολοπούλου" userId="55324f8b-f5ef-49c9-8ce3-afc1f275c581" providerId="ADAL" clId="{9E7137ED-CCFA-4E42-9EC7-5B1406527940}" dt="2024-12-03T18:42:47.274" v="427" actId="2696"/>
        <pc:sldMkLst>
          <pc:docMk/>
          <pc:sldMk cId="1805642224" sldId="258"/>
        </pc:sldMkLst>
      </pc:sldChg>
      <pc:sldChg chg="del">
        <pc:chgData name="Έλια Αποστολοπούλου" userId="55324f8b-f5ef-49c9-8ce3-afc1f275c581" providerId="ADAL" clId="{9E7137ED-CCFA-4E42-9EC7-5B1406527940}" dt="2024-12-04T08:23:11.423" v="1030" actId="2696"/>
        <pc:sldMkLst>
          <pc:docMk/>
          <pc:sldMk cId="2868312183" sldId="258"/>
        </pc:sldMkLst>
      </pc:sldChg>
      <pc:sldChg chg="del">
        <pc:chgData name="Έλια Αποστολοπούλου" userId="55324f8b-f5ef-49c9-8ce3-afc1f275c581" providerId="ADAL" clId="{9E7137ED-CCFA-4E42-9EC7-5B1406527940}" dt="2024-12-03T18:42:47.274" v="427" actId="2696"/>
        <pc:sldMkLst>
          <pc:docMk/>
          <pc:sldMk cId="1907041626" sldId="260"/>
        </pc:sldMkLst>
      </pc:sldChg>
      <pc:sldChg chg="del">
        <pc:chgData name="Έλια Αποστολοπούλου" userId="55324f8b-f5ef-49c9-8ce3-afc1f275c581" providerId="ADAL" clId="{9E7137ED-CCFA-4E42-9EC7-5B1406527940}" dt="2024-12-04T08:23:11.423" v="1030" actId="2696"/>
        <pc:sldMkLst>
          <pc:docMk/>
          <pc:sldMk cId="3250132768" sldId="260"/>
        </pc:sldMkLst>
      </pc:sldChg>
      <pc:sldChg chg="del">
        <pc:chgData name="Έλια Αποστολοπούλου" userId="55324f8b-f5ef-49c9-8ce3-afc1f275c581" providerId="ADAL" clId="{9E7137ED-CCFA-4E42-9EC7-5B1406527940}" dt="2024-12-03T18:42:47.274" v="427" actId="2696"/>
        <pc:sldMkLst>
          <pc:docMk/>
          <pc:sldMk cId="2583466883" sldId="261"/>
        </pc:sldMkLst>
      </pc:sldChg>
      <pc:sldChg chg="del">
        <pc:chgData name="Έλια Αποστολοπούλου" userId="55324f8b-f5ef-49c9-8ce3-afc1f275c581" providerId="ADAL" clId="{9E7137ED-CCFA-4E42-9EC7-5B1406527940}" dt="2024-12-04T08:23:11.423" v="1030" actId="2696"/>
        <pc:sldMkLst>
          <pc:docMk/>
          <pc:sldMk cId="3240495227" sldId="261"/>
        </pc:sldMkLst>
      </pc:sldChg>
      <pc:sldChg chg="del">
        <pc:chgData name="Έλια Αποστολοπούλου" userId="55324f8b-f5ef-49c9-8ce3-afc1f275c581" providerId="ADAL" clId="{9E7137ED-CCFA-4E42-9EC7-5B1406527940}" dt="2024-12-04T08:23:11.423" v="1030" actId="2696"/>
        <pc:sldMkLst>
          <pc:docMk/>
          <pc:sldMk cId="1183961963" sldId="262"/>
        </pc:sldMkLst>
      </pc:sldChg>
      <pc:sldChg chg="del">
        <pc:chgData name="Έλια Αποστολοπούλου" userId="55324f8b-f5ef-49c9-8ce3-afc1f275c581" providerId="ADAL" clId="{9E7137ED-CCFA-4E42-9EC7-5B1406527940}" dt="2024-12-03T18:42:47.274" v="427" actId="2696"/>
        <pc:sldMkLst>
          <pc:docMk/>
          <pc:sldMk cId="3418301527" sldId="262"/>
        </pc:sldMkLst>
      </pc:sldChg>
      <pc:sldChg chg="del">
        <pc:chgData name="Έλια Αποστολοπούλου" userId="55324f8b-f5ef-49c9-8ce3-afc1f275c581" providerId="ADAL" clId="{9E7137ED-CCFA-4E42-9EC7-5B1406527940}" dt="2024-12-03T18:42:47.274" v="427" actId="2696"/>
        <pc:sldMkLst>
          <pc:docMk/>
          <pc:sldMk cId="1146833870" sldId="263"/>
        </pc:sldMkLst>
      </pc:sldChg>
      <pc:sldChg chg="del">
        <pc:chgData name="Έλια Αποστολοπούλου" userId="55324f8b-f5ef-49c9-8ce3-afc1f275c581" providerId="ADAL" clId="{9E7137ED-CCFA-4E42-9EC7-5B1406527940}" dt="2024-12-04T08:23:11.423" v="1030" actId="2696"/>
        <pc:sldMkLst>
          <pc:docMk/>
          <pc:sldMk cId="2397637459" sldId="263"/>
        </pc:sldMkLst>
      </pc:sldChg>
      <pc:sldChg chg="del">
        <pc:chgData name="Έλια Αποστολοπούλου" userId="55324f8b-f5ef-49c9-8ce3-afc1f275c581" providerId="ADAL" clId="{9E7137ED-CCFA-4E42-9EC7-5B1406527940}" dt="2024-12-03T18:42:47.274" v="427" actId="2696"/>
        <pc:sldMkLst>
          <pc:docMk/>
          <pc:sldMk cId="707816418" sldId="264"/>
        </pc:sldMkLst>
      </pc:sldChg>
      <pc:sldChg chg="del">
        <pc:chgData name="Έλια Αποστολοπούλου" userId="55324f8b-f5ef-49c9-8ce3-afc1f275c581" providerId="ADAL" clId="{9E7137ED-CCFA-4E42-9EC7-5B1406527940}" dt="2024-12-04T08:23:11.423" v="1030" actId="2696"/>
        <pc:sldMkLst>
          <pc:docMk/>
          <pc:sldMk cId="1967786623" sldId="264"/>
        </pc:sldMkLst>
      </pc:sldChg>
      <pc:sldChg chg="del">
        <pc:chgData name="Έλια Αποστολοπούλου" userId="55324f8b-f5ef-49c9-8ce3-afc1f275c581" providerId="ADAL" clId="{9E7137ED-CCFA-4E42-9EC7-5B1406527940}" dt="2024-12-04T08:23:11.423" v="1030" actId="2696"/>
        <pc:sldMkLst>
          <pc:docMk/>
          <pc:sldMk cId="1380417799" sldId="269"/>
        </pc:sldMkLst>
      </pc:sldChg>
      <pc:sldChg chg="del">
        <pc:chgData name="Έλια Αποστολοπούλου" userId="55324f8b-f5ef-49c9-8ce3-afc1f275c581" providerId="ADAL" clId="{9E7137ED-CCFA-4E42-9EC7-5B1406527940}" dt="2024-12-03T18:42:47.274" v="427" actId="2696"/>
        <pc:sldMkLst>
          <pc:docMk/>
          <pc:sldMk cId="1980267271" sldId="269"/>
        </pc:sldMkLst>
      </pc:sldChg>
      <pc:sldChg chg="del">
        <pc:chgData name="Έλια Αποστολοπούλου" userId="55324f8b-f5ef-49c9-8ce3-afc1f275c581" providerId="ADAL" clId="{9E7137ED-CCFA-4E42-9EC7-5B1406527940}" dt="2024-12-04T08:23:11.423" v="1030" actId="2696"/>
        <pc:sldMkLst>
          <pc:docMk/>
          <pc:sldMk cId="1509586420" sldId="270"/>
        </pc:sldMkLst>
      </pc:sldChg>
      <pc:sldChg chg="del">
        <pc:chgData name="Έλια Αποστολοπούλου" userId="55324f8b-f5ef-49c9-8ce3-afc1f275c581" providerId="ADAL" clId="{9E7137ED-CCFA-4E42-9EC7-5B1406527940}" dt="2024-12-03T18:42:47.274" v="427" actId="2696"/>
        <pc:sldMkLst>
          <pc:docMk/>
          <pc:sldMk cId="1875178362" sldId="270"/>
        </pc:sldMkLst>
      </pc:sldChg>
      <pc:sldChg chg="modSp mod">
        <pc:chgData name="Έλια Αποστολοπούλου" userId="55324f8b-f5ef-49c9-8ce3-afc1f275c581" providerId="ADAL" clId="{9E7137ED-CCFA-4E42-9EC7-5B1406527940}" dt="2024-12-04T08:37:08.200" v="1038" actId="6549"/>
        <pc:sldMkLst>
          <pc:docMk/>
          <pc:sldMk cId="920463320" sldId="630"/>
        </pc:sldMkLst>
      </pc:sldChg>
      <pc:sldChg chg="modSp mod">
        <pc:chgData name="Έλια Αποστολοπούλου" userId="55324f8b-f5ef-49c9-8ce3-afc1f275c581" providerId="ADAL" clId="{9E7137ED-CCFA-4E42-9EC7-5B1406527940}" dt="2024-12-04T08:37:19.175" v="1039" actId="6549"/>
        <pc:sldMkLst>
          <pc:docMk/>
          <pc:sldMk cId="162167172" sldId="633"/>
        </pc:sldMkLst>
      </pc:sldChg>
      <pc:sldChg chg="modSp mod">
        <pc:chgData name="Έλια Αποστολοπούλου" userId="55324f8b-f5ef-49c9-8ce3-afc1f275c581" providerId="ADAL" clId="{9E7137ED-CCFA-4E42-9EC7-5B1406527940}" dt="2024-12-04T08:37:28.213" v="1040" actId="6549"/>
        <pc:sldMkLst>
          <pc:docMk/>
          <pc:sldMk cId="2767333430" sldId="634"/>
        </pc:sldMkLst>
      </pc:sldChg>
      <pc:sldChg chg="modSp mod">
        <pc:chgData name="Έλια Αποστολοπούλου" userId="55324f8b-f5ef-49c9-8ce3-afc1f275c581" providerId="ADAL" clId="{9E7137ED-CCFA-4E42-9EC7-5B1406527940}" dt="2024-12-04T08:36:55.756" v="1037" actId="6549"/>
        <pc:sldMkLst>
          <pc:docMk/>
          <pc:sldMk cId="3242956153" sldId="636"/>
        </pc:sldMkLst>
      </pc:sldChg>
      <pc:sldChg chg="add del">
        <pc:chgData name="Έλια Αποστολοπούλου" userId="55324f8b-f5ef-49c9-8ce3-afc1f275c581" providerId="ADAL" clId="{9E7137ED-CCFA-4E42-9EC7-5B1406527940}" dt="2024-12-04T05:37:15.470" v="973" actId="47"/>
        <pc:sldMkLst>
          <pc:docMk/>
          <pc:sldMk cId="0" sldId="647"/>
        </pc:sldMkLst>
      </pc:sldChg>
      <pc:sldChg chg="del">
        <pc:chgData name="Έλια Αποστολοπούλου" userId="55324f8b-f5ef-49c9-8ce3-afc1f275c581" providerId="ADAL" clId="{9E7137ED-CCFA-4E42-9EC7-5B1406527940}" dt="2024-12-03T18:47:06.779" v="430" actId="2696"/>
        <pc:sldMkLst>
          <pc:docMk/>
          <pc:sldMk cId="2477999187" sldId="688"/>
        </pc:sldMkLst>
      </pc:sldChg>
      <pc:sldChg chg="add del">
        <pc:chgData name="Έλια Αποστολοπούλου" userId="55324f8b-f5ef-49c9-8ce3-afc1f275c581" providerId="ADAL" clId="{9E7137ED-CCFA-4E42-9EC7-5B1406527940}" dt="2024-12-04T05:37:26.731" v="977" actId="47"/>
        <pc:sldMkLst>
          <pc:docMk/>
          <pc:sldMk cId="3541030438" sldId="713"/>
        </pc:sldMkLst>
      </pc:sldChg>
      <pc:sldChg chg="add del">
        <pc:chgData name="Έλια Αποστολοπούλου" userId="55324f8b-f5ef-49c9-8ce3-afc1f275c581" providerId="ADAL" clId="{9E7137ED-CCFA-4E42-9EC7-5B1406527940}" dt="2024-12-04T05:37:31.362" v="980" actId="47"/>
        <pc:sldMkLst>
          <pc:docMk/>
          <pc:sldMk cId="3128875146" sldId="715"/>
        </pc:sldMkLst>
      </pc:sldChg>
      <pc:sldChg chg="add del">
        <pc:chgData name="Έλια Αποστολοπούλου" userId="55324f8b-f5ef-49c9-8ce3-afc1f275c581" providerId="ADAL" clId="{9E7137ED-CCFA-4E42-9EC7-5B1406527940}" dt="2024-12-04T05:37:24.745" v="976" actId="47"/>
        <pc:sldMkLst>
          <pc:docMk/>
          <pc:sldMk cId="3412486842" sldId="716"/>
        </pc:sldMkLst>
      </pc:sldChg>
      <pc:sldChg chg="del">
        <pc:chgData name="Έλια Αποστολοπούλου" userId="55324f8b-f5ef-49c9-8ce3-afc1f275c581" providerId="ADAL" clId="{9E7137ED-CCFA-4E42-9EC7-5B1406527940}" dt="2024-12-04T05:37:34.979" v="982" actId="47"/>
        <pc:sldMkLst>
          <pc:docMk/>
          <pc:sldMk cId="3451922620" sldId="717"/>
        </pc:sldMkLst>
      </pc:sldChg>
      <pc:sldChg chg="del">
        <pc:chgData name="Έλια Αποστολοπούλου" userId="55324f8b-f5ef-49c9-8ce3-afc1f275c581" providerId="ADAL" clId="{9E7137ED-CCFA-4E42-9EC7-5B1406527940}" dt="2024-12-04T08:35:01.218" v="1035" actId="47"/>
        <pc:sldMkLst>
          <pc:docMk/>
          <pc:sldMk cId="2292780930" sldId="718"/>
        </pc:sldMkLst>
      </pc:sldChg>
      <pc:sldChg chg="del">
        <pc:chgData name="Έλια Αποστολοπούλου" userId="55324f8b-f5ef-49c9-8ce3-afc1f275c581" providerId="ADAL" clId="{9E7137ED-CCFA-4E42-9EC7-5B1406527940}" dt="2024-12-04T05:37:02.513" v="968" actId="47"/>
        <pc:sldMkLst>
          <pc:docMk/>
          <pc:sldMk cId="2394067039" sldId="718"/>
        </pc:sldMkLst>
      </pc:sldChg>
      <pc:sldChg chg="del">
        <pc:chgData name="Έλια Αποστολοπούλου" userId="55324f8b-f5ef-49c9-8ce3-afc1f275c581" providerId="ADAL" clId="{9E7137ED-CCFA-4E42-9EC7-5B1406527940}" dt="2024-12-04T05:37:02.513" v="968" actId="47"/>
        <pc:sldMkLst>
          <pc:docMk/>
          <pc:sldMk cId="1842744665" sldId="720"/>
        </pc:sldMkLst>
      </pc:sldChg>
      <pc:sldChg chg="del">
        <pc:chgData name="Έλια Αποστολοπούλου" userId="55324f8b-f5ef-49c9-8ce3-afc1f275c581" providerId="ADAL" clId="{9E7137ED-CCFA-4E42-9EC7-5B1406527940}" dt="2024-12-04T05:36:50.019" v="966" actId="47"/>
        <pc:sldMkLst>
          <pc:docMk/>
          <pc:sldMk cId="4276344384" sldId="722"/>
        </pc:sldMkLst>
      </pc:sldChg>
      <pc:sldChg chg="del">
        <pc:chgData name="Έλια Αποστολοπούλου" userId="55324f8b-f5ef-49c9-8ce3-afc1f275c581" providerId="ADAL" clId="{9E7137ED-CCFA-4E42-9EC7-5B1406527940}" dt="2024-12-04T05:36:56.493" v="967" actId="47"/>
        <pc:sldMkLst>
          <pc:docMk/>
          <pc:sldMk cId="663855668" sldId="724"/>
        </pc:sldMkLst>
      </pc:sldChg>
      <pc:sldChg chg="del">
        <pc:chgData name="Έλια Αποστολοπούλου" userId="55324f8b-f5ef-49c9-8ce3-afc1f275c581" providerId="ADAL" clId="{9E7137ED-CCFA-4E42-9EC7-5B1406527940}" dt="2024-12-04T05:37:02.513" v="968" actId="47"/>
        <pc:sldMkLst>
          <pc:docMk/>
          <pc:sldMk cId="3222118343" sldId="725"/>
        </pc:sldMkLst>
      </pc:sldChg>
      <pc:sldChg chg="del">
        <pc:chgData name="Έλια Αποστολοπούλου" userId="55324f8b-f5ef-49c9-8ce3-afc1f275c581" providerId="ADAL" clId="{9E7137ED-CCFA-4E42-9EC7-5B1406527940}" dt="2024-12-04T05:36:56.493" v="967" actId="47"/>
        <pc:sldMkLst>
          <pc:docMk/>
          <pc:sldMk cId="1868528673" sldId="726"/>
        </pc:sldMkLst>
      </pc:sldChg>
      <pc:sldChg chg="del">
        <pc:chgData name="Έλια Αποστολοπούλου" userId="55324f8b-f5ef-49c9-8ce3-afc1f275c581" providerId="ADAL" clId="{9E7137ED-CCFA-4E42-9EC7-5B1406527940}" dt="2024-12-04T05:37:02.513" v="968" actId="47"/>
        <pc:sldMkLst>
          <pc:docMk/>
          <pc:sldMk cId="3538002215" sldId="727"/>
        </pc:sldMkLst>
      </pc:sldChg>
      <pc:sldChg chg="del">
        <pc:chgData name="Έλια Αποστολοπούλου" userId="55324f8b-f5ef-49c9-8ce3-afc1f275c581" providerId="ADAL" clId="{9E7137ED-CCFA-4E42-9EC7-5B1406527940}" dt="2024-12-04T05:36:56.493" v="967" actId="47"/>
        <pc:sldMkLst>
          <pc:docMk/>
          <pc:sldMk cId="1386574650" sldId="730"/>
        </pc:sldMkLst>
      </pc:sldChg>
      <pc:sldChg chg="del">
        <pc:chgData name="Έλια Αποστολοπούλου" userId="55324f8b-f5ef-49c9-8ce3-afc1f275c581" providerId="ADAL" clId="{9E7137ED-CCFA-4E42-9EC7-5B1406527940}" dt="2024-12-04T05:36:56.493" v="967" actId="47"/>
        <pc:sldMkLst>
          <pc:docMk/>
          <pc:sldMk cId="2560343970" sldId="731"/>
        </pc:sldMkLst>
      </pc:sldChg>
      <pc:sldChg chg="del">
        <pc:chgData name="Έλια Αποστολοπούλου" userId="55324f8b-f5ef-49c9-8ce3-afc1f275c581" providerId="ADAL" clId="{9E7137ED-CCFA-4E42-9EC7-5B1406527940}" dt="2024-12-04T05:37:02.513" v="968" actId="47"/>
        <pc:sldMkLst>
          <pc:docMk/>
          <pc:sldMk cId="3657125787" sldId="732"/>
        </pc:sldMkLst>
      </pc:sldChg>
      <pc:sldChg chg="del">
        <pc:chgData name="Έλια Αποστολοπούλου" userId="55324f8b-f5ef-49c9-8ce3-afc1f275c581" providerId="ADAL" clId="{9E7137ED-CCFA-4E42-9EC7-5B1406527940}" dt="2024-12-04T05:36:50.019" v="966" actId="47"/>
        <pc:sldMkLst>
          <pc:docMk/>
          <pc:sldMk cId="1501743948" sldId="733"/>
        </pc:sldMkLst>
      </pc:sldChg>
      <pc:sldChg chg="del">
        <pc:chgData name="Έλια Αποστολοπούλου" userId="55324f8b-f5ef-49c9-8ce3-afc1f275c581" providerId="ADAL" clId="{9E7137ED-CCFA-4E42-9EC7-5B1406527940}" dt="2024-12-04T05:36:50.019" v="966" actId="47"/>
        <pc:sldMkLst>
          <pc:docMk/>
          <pc:sldMk cId="561617248" sldId="734"/>
        </pc:sldMkLst>
      </pc:sldChg>
      <pc:sldChg chg="del">
        <pc:chgData name="Έλια Αποστολοπούλου" userId="55324f8b-f5ef-49c9-8ce3-afc1f275c581" providerId="ADAL" clId="{9E7137ED-CCFA-4E42-9EC7-5B1406527940}" dt="2024-12-04T05:36:50.019" v="966" actId="47"/>
        <pc:sldMkLst>
          <pc:docMk/>
          <pc:sldMk cId="4258131241" sldId="736"/>
        </pc:sldMkLst>
      </pc:sldChg>
      <pc:sldChg chg="del">
        <pc:chgData name="Έλια Αποστολοπούλου" userId="55324f8b-f5ef-49c9-8ce3-afc1f275c581" providerId="ADAL" clId="{9E7137ED-CCFA-4E42-9EC7-5B1406527940}" dt="2024-12-04T05:36:50.019" v="966" actId="47"/>
        <pc:sldMkLst>
          <pc:docMk/>
          <pc:sldMk cId="1473073253" sldId="737"/>
        </pc:sldMkLst>
      </pc:sldChg>
      <pc:sldChg chg="del">
        <pc:chgData name="Έλια Αποστολοπούλου" userId="55324f8b-f5ef-49c9-8ce3-afc1f275c581" providerId="ADAL" clId="{9E7137ED-CCFA-4E42-9EC7-5B1406527940}" dt="2024-12-04T05:36:56.493" v="967" actId="47"/>
        <pc:sldMkLst>
          <pc:docMk/>
          <pc:sldMk cId="723782749" sldId="739"/>
        </pc:sldMkLst>
      </pc:sldChg>
      <pc:sldChg chg="del">
        <pc:chgData name="Έλια Αποστολοπούλου" userId="55324f8b-f5ef-49c9-8ce3-afc1f275c581" providerId="ADAL" clId="{9E7137ED-CCFA-4E42-9EC7-5B1406527940}" dt="2024-12-04T05:36:56.493" v="967" actId="47"/>
        <pc:sldMkLst>
          <pc:docMk/>
          <pc:sldMk cId="3651138445" sldId="740"/>
        </pc:sldMkLst>
      </pc:sldChg>
      <pc:sldChg chg="del">
        <pc:chgData name="Έλια Αποστολοπούλου" userId="55324f8b-f5ef-49c9-8ce3-afc1f275c581" providerId="ADAL" clId="{9E7137ED-CCFA-4E42-9EC7-5B1406527940}" dt="2024-12-04T05:37:23.697" v="975" actId="47"/>
        <pc:sldMkLst>
          <pc:docMk/>
          <pc:sldMk cId="505404306" sldId="741"/>
        </pc:sldMkLst>
      </pc:sldChg>
      <pc:sldChg chg="del">
        <pc:chgData name="Έλια Αποστολοπούλου" userId="55324f8b-f5ef-49c9-8ce3-afc1f275c581" providerId="ADAL" clId="{9E7137ED-CCFA-4E42-9EC7-5B1406527940}" dt="2024-12-04T05:36:56.493" v="967" actId="47"/>
        <pc:sldMkLst>
          <pc:docMk/>
          <pc:sldMk cId="3297499787" sldId="742"/>
        </pc:sldMkLst>
      </pc:sldChg>
      <pc:sldChg chg="del">
        <pc:chgData name="Έλια Αποστολοπούλου" userId="55324f8b-f5ef-49c9-8ce3-afc1f275c581" providerId="ADAL" clId="{9E7137ED-CCFA-4E42-9EC7-5B1406527940}" dt="2024-12-04T05:37:32.428" v="981" actId="47"/>
        <pc:sldMkLst>
          <pc:docMk/>
          <pc:sldMk cId="1126714600" sldId="744"/>
        </pc:sldMkLst>
      </pc:sldChg>
      <pc:sldChg chg="add del">
        <pc:chgData name="Έλια Αποστολοπούλου" userId="55324f8b-f5ef-49c9-8ce3-afc1f275c581" providerId="ADAL" clId="{9E7137ED-CCFA-4E42-9EC7-5B1406527940}" dt="2024-12-04T05:37:28.711" v="978" actId="47"/>
        <pc:sldMkLst>
          <pc:docMk/>
          <pc:sldMk cId="3605636739" sldId="748"/>
        </pc:sldMkLst>
      </pc:sldChg>
      <pc:sldChg chg="add del">
        <pc:chgData name="Έλια Αποστολοπούλου" userId="55324f8b-f5ef-49c9-8ce3-afc1f275c581" providerId="ADAL" clId="{9E7137ED-CCFA-4E42-9EC7-5B1406527940}" dt="2024-12-04T05:37:30.098" v="979" actId="47"/>
        <pc:sldMkLst>
          <pc:docMk/>
          <pc:sldMk cId="839790244" sldId="750"/>
        </pc:sldMkLst>
      </pc:sldChg>
      <pc:sldChg chg="del">
        <pc:chgData name="Έλια Αποστολοπούλου" userId="55324f8b-f5ef-49c9-8ce3-afc1f275c581" providerId="ADAL" clId="{9E7137ED-CCFA-4E42-9EC7-5B1406527940}" dt="2024-12-04T05:36:50.019" v="966" actId="47"/>
        <pc:sldMkLst>
          <pc:docMk/>
          <pc:sldMk cId="4134159822" sldId="751"/>
        </pc:sldMkLst>
      </pc:sldChg>
      <pc:sldChg chg="del">
        <pc:chgData name="Έλια Αποστολοπούλου" userId="55324f8b-f5ef-49c9-8ce3-afc1f275c581" providerId="ADAL" clId="{9E7137ED-CCFA-4E42-9EC7-5B1406527940}" dt="2024-12-03T18:57:23.102" v="673" actId="2696"/>
        <pc:sldMkLst>
          <pc:docMk/>
          <pc:sldMk cId="0" sldId="752"/>
        </pc:sldMkLst>
      </pc:sldChg>
      <pc:sldChg chg="modSp mod">
        <pc:chgData name="Έλια Αποστολοπούλου" userId="55324f8b-f5ef-49c9-8ce3-afc1f275c581" providerId="ADAL" clId="{9E7137ED-CCFA-4E42-9EC7-5B1406527940}" dt="2024-12-03T18:59:31.176" v="693" actId="20577"/>
        <pc:sldMkLst>
          <pc:docMk/>
          <pc:sldMk cId="1293455918" sldId="752"/>
        </pc:sldMkLst>
      </pc:sldChg>
      <pc:sldChg chg="addSp delSp modSp mod">
        <pc:chgData name="Έλια Αποστολοπούλου" userId="55324f8b-f5ef-49c9-8ce3-afc1f275c581" providerId="ADAL" clId="{9E7137ED-CCFA-4E42-9EC7-5B1406527940}" dt="2024-12-04T04:34:36.040" v="864" actId="1076"/>
        <pc:sldMkLst>
          <pc:docMk/>
          <pc:sldMk cId="346480272" sldId="806"/>
        </pc:sldMkLst>
      </pc:sldChg>
      <pc:sldChg chg="del">
        <pc:chgData name="Έλια Αποστολοπούλου" userId="55324f8b-f5ef-49c9-8ce3-afc1f275c581" providerId="ADAL" clId="{9E7137ED-CCFA-4E42-9EC7-5B1406527940}" dt="2024-12-04T08:23:11.423" v="1030" actId="2696"/>
        <pc:sldMkLst>
          <pc:docMk/>
          <pc:sldMk cId="2038949945" sldId="835"/>
        </pc:sldMkLst>
      </pc:sldChg>
      <pc:sldChg chg="del">
        <pc:chgData name="Έλια Αποστολοπούλου" userId="55324f8b-f5ef-49c9-8ce3-afc1f275c581" providerId="ADAL" clId="{9E7137ED-CCFA-4E42-9EC7-5B1406527940}" dt="2024-12-03T18:44:17.849" v="429" actId="2696"/>
        <pc:sldMkLst>
          <pc:docMk/>
          <pc:sldMk cId="3951298495" sldId="835"/>
        </pc:sldMkLst>
      </pc:sldChg>
      <pc:sldChg chg="del">
        <pc:chgData name="Έλια Αποστολοπούλου" userId="55324f8b-f5ef-49c9-8ce3-afc1f275c581" providerId="ADAL" clId="{9E7137ED-CCFA-4E42-9EC7-5B1406527940}" dt="2024-12-03T18:55:46.247" v="664" actId="2696"/>
        <pc:sldMkLst>
          <pc:docMk/>
          <pc:sldMk cId="3109921902" sldId="874"/>
        </pc:sldMkLst>
      </pc:sldChg>
      <pc:sldChg chg="del">
        <pc:chgData name="Έλια Αποστολοπούλου" userId="55324f8b-f5ef-49c9-8ce3-afc1f275c581" providerId="ADAL" clId="{9E7137ED-CCFA-4E42-9EC7-5B1406527940}" dt="2024-12-03T18:55:46.247" v="664" actId="2696"/>
        <pc:sldMkLst>
          <pc:docMk/>
          <pc:sldMk cId="1695432749" sldId="875"/>
        </pc:sldMkLst>
      </pc:sldChg>
      <pc:sldChg chg="del">
        <pc:chgData name="Έλια Αποστολοπούλου" userId="55324f8b-f5ef-49c9-8ce3-afc1f275c581" providerId="ADAL" clId="{9E7137ED-CCFA-4E42-9EC7-5B1406527940}" dt="2024-12-03T18:55:46.247" v="664" actId="2696"/>
        <pc:sldMkLst>
          <pc:docMk/>
          <pc:sldMk cId="0" sldId="876"/>
        </pc:sldMkLst>
      </pc:sldChg>
      <pc:sldChg chg="modSp mod">
        <pc:chgData name="Έλια Αποστολοπούλου" userId="55324f8b-f5ef-49c9-8ce3-afc1f275c581" providerId="ADAL" clId="{9E7137ED-CCFA-4E42-9EC7-5B1406527940}" dt="2024-12-03T18:56:30.927" v="672" actId="6549"/>
        <pc:sldMkLst>
          <pc:docMk/>
          <pc:sldMk cId="3915935983" sldId="876"/>
        </pc:sldMkLst>
      </pc:sldChg>
      <pc:sldChg chg="del">
        <pc:chgData name="Έλια Αποστολοπούλου" userId="55324f8b-f5ef-49c9-8ce3-afc1f275c581" providerId="ADAL" clId="{9E7137ED-CCFA-4E42-9EC7-5B1406527940}" dt="2024-12-03T18:55:46.247" v="664" actId="2696"/>
        <pc:sldMkLst>
          <pc:docMk/>
          <pc:sldMk cId="2383684637" sldId="877"/>
        </pc:sldMkLst>
      </pc:sldChg>
      <pc:sldChg chg="del">
        <pc:chgData name="Έλια Αποστολοπούλου" userId="55324f8b-f5ef-49c9-8ce3-afc1f275c581" providerId="ADAL" clId="{9E7137ED-CCFA-4E42-9EC7-5B1406527940}" dt="2024-12-03T18:55:46.247" v="664" actId="2696"/>
        <pc:sldMkLst>
          <pc:docMk/>
          <pc:sldMk cId="2352202515" sldId="879"/>
        </pc:sldMkLst>
      </pc:sldChg>
      <pc:sldChg chg="del">
        <pc:chgData name="Έλια Αποστολοπούλου" userId="55324f8b-f5ef-49c9-8ce3-afc1f275c581" providerId="ADAL" clId="{9E7137ED-CCFA-4E42-9EC7-5B1406527940}" dt="2024-12-03T18:55:46.247" v="664" actId="2696"/>
        <pc:sldMkLst>
          <pc:docMk/>
          <pc:sldMk cId="3287974801" sldId="886"/>
        </pc:sldMkLst>
      </pc:sldChg>
      <pc:sldChg chg="del">
        <pc:chgData name="Έλια Αποστολοπούλου" userId="55324f8b-f5ef-49c9-8ce3-afc1f275c581" providerId="ADAL" clId="{9E7137ED-CCFA-4E42-9EC7-5B1406527940}" dt="2024-12-03T18:55:46.247" v="664" actId="2696"/>
        <pc:sldMkLst>
          <pc:docMk/>
          <pc:sldMk cId="631709225" sldId="888"/>
        </pc:sldMkLst>
      </pc:sldChg>
      <pc:sldChg chg="del">
        <pc:chgData name="Έλια Αποστολοπούλου" userId="55324f8b-f5ef-49c9-8ce3-afc1f275c581" providerId="ADAL" clId="{9E7137ED-CCFA-4E42-9EC7-5B1406527940}" dt="2024-12-03T18:55:46.247" v="664" actId="2696"/>
        <pc:sldMkLst>
          <pc:docMk/>
          <pc:sldMk cId="2506421167" sldId="889"/>
        </pc:sldMkLst>
      </pc:sldChg>
      <pc:sldChg chg="modSp mod">
        <pc:chgData name="Έλια Αποστολοπούλου" userId="55324f8b-f5ef-49c9-8ce3-afc1f275c581" providerId="ADAL" clId="{9E7137ED-CCFA-4E42-9EC7-5B1406527940}" dt="2024-12-04T09:24:43.490" v="1059" actId="20577"/>
        <pc:sldMkLst>
          <pc:docMk/>
          <pc:sldMk cId="2592120056" sldId="893"/>
        </pc:sldMkLst>
      </pc:sldChg>
      <pc:sldChg chg="del">
        <pc:chgData name="Έλια Αποστολοπούλου" userId="55324f8b-f5ef-49c9-8ce3-afc1f275c581" providerId="ADAL" clId="{9E7137ED-CCFA-4E42-9EC7-5B1406527940}" dt="2024-12-03T18:30:37.959" v="425" actId="2696"/>
        <pc:sldMkLst>
          <pc:docMk/>
          <pc:sldMk cId="2739927076" sldId="941"/>
        </pc:sldMkLst>
      </pc:sldChg>
      <pc:sldChg chg="del">
        <pc:chgData name="Έλια Αποστολοπούλου" userId="55324f8b-f5ef-49c9-8ce3-afc1f275c581" providerId="ADAL" clId="{9E7137ED-CCFA-4E42-9EC7-5B1406527940}" dt="2024-12-03T18:57:23.102" v="673" actId="2696"/>
        <pc:sldMkLst>
          <pc:docMk/>
          <pc:sldMk cId="1752926187" sldId="1149"/>
        </pc:sldMkLst>
      </pc:sldChg>
      <pc:sldChg chg="del">
        <pc:chgData name="Έλια Αποστολοπούλου" userId="55324f8b-f5ef-49c9-8ce3-afc1f275c581" providerId="ADAL" clId="{9E7137ED-CCFA-4E42-9EC7-5B1406527940}" dt="2024-12-03T18:55:46.247" v="664" actId="2696"/>
        <pc:sldMkLst>
          <pc:docMk/>
          <pc:sldMk cId="2909546914" sldId="1164"/>
        </pc:sldMkLst>
      </pc:sldChg>
      <pc:sldChg chg="del ord">
        <pc:chgData name="Έλια Αποστολοπούλου" userId="55324f8b-f5ef-49c9-8ce3-afc1f275c581" providerId="ADAL" clId="{9E7137ED-CCFA-4E42-9EC7-5B1406527940}" dt="2024-12-04T08:29:27.241" v="1031" actId="2696"/>
        <pc:sldMkLst>
          <pc:docMk/>
          <pc:sldMk cId="2735602984" sldId="1178"/>
        </pc:sldMkLst>
      </pc:sldChg>
      <pc:sldChg chg="del">
        <pc:chgData name="Έλια Αποστολοπούλου" userId="55324f8b-f5ef-49c9-8ce3-afc1f275c581" providerId="ADAL" clId="{9E7137ED-CCFA-4E42-9EC7-5B1406527940}" dt="2024-12-03T11:35:19.074" v="45" actId="47"/>
        <pc:sldMkLst>
          <pc:docMk/>
          <pc:sldMk cId="866411842" sldId="1179"/>
        </pc:sldMkLst>
      </pc:sldChg>
      <pc:sldChg chg="del">
        <pc:chgData name="Έλια Αποστολοπούλου" userId="55324f8b-f5ef-49c9-8ce3-afc1f275c581" providerId="ADAL" clId="{9E7137ED-CCFA-4E42-9EC7-5B1406527940}" dt="2024-12-04T08:23:11.423" v="1030" actId="2696"/>
        <pc:sldMkLst>
          <pc:docMk/>
          <pc:sldMk cId="783503755" sldId="1184"/>
        </pc:sldMkLst>
      </pc:sldChg>
      <pc:sldChg chg="del">
        <pc:chgData name="Έλια Αποστολοπούλου" userId="55324f8b-f5ef-49c9-8ce3-afc1f275c581" providerId="ADAL" clId="{9E7137ED-CCFA-4E42-9EC7-5B1406527940}" dt="2024-12-03T18:42:47.274" v="427" actId="2696"/>
        <pc:sldMkLst>
          <pc:docMk/>
          <pc:sldMk cId="2823367766" sldId="1184"/>
        </pc:sldMkLst>
      </pc:sldChg>
      <pc:sldChg chg="del">
        <pc:chgData name="Έλια Αποστολοπούλου" userId="55324f8b-f5ef-49c9-8ce3-afc1f275c581" providerId="ADAL" clId="{9E7137ED-CCFA-4E42-9EC7-5B1406527940}" dt="2024-12-03T12:03:22.172" v="49" actId="47"/>
        <pc:sldMkLst>
          <pc:docMk/>
          <pc:sldMk cId="1840444230" sldId="1192"/>
        </pc:sldMkLst>
      </pc:sldChg>
      <pc:sldChg chg="del">
        <pc:chgData name="Έλια Αποστολοπούλου" userId="55324f8b-f5ef-49c9-8ce3-afc1f275c581" providerId="ADAL" clId="{9E7137ED-CCFA-4E42-9EC7-5B1406527940}" dt="2024-12-03T12:03:25.639" v="50" actId="47"/>
        <pc:sldMkLst>
          <pc:docMk/>
          <pc:sldMk cId="1006793299" sldId="1193"/>
        </pc:sldMkLst>
      </pc:sldChg>
      <pc:sldChg chg="delSp del mod">
        <pc:chgData name="Έλια Αποστολοπούλου" userId="55324f8b-f5ef-49c9-8ce3-afc1f275c581" providerId="ADAL" clId="{9E7137ED-CCFA-4E42-9EC7-5B1406527940}" dt="2024-12-04T04:27:26.518" v="858" actId="47"/>
        <pc:sldMkLst>
          <pc:docMk/>
          <pc:sldMk cId="3093425402" sldId="1195"/>
        </pc:sldMkLst>
      </pc:sldChg>
      <pc:sldChg chg="modSp del mod">
        <pc:chgData name="Έλια Αποστολοπούλου" userId="55324f8b-f5ef-49c9-8ce3-afc1f275c581" providerId="ADAL" clId="{9E7137ED-CCFA-4E42-9EC7-5B1406527940}" dt="2024-12-03T18:15:04.509" v="385" actId="47"/>
        <pc:sldMkLst>
          <pc:docMk/>
          <pc:sldMk cId="4043065941" sldId="1196"/>
        </pc:sldMkLst>
      </pc:sldChg>
      <pc:sldChg chg="modSp mod">
        <pc:chgData name="Έλια Αποστολοπούλου" userId="55324f8b-f5ef-49c9-8ce3-afc1f275c581" providerId="ADAL" clId="{9E7137ED-CCFA-4E42-9EC7-5B1406527940}" dt="2024-12-04T09:02:04.065" v="1046" actId="20577"/>
        <pc:sldMkLst>
          <pc:docMk/>
          <pc:sldMk cId="1482319928" sldId="1197"/>
        </pc:sldMkLst>
      </pc:sldChg>
      <pc:sldChg chg="del">
        <pc:chgData name="Έλια Αποστολοπούλου" userId="55324f8b-f5ef-49c9-8ce3-afc1f275c581" providerId="ADAL" clId="{9E7137ED-CCFA-4E42-9EC7-5B1406527940}" dt="2024-12-03T11:52:12.147" v="48" actId="47"/>
        <pc:sldMkLst>
          <pc:docMk/>
          <pc:sldMk cId="3191550814" sldId="1206"/>
        </pc:sldMkLst>
      </pc:sldChg>
      <pc:sldChg chg="del">
        <pc:chgData name="Έλια Αποστολοπούλου" userId="55324f8b-f5ef-49c9-8ce3-afc1f275c581" providerId="ADAL" clId="{9E7137ED-CCFA-4E42-9EC7-5B1406527940}" dt="2024-12-04T08:23:11.423" v="1030" actId="2696"/>
        <pc:sldMkLst>
          <pc:docMk/>
          <pc:sldMk cId="1081896939" sldId="1216"/>
        </pc:sldMkLst>
      </pc:sldChg>
      <pc:sldChg chg="del">
        <pc:chgData name="Έλια Αποστολοπούλου" userId="55324f8b-f5ef-49c9-8ce3-afc1f275c581" providerId="ADAL" clId="{9E7137ED-CCFA-4E42-9EC7-5B1406527940}" dt="2024-12-03T18:44:02.089" v="428" actId="2696"/>
        <pc:sldMkLst>
          <pc:docMk/>
          <pc:sldMk cId="3040383152" sldId="1216"/>
        </pc:sldMkLst>
      </pc:sldChg>
      <pc:sldChg chg="del">
        <pc:chgData name="Έλια Αποστολοπούλου" userId="55324f8b-f5ef-49c9-8ce3-afc1f275c581" providerId="ADAL" clId="{9E7137ED-CCFA-4E42-9EC7-5B1406527940}" dt="2024-12-04T05:37:02.513" v="968" actId="47"/>
        <pc:sldMkLst>
          <pc:docMk/>
          <pc:sldMk cId="2543739291" sldId="1254"/>
        </pc:sldMkLst>
      </pc:sldChg>
      <pc:sldChg chg="add del">
        <pc:chgData name="Έλια Αποστολοπούλου" userId="55324f8b-f5ef-49c9-8ce3-afc1f275c581" providerId="ADAL" clId="{9E7137ED-CCFA-4E42-9EC7-5B1406527940}" dt="2024-12-04T05:37:14.805" v="972" actId="47"/>
        <pc:sldMkLst>
          <pc:docMk/>
          <pc:sldMk cId="0" sldId="1256"/>
        </pc:sldMkLst>
      </pc:sldChg>
      <pc:sldChg chg="del">
        <pc:chgData name="Έλια Αποστολοπούλου" userId="55324f8b-f5ef-49c9-8ce3-afc1f275c581" providerId="ADAL" clId="{9E7137ED-CCFA-4E42-9EC7-5B1406527940}" dt="2024-12-04T08:23:11.423" v="1030" actId="2696"/>
        <pc:sldMkLst>
          <pc:docMk/>
          <pc:sldMk cId="296810723" sldId="1257"/>
        </pc:sldMkLst>
      </pc:sldChg>
      <pc:sldChg chg="del">
        <pc:chgData name="Έλια Αποστολοπούλου" userId="55324f8b-f5ef-49c9-8ce3-afc1f275c581" providerId="ADAL" clId="{9E7137ED-CCFA-4E42-9EC7-5B1406527940}" dt="2024-12-03T18:44:17.849" v="429" actId="2696"/>
        <pc:sldMkLst>
          <pc:docMk/>
          <pc:sldMk cId="1662459772" sldId="1257"/>
        </pc:sldMkLst>
      </pc:sldChg>
      <pc:sldChg chg="del">
        <pc:chgData name="Έλια Αποστολοπούλου" userId="55324f8b-f5ef-49c9-8ce3-afc1f275c581" providerId="ADAL" clId="{9E7137ED-CCFA-4E42-9EC7-5B1406527940}" dt="2024-12-04T08:23:11.423" v="1030" actId="2696"/>
        <pc:sldMkLst>
          <pc:docMk/>
          <pc:sldMk cId="6471600" sldId="1258"/>
        </pc:sldMkLst>
      </pc:sldChg>
      <pc:sldChg chg="del">
        <pc:chgData name="Έλια Αποστολοπούλου" userId="55324f8b-f5ef-49c9-8ce3-afc1f275c581" providerId="ADAL" clId="{9E7137ED-CCFA-4E42-9EC7-5B1406527940}" dt="2024-12-03T18:44:17.849" v="429" actId="2696"/>
        <pc:sldMkLst>
          <pc:docMk/>
          <pc:sldMk cId="243950305" sldId="1258"/>
        </pc:sldMkLst>
      </pc:sldChg>
      <pc:sldChg chg="del">
        <pc:chgData name="Έλια Αποστολοπούλου" userId="55324f8b-f5ef-49c9-8ce3-afc1f275c581" providerId="ADAL" clId="{9E7137ED-CCFA-4E42-9EC7-5B1406527940}" dt="2024-12-03T18:42:47.274" v="427" actId="2696"/>
        <pc:sldMkLst>
          <pc:docMk/>
          <pc:sldMk cId="2234532568" sldId="1259"/>
        </pc:sldMkLst>
      </pc:sldChg>
      <pc:sldChg chg="del">
        <pc:chgData name="Έλια Αποστολοπούλου" userId="55324f8b-f5ef-49c9-8ce3-afc1f275c581" providerId="ADAL" clId="{9E7137ED-CCFA-4E42-9EC7-5B1406527940}" dt="2024-12-04T08:23:11.423" v="1030" actId="2696"/>
        <pc:sldMkLst>
          <pc:docMk/>
          <pc:sldMk cId="3671563008" sldId="1259"/>
        </pc:sldMkLst>
      </pc:sldChg>
      <pc:sldChg chg="del">
        <pc:chgData name="Έλια Αποστολοπούλου" userId="55324f8b-f5ef-49c9-8ce3-afc1f275c581" providerId="ADAL" clId="{9E7137ED-CCFA-4E42-9EC7-5B1406527940}" dt="2024-12-04T08:23:11.423" v="1030" actId="2696"/>
        <pc:sldMkLst>
          <pc:docMk/>
          <pc:sldMk cId="642591625" sldId="1260"/>
        </pc:sldMkLst>
      </pc:sldChg>
      <pc:sldChg chg="del">
        <pc:chgData name="Έλια Αποστολοπούλου" userId="55324f8b-f5ef-49c9-8ce3-afc1f275c581" providerId="ADAL" clId="{9E7137ED-CCFA-4E42-9EC7-5B1406527940}" dt="2024-12-03T18:44:02.089" v="428" actId="2696"/>
        <pc:sldMkLst>
          <pc:docMk/>
          <pc:sldMk cId="2398581608" sldId="1260"/>
        </pc:sldMkLst>
      </pc:sldChg>
      <pc:sldChg chg="del">
        <pc:chgData name="Έλια Αποστολοπούλου" userId="55324f8b-f5ef-49c9-8ce3-afc1f275c581" providerId="ADAL" clId="{9E7137ED-CCFA-4E42-9EC7-5B1406527940}" dt="2024-12-04T08:23:11.423" v="1030" actId="2696"/>
        <pc:sldMkLst>
          <pc:docMk/>
          <pc:sldMk cId="1834710794" sldId="1261"/>
        </pc:sldMkLst>
      </pc:sldChg>
      <pc:sldChg chg="del">
        <pc:chgData name="Έλια Αποστολοπούλου" userId="55324f8b-f5ef-49c9-8ce3-afc1f275c581" providerId="ADAL" clId="{9E7137ED-CCFA-4E42-9EC7-5B1406527940}" dt="2024-12-03T18:44:02.089" v="428" actId="2696"/>
        <pc:sldMkLst>
          <pc:docMk/>
          <pc:sldMk cId="3841718535" sldId="1261"/>
        </pc:sldMkLst>
      </pc:sldChg>
      <pc:sldChg chg="del">
        <pc:chgData name="Έλια Αποστολοπούλου" userId="55324f8b-f5ef-49c9-8ce3-afc1f275c581" providerId="ADAL" clId="{9E7137ED-CCFA-4E42-9EC7-5B1406527940}" dt="2024-12-03T18:44:02.089" v="428" actId="2696"/>
        <pc:sldMkLst>
          <pc:docMk/>
          <pc:sldMk cId="1371070460" sldId="1262"/>
        </pc:sldMkLst>
      </pc:sldChg>
      <pc:sldChg chg="del">
        <pc:chgData name="Έλια Αποστολοπούλου" userId="55324f8b-f5ef-49c9-8ce3-afc1f275c581" providerId="ADAL" clId="{9E7137ED-CCFA-4E42-9EC7-5B1406527940}" dt="2024-12-04T08:23:11.423" v="1030" actId="2696"/>
        <pc:sldMkLst>
          <pc:docMk/>
          <pc:sldMk cId="2059360780" sldId="1262"/>
        </pc:sldMkLst>
      </pc:sldChg>
      <pc:sldChg chg="del">
        <pc:chgData name="Έλια Αποστολοπούλου" userId="55324f8b-f5ef-49c9-8ce3-afc1f275c581" providerId="ADAL" clId="{9E7137ED-CCFA-4E42-9EC7-5B1406527940}" dt="2024-12-03T18:44:02.089" v="428" actId="2696"/>
        <pc:sldMkLst>
          <pc:docMk/>
          <pc:sldMk cId="1799021030" sldId="1263"/>
        </pc:sldMkLst>
      </pc:sldChg>
      <pc:sldChg chg="del">
        <pc:chgData name="Έλια Αποστολοπούλου" userId="55324f8b-f5ef-49c9-8ce3-afc1f275c581" providerId="ADAL" clId="{9E7137ED-CCFA-4E42-9EC7-5B1406527940}" dt="2024-12-04T08:23:11.423" v="1030" actId="2696"/>
        <pc:sldMkLst>
          <pc:docMk/>
          <pc:sldMk cId="2365164165" sldId="1263"/>
        </pc:sldMkLst>
      </pc:sldChg>
      <pc:sldChg chg="del">
        <pc:chgData name="Έλια Αποστολοπούλου" userId="55324f8b-f5ef-49c9-8ce3-afc1f275c581" providerId="ADAL" clId="{9E7137ED-CCFA-4E42-9EC7-5B1406527940}" dt="2024-12-03T18:55:46.247" v="664" actId="2696"/>
        <pc:sldMkLst>
          <pc:docMk/>
          <pc:sldMk cId="1989353499" sldId="1264"/>
        </pc:sldMkLst>
      </pc:sldChg>
      <pc:sldChg chg="del">
        <pc:chgData name="Έλια Αποστολοπούλου" userId="55324f8b-f5ef-49c9-8ce3-afc1f275c581" providerId="ADAL" clId="{9E7137ED-CCFA-4E42-9EC7-5B1406527940}" dt="2024-12-03T18:55:46.247" v="664" actId="2696"/>
        <pc:sldMkLst>
          <pc:docMk/>
          <pc:sldMk cId="120099588" sldId="1265"/>
        </pc:sldMkLst>
      </pc:sldChg>
      <pc:sldChg chg="del">
        <pc:chgData name="Έλια Αποστολοπούλου" userId="55324f8b-f5ef-49c9-8ce3-afc1f275c581" providerId="ADAL" clId="{9E7137ED-CCFA-4E42-9EC7-5B1406527940}" dt="2024-12-03T18:55:46.247" v="664" actId="2696"/>
        <pc:sldMkLst>
          <pc:docMk/>
          <pc:sldMk cId="3531664912" sldId="1266"/>
        </pc:sldMkLst>
      </pc:sldChg>
      <pc:sldChg chg="del">
        <pc:chgData name="Έλια Αποστολοπούλου" userId="55324f8b-f5ef-49c9-8ce3-afc1f275c581" providerId="ADAL" clId="{9E7137ED-CCFA-4E42-9EC7-5B1406527940}" dt="2024-12-03T18:57:23.102" v="673" actId="2696"/>
        <pc:sldMkLst>
          <pc:docMk/>
          <pc:sldMk cId="374853499" sldId="1267"/>
        </pc:sldMkLst>
      </pc:sldChg>
      <pc:sldChg chg="del">
        <pc:chgData name="Έλια Αποστολοπούλου" userId="55324f8b-f5ef-49c9-8ce3-afc1f275c581" providerId="ADAL" clId="{9E7137ED-CCFA-4E42-9EC7-5B1406527940}" dt="2024-12-03T18:57:23.102" v="673" actId="2696"/>
        <pc:sldMkLst>
          <pc:docMk/>
          <pc:sldMk cId="999688118" sldId="1269"/>
        </pc:sldMkLst>
      </pc:sldChg>
      <pc:sldChg chg="del">
        <pc:chgData name="Έλια Αποστολοπούλου" userId="55324f8b-f5ef-49c9-8ce3-afc1f275c581" providerId="ADAL" clId="{9E7137ED-CCFA-4E42-9EC7-5B1406527940}" dt="2024-12-03T18:57:23.102" v="673" actId="2696"/>
        <pc:sldMkLst>
          <pc:docMk/>
          <pc:sldMk cId="0" sldId="1270"/>
        </pc:sldMkLst>
      </pc:sldChg>
      <pc:sldChg chg="modSp mod">
        <pc:chgData name="Έλια Αποστολοπούλου" userId="55324f8b-f5ef-49c9-8ce3-afc1f275c581" providerId="ADAL" clId="{9E7137ED-CCFA-4E42-9EC7-5B1406527940}" dt="2024-12-03T18:59:54.037" v="696" actId="20577"/>
        <pc:sldMkLst>
          <pc:docMk/>
          <pc:sldMk cId="1765276165" sldId="1270"/>
        </pc:sldMkLst>
      </pc:sldChg>
      <pc:sldChg chg="modSp mod">
        <pc:chgData name="Έλια Αποστολοπούλου" userId="55324f8b-f5ef-49c9-8ce3-afc1f275c581" providerId="ADAL" clId="{9E7137ED-CCFA-4E42-9EC7-5B1406527940}" dt="2024-12-04T09:21:06.403" v="1048" actId="20577"/>
        <pc:sldMkLst>
          <pc:docMk/>
          <pc:sldMk cId="4192009020" sldId="1285"/>
        </pc:sldMkLst>
      </pc:sldChg>
      <pc:sldChg chg="del">
        <pc:chgData name="Έλια Αποστολοπούλου" userId="55324f8b-f5ef-49c9-8ce3-afc1f275c581" providerId="ADAL" clId="{9E7137ED-CCFA-4E42-9EC7-5B1406527940}" dt="2024-12-03T18:30:37.959" v="425" actId="2696"/>
        <pc:sldMkLst>
          <pc:docMk/>
          <pc:sldMk cId="2853266764" sldId="1294"/>
        </pc:sldMkLst>
      </pc:sldChg>
      <pc:sldChg chg="modSp mod">
        <pc:chgData name="Έλια Αποστολοπούλου" userId="55324f8b-f5ef-49c9-8ce3-afc1f275c581" providerId="ADAL" clId="{9E7137ED-CCFA-4E42-9EC7-5B1406527940}" dt="2024-12-03T18:31:07.032" v="426" actId="34135"/>
        <pc:sldMkLst>
          <pc:docMk/>
          <pc:sldMk cId="3274501045" sldId="1294"/>
        </pc:sldMkLst>
      </pc:sldChg>
      <pc:sldChg chg="del">
        <pc:chgData name="Έλια Αποστολοπούλου" userId="55324f8b-f5ef-49c9-8ce3-afc1f275c581" providerId="ADAL" clId="{9E7137ED-CCFA-4E42-9EC7-5B1406527940}" dt="2024-12-03T18:30:37.959" v="425" actId="2696"/>
        <pc:sldMkLst>
          <pc:docMk/>
          <pc:sldMk cId="1663859015" sldId="1295"/>
        </pc:sldMkLst>
      </pc:sldChg>
      <pc:sldChg chg="del">
        <pc:chgData name="Έλια Αποστολοπούλου" userId="55324f8b-f5ef-49c9-8ce3-afc1f275c581" providerId="ADAL" clId="{9E7137ED-CCFA-4E42-9EC7-5B1406527940}" dt="2024-12-03T18:30:37.959" v="425" actId="2696"/>
        <pc:sldMkLst>
          <pc:docMk/>
          <pc:sldMk cId="2062618912" sldId="1296"/>
        </pc:sldMkLst>
      </pc:sldChg>
      <pc:sldChg chg="modSp mod">
        <pc:chgData name="Έλια Αποστολοπούλου" userId="55324f8b-f5ef-49c9-8ce3-afc1f275c581" providerId="ADAL" clId="{9E7137ED-CCFA-4E42-9EC7-5B1406527940}" dt="2024-12-04T06:06:02.176" v="1029" actId="20577"/>
        <pc:sldMkLst>
          <pc:docMk/>
          <pc:sldMk cId="1616950025" sldId="1297"/>
        </pc:sldMkLst>
      </pc:sldChg>
      <pc:sldChg chg="del">
        <pc:chgData name="Έλια Αποστολοπούλου" userId="55324f8b-f5ef-49c9-8ce3-afc1f275c581" providerId="ADAL" clId="{9E7137ED-CCFA-4E42-9EC7-5B1406527940}" dt="2024-12-03T18:30:37.959" v="425" actId="2696"/>
        <pc:sldMkLst>
          <pc:docMk/>
          <pc:sldMk cId="4202369858" sldId="1297"/>
        </pc:sldMkLst>
      </pc:sldChg>
      <pc:sldChg chg="del">
        <pc:chgData name="Έλια Αποστολοπούλου" userId="55324f8b-f5ef-49c9-8ce3-afc1f275c581" providerId="ADAL" clId="{9E7137ED-CCFA-4E42-9EC7-5B1406527940}" dt="2024-12-03T18:30:37.959" v="425" actId="2696"/>
        <pc:sldMkLst>
          <pc:docMk/>
          <pc:sldMk cId="1625673029" sldId="1298"/>
        </pc:sldMkLst>
      </pc:sldChg>
      <pc:sldChg chg="del">
        <pc:chgData name="Έλια Αποστολοπούλου" userId="55324f8b-f5ef-49c9-8ce3-afc1f275c581" providerId="ADAL" clId="{9E7137ED-CCFA-4E42-9EC7-5B1406527940}" dt="2024-12-03T18:30:37.959" v="425" actId="2696"/>
        <pc:sldMkLst>
          <pc:docMk/>
          <pc:sldMk cId="3792270802" sldId="1299"/>
        </pc:sldMkLst>
      </pc:sldChg>
      <pc:sldChg chg="del">
        <pc:chgData name="Έλια Αποστολοπούλου" userId="55324f8b-f5ef-49c9-8ce3-afc1f275c581" providerId="ADAL" clId="{9E7137ED-CCFA-4E42-9EC7-5B1406527940}" dt="2024-12-03T18:30:37.959" v="425" actId="2696"/>
        <pc:sldMkLst>
          <pc:docMk/>
          <pc:sldMk cId="3918616974" sldId="1300"/>
        </pc:sldMkLst>
      </pc:sldChg>
      <pc:sldChg chg="del">
        <pc:chgData name="Έλια Αποστολοπούλου" userId="55324f8b-f5ef-49c9-8ce3-afc1f275c581" providerId="ADAL" clId="{9E7137ED-CCFA-4E42-9EC7-5B1406527940}" dt="2024-12-03T18:30:37.959" v="425" actId="2696"/>
        <pc:sldMkLst>
          <pc:docMk/>
          <pc:sldMk cId="1025538852" sldId="1301"/>
        </pc:sldMkLst>
      </pc:sldChg>
      <pc:sldChg chg="del">
        <pc:chgData name="Έλια Αποστολοπούλου" userId="55324f8b-f5ef-49c9-8ce3-afc1f275c581" providerId="ADAL" clId="{9E7137ED-CCFA-4E42-9EC7-5B1406527940}" dt="2024-12-03T18:30:37.959" v="425" actId="2696"/>
        <pc:sldMkLst>
          <pc:docMk/>
          <pc:sldMk cId="1808858736" sldId="1302"/>
        </pc:sldMkLst>
      </pc:sldChg>
      <pc:sldChg chg="del">
        <pc:chgData name="Έλια Αποστολοπούλου" userId="55324f8b-f5ef-49c9-8ce3-afc1f275c581" providerId="ADAL" clId="{9E7137ED-CCFA-4E42-9EC7-5B1406527940}" dt="2024-12-03T18:30:37.959" v="425" actId="2696"/>
        <pc:sldMkLst>
          <pc:docMk/>
          <pc:sldMk cId="385832221" sldId="1303"/>
        </pc:sldMkLst>
      </pc:sldChg>
      <pc:sldChg chg="del">
        <pc:chgData name="Έλια Αποστολοπούλου" userId="55324f8b-f5ef-49c9-8ce3-afc1f275c581" providerId="ADAL" clId="{9E7137ED-CCFA-4E42-9EC7-5B1406527940}" dt="2024-12-03T18:30:37.959" v="425" actId="2696"/>
        <pc:sldMkLst>
          <pc:docMk/>
          <pc:sldMk cId="4210885153" sldId="1304"/>
        </pc:sldMkLst>
      </pc:sldChg>
      <pc:sldChg chg="del">
        <pc:chgData name="Έλια Αποστολοπούλου" userId="55324f8b-f5ef-49c9-8ce3-afc1f275c581" providerId="ADAL" clId="{9E7137ED-CCFA-4E42-9EC7-5B1406527940}" dt="2024-12-03T18:30:37.959" v="425" actId="2696"/>
        <pc:sldMkLst>
          <pc:docMk/>
          <pc:sldMk cId="939806406" sldId="1305"/>
        </pc:sldMkLst>
      </pc:sldChg>
      <pc:sldChg chg="modSp mod">
        <pc:chgData name="Έλια Αποστολοπούλου" userId="55324f8b-f5ef-49c9-8ce3-afc1f275c581" providerId="ADAL" clId="{9E7137ED-CCFA-4E42-9EC7-5B1406527940}" dt="2024-12-03T18:20:38.639" v="424" actId="6549"/>
        <pc:sldMkLst>
          <pc:docMk/>
          <pc:sldMk cId="971684661" sldId="1307"/>
        </pc:sldMkLst>
      </pc:sldChg>
      <pc:sldChg chg="delSp mod">
        <pc:chgData name="Έλια Αποστολοπούλου" userId="55324f8b-f5ef-49c9-8ce3-afc1f275c581" providerId="ADAL" clId="{9E7137ED-CCFA-4E42-9EC7-5B1406527940}" dt="2024-12-03T11:32:07.770" v="44" actId="478"/>
        <pc:sldMkLst>
          <pc:docMk/>
          <pc:sldMk cId="3974113371" sldId="1318"/>
        </pc:sldMkLst>
      </pc:sldChg>
      <pc:sldChg chg="modSp mod">
        <pc:chgData name="Έλια Αποστολοπούλου" userId="55324f8b-f5ef-49c9-8ce3-afc1f275c581" providerId="ADAL" clId="{9E7137ED-CCFA-4E42-9EC7-5B1406527940}" dt="2024-12-03T19:04:56.468" v="697" actId="948"/>
        <pc:sldMkLst>
          <pc:docMk/>
          <pc:sldMk cId="838220975" sldId="1323"/>
        </pc:sldMkLst>
      </pc:sldChg>
      <pc:sldChg chg="del">
        <pc:chgData name="Έλια Αποστολοπούλου" userId="55324f8b-f5ef-49c9-8ce3-afc1f275c581" providerId="ADAL" clId="{9E7137ED-CCFA-4E42-9EC7-5B1406527940}" dt="2024-12-03T18:47:06.779" v="430" actId="2696"/>
        <pc:sldMkLst>
          <pc:docMk/>
          <pc:sldMk cId="0" sldId="1336"/>
        </pc:sldMkLst>
      </pc:sldChg>
      <pc:sldChg chg="modSp mod">
        <pc:chgData name="Έλια Αποστολοπούλου" userId="55324f8b-f5ef-49c9-8ce3-afc1f275c581" providerId="ADAL" clId="{9E7137ED-CCFA-4E42-9EC7-5B1406527940}" dt="2024-12-03T18:53:09.907" v="644" actId="14100"/>
        <pc:sldMkLst>
          <pc:docMk/>
          <pc:sldMk cId="3765546581" sldId="1336"/>
        </pc:sldMkLst>
      </pc:sldChg>
      <pc:sldChg chg="modSp mod">
        <pc:chgData name="Έλια Αποστολοπούλου" userId="55324f8b-f5ef-49c9-8ce3-afc1f275c581" providerId="ADAL" clId="{9E7137ED-CCFA-4E42-9EC7-5B1406527940}" dt="2024-12-03T18:54:48.472" v="660" actId="113"/>
        <pc:sldMkLst>
          <pc:docMk/>
          <pc:sldMk cId="1674435858" sldId="1337"/>
        </pc:sldMkLst>
      </pc:sldChg>
      <pc:sldChg chg="del">
        <pc:chgData name="Έλια Αποστολοπούλου" userId="55324f8b-f5ef-49c9-8ce3-afc1f275c581" providerId="ADAL" clId="{9E7137ED-CCFA-4E42-9EC7-5B1406527940}" dt="2024-12-03T18:47:06.779" v="430" actId="2696"/>
        <pc:sldMkLst>
          <pc:docMk/>
          <pc:sldMk cId="2802926757" sldId="1337"/>
        </pc:sldMkLst>
      </pc:sldChg>
      <pc:sldChg chg="modSp mod">
        <pc:chgData name="Έλια Αποστολοπούλου" userId="55324f8b-f5ef-49c9-8ce3-afc1f275c581" providerId="ADAL" clId="{9E7137ED-CCFA-4E42-9EC7-5B1406527940}" dt="2024-12-03T18:55:08.767" v="663" actId="255"/>
        <pc:sldMkLst>
          <pc:docMk/>
          <pc:sldMk cId="1834238471" sldId="1338"/>
        </pc:sldMkLst>
      </pc:sldChg>
      <pc:sldChg chg="del">
        <pc:chgData name="Έλια Αποστολοπούλου" userId="55324f8b-f5ef-49c9-8ce3-afc1f275c581" providerId="ADAL" clId="{9E7137ED-CCFA-4E42-9EC7-5B1406527940}" dt="2024-12-03T18:47:06.779" v="430" actId="2696"/>
        <pc:sldMkLst>
          <pc:docMk/>
          <pc:sldMk cId="2448803965" sldId="1338"/>
        </pc:sldMkLst>
      </pc:sldChg>
      <pc:sldChg chg="del">
        <pc:chgData name="Έλια Αποστολοπούλου" userId="55324f8b-f5ef-49c9-8ce3-afc1f275c581" providerId="ADAL" clId="{9E7137ED-CCFA-4E42-9EC7-5B1406527940}" dt="2024-12-04T08:31:29.525" v="1032" actId="47"/>
        <pc:sldMkLst>
          <pc:docMk/>
          <pc:sldMk cId="1417465508" sldId="1350"/>
        </pc:sldMkLst>
      </pc:sldChg>
      <pc:sldChg chg="modSp mod">
        <pc:chgData name="Έλια Αποστολοπούλου" userId="55324f8b-f5ef-49c9-8ce3-afc1f275c581" providerId="ADAL" clId="{9E7137ED-CCFA-4E42-9EC7-5B1406527940}" dt="2024-12-04T03:48:31.453" v="826" actId="20577"/>
        <pc:sldMkLst>
          <pc:docMk/>
          <pc:sldMk cId="777187497" sldId="1351"/>
        </pc:sldMkLst>
      </pc:sldChg>
      <pc:sldChg chg="del">
        <pc:chgData name="Έλια Αποστολοπούλου" userId="55324f8b-f5ef-49c9-8ce3-afc1f275c581" providerId="ADAL" clId="{9E7137ED-CCFA-4E42-9EC7-5B1406527940}" dt="2024-12-04T03:46:27.608" v="810" actId="47"/>
        <pc:sldMkLst>
          <pc:docMk/>
          <pc:sldMk cId="76260735" sldId="1352"/>
        </pc:sldMkLst>
      </pc:sldChg>
      <pc:sldChg chg="addSp delSp modSp mod">
        <pc:chgData name="Έλια Αποστολοπούλου" userId="55324f8b-f5ef-49c9-8ce3-afc1f275c581" providerId="ADAL" clId="{9E7137ED-CCFA-4E42-9EC7-5B1406527940}" dt="2024-12-04T03:46:00.529" v="809" actId="113"/>
        <pc:sldMkLst>
          <pc:docMk/>
          <pc:sldMk cId="3430496807" sldId="1354"/>
        </pc:sldMkLst>
      </pc:sldChg>
      <pc:sldChg chg="add del">
        <pc:chgData name="Έλια Αποστολοπούλου" userId="55324f8b-f5ef-49c9-8ce3-afc1f275c581" providerId="ADAL" clId="{9E7137ED-CCFA-4E42-9EC7-5B1406527940}" dt="2024-12-03T18:13:28.554" v="377"/>
        <pc:sldMkLst>
          <pc:docMk/>
          <pc:sldMk cId="848081212" sldId="1355"/>
        </pc:sldMkLst>
      </pc:sldChg>
      <pc:sldChg chg="addSp delSp modSp mod">
        <pc:chgData name="Έλια Αποστολοπούλου" userId="55324f8b-f5ef-49c9-8ce3-afc1f275c581" providerId="ADAL" clId="{9E7137ED-CCFA-4E42-9EC7-5B1406527940}" dt="2024-12-04T09:00:58.433" v="1042" actId="20577"/>
        <pc:sldMkLst>
          <pc:docMk/>
          <pc:sldMk cId="1860724126" sldId="1355"/>
        </pc:sldMkLst>
      </pc:sldChg>
      <pc:sldChg chg="addSp delSp modSp add del mod">
        <pc:chgData name="Έλια Αποστολοπούλου" userId="55324f8b-f5ef-49c9-8ce3-afc1f275c581" providerId="ADAL" clId="{9E7137ED-CCFA-4E42-9EC7-5B1406527940}" dt="2024-12-04T03:56:21.357" v="846"/>
        <pc:sldMkLst>
          <pc:docMk/>
          <pc:sldMk cId="4119737492" sldId="1356"/>
        </pc:sldMkLst>
      </pc:sldChg>
      <pc:sldChg chg="del">
        <pc:chgData name="Έλια Αποστολοπούλου" userId="55324f8b-f5ef-49c9-8ce3-afc1f275c581" providerId="ADAL" clId="{9E7137ED-CCFA-4E42-9EC7-5B1406527940}" dt="2024-12-04T09:02:25.948" v="1047" actId="47"/>
        <pc:sldMkLst>
          <pc:docMk/>
          <pc:sldMk cId="86836217" sldId="1357"/>
        </pc:sldMkLst>
      </pc:sldChg>
      <pc:sldChg chg="del">
        <pc:chgData name="Έλια Αποστολοπούλου" userId="55324f8b-f5ef-49c9-8ce3-afc1f275c581" providerId="ADAL" clId="{9E7137ED-CCFA-4E42-9EC7-5B1406527940}" dt="2024-12-04T08:32:42.050" v="1033" actId="47"/>
        <pc:sldMkLst>
          <pc:docMk/>
          <pc:sldMk cId="2828721955" sldId="1365"/>
        </pc:sldMkLst>
      </pc:sldChg>
      <pc:sldChg chg="del">
        <pc:chgData name="Έλια Αποστολοπούλου" userId="55324f8b-f5ef-49c9-8ce3-afc1f275c581" providerId="ADAL" clId="{9E7137ED-CCFA-4E42-9EC7-5B1406527940}" dt="2024-12-04T08:34:45.131" v="1034" actId="47"/>
        <pc:sldMkLst>
          <pc:docMk/>
          <pc:sldMk cId="3580300699" sldId="1366"/>
        </pc:sldMkLst>
      </pc:sldChg>
      <pc:sldChg chg="del">
        <pc:chgData name="Έλια Αποστολοπούλου" userId="55324f8b-f5ef-49c9-8ce3-afc1f275c581" providerId="ADAL" clId="{9E7137ED-CCFA-4E42-9EC7-5B1406527940}" dt="2024-12-04T08:36:42.740" v="1036" actId="47"/>
        <pc:sldMkLst>
          <pc:docMk/>
          <pc:sldMk cId="3655565104" sldId="1368"/>
        </pc:sldMkLst>
      </pc:sldChg>
      <pc:sldChg chg="new del">
        <pc:chgData name="Έλια Αποστολοπούλου" userId="55324f8b-f5ef-49c9-8ce3-afc1f275c581" providerId="ADAL" clId="{9E7137ED-CCFA-4E42-9EC7-5B1406527940}" dt="2024-12-04T09:23:20.324" v="1051" actId="680"/>
        <pc:sldMkLst>
          <pc:docMk/>
          <pc:sldMk cId="2790731568" sldId="1369"/>
        </pc:sldMkLst>
      </pc:sldChg>
      <pc:sldMasterChg chg="del delSldLayout">
        <pc:chgData name="Έλια Αποστολοπούλου" userId="55324f8b-f5ef-49c9-8ce3-afc1f275c581" providerId="ADAL" clId="{9E7137ED-CCFA-4E42-9EC7-5B1406527940}" dt="2024-12-03T18:30:37.959" v="425" actId="2696"/>
        <pc:sldMasterMkLst>
          <pc:docMk/>
          <pc:sldMasterMk cId="1547688283" sldId="2147483885"/>
        </pc:sldMasterMkLst>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2512958983" sldId="2147483886"/>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3815980849" sldId="2147483887"/>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2223395480" sldId="2147483888"/>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2130107527" sldId="2147483889"/>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839387774" sldId="2147483890"/>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1219865512" sldId="2147483891"/>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1162208381" sldId="2147483892"/>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1092687846" sldId="2147483893"/>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2246985499" sldId="2147483894"/>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541854928" sldId="2147483895"/>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1515759838" sldId="2147483896"/>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2294244484" sldId="2147483897"/>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835187281" sldId="2147483898"/>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735086974" sldId="2147483899"/>
          </pc:sldLayoutMkLst>
        </pc:sldLayoutChg>
        <pc:sldLayoutChg chg="del">
          <pc:chgData name="Έλια Αποστολοπούλου" userId="55324f8b-f5ef-49c9-8ce3-afc1f275c581" providerId="ADAL" clId="{9E7137ED-CCFA-4E42-9EC7-5B1406527940}" dt="2024-12-03T18:30:37.959" v="425" actId="2696"/>
          <pc:sldLayoutMkLst>
            <pc:docMk/>
            <pc:sldMasterMk cId="1547688283" sldId="2147483885"/>
            <pc:sldLayoutMk cId="3178048287" sldId="2147484126"/>
          </pc:sldLayoutMkLst>
        </pc:sldLayoutChg>
      </pc:sldMasterChg>
      <pc:sldMasterChg chg="del delSldLayout">
        <pc:chgData name="Έλια Αποστολοπούλου" userId="55324f8b-f5ef-49c9-8ce3-afc1f275c581" providerId="ADAL" clId="{9E7137ED-CCFA-4E42-9EC7-5B1406527940}" dt="2024-12-03T12:03:25.639" v="50" actId="47"/>
        <pc:sldMasterMkLst>
          <pc:docMk/>
          <pc:sldMasterMk cId="2690091974" sldId="2147483965"/>
        </pc:sldMasterMkLst>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1094055637" sldId="2147483966"/>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3971688399" sldId="2147483967"/>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4177510016" sldId="2147483968"/>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1039703813" sldId="2147483969"/>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695490371" sldId="2147483970"/>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1868183161" sldId="2147483971"/>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2236934" sldId="2147483972"/>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2079853688" sldId="2147483973"/>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3137381850" sldId="2147483974"/>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2796420679" sldId="2147483975"/>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340920445" sldId="2147483976"/>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3519574871" sldId="2147483977"/>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365059548" sldId="2147483978"/>
          </pc:sldLayoutMkLst>
        </pc:sldLayoutChg>
        <pc:sldLayoutChg chg="del">
          <pc:chgData name="Έλια Αποστολοπούλου" userId="55324f8b-f5ef-49c9-8ce3-afc1f275c581" providerId="ADAL" clId="{9E7137ED-CCFA-4E42-9EC7-5B1406527940}" dt="2024-12-03T12:03:25.639" v="50" actId="47"/>
          <pc:sldLayoutMkLst>
            <pc:docMk/>
            <pc:sldMasterMk cId="2690091974" sldId="2147483965"/>
            <pc:sldLayoutMk cId="3022784743" sldId="2147483979"/>
          </pc:sldLayoutMkLst>
        </pc:sldLayoutChg>
      </pc:sldMasterChg>
      <pc:sldMasterChg chg="del delSldLayout">
        <pc:chgData name="Έλια Αποστολοπούλου" userId="55324f8b-f5ef-49c9-8ce3-afc1f275c581" providerId="ADAL" clId="{9E7137ED-CCFA-4E42-9EC7-5B1406527940}" dt="2024-12-03T11:35:19.074" v="45" actId="47"/>
        <pc:sldMasterMkLst>
          <pc:docMk/>
          <pc:sldMasterMk cId="1706397926" sldId="2147484073"/>
        </pc:sldMasterMkLst>
        <pc:sldLayoutChg chg="del">
          <pc:chgData name="Έλια Αποστολοπούλου" userId="55324f8b-f5ef-49c9-8ce3-afc1f275c581" providerId="ADAL" clId="{9E7137ED-CCFA-4E42-9EC7-5B1406527940}" dt="2024-12-03T11:35:19.074" v="45" actId="47"/>
          <pc:sldLayoutMkLst>
            <pc:docMk/>
            <pc:sldMasterMk cId="1706397926" sldId="2147484073"/>
            <pc:sldLayoutMk cId="787954149" sldId="2147484074"/>
          </pc:sldLayoutMkLst>
        </pc:sldLayoutChg>
      </pc:sldMasterChg>
      <pc:sldMasterChg chg="del delSldLayout">
        <pc:chgData name="Έλια Αποστολοπούλου" userId="55324f8b-f5ef-49c9-8ce3-afc1f275c581" providerId="ADAL" clId="{9E7137ED-CCFA-4E42-9EC7-5B1406527940}" dt="2024-12-03T18:42:47.274" v="427" actId="2696"/>
        <pc:sldMasterMkLst>
          <pc:docMk/>
          <pc:sldMasterMk cId="1647527939" sldId="2147484101"/>
        </pc:sldMasterMkLst>
        <pc:sldLayoutChg chg="del">
          <pc:chgData name="Έλια Αποστολοπούλου" userId="55324f8b-f5ef-49c9-8ce3-afc1f275c581" providerId="ADAL" clId="{9E7137ED-CCFA-4E42-9EC7-5B1406527940}" dt="2024-12-03T18:42:47.274" v="427" actId="2696"/>
          <pc:sldLayoutMkLst>
            <pc:docMk/>
            <pc:sldMasterMk cId="1647527939" sldId="2147484101"/>
            <pc:sldLayoutMk cId="2073544035" sldId="2147484102"/>
          </pc:sldLayoutMkLst>
        </pc:sldLayoutChg>
        <pc:sldLayoutChg chg="del">
          <pc:chgData name="Έλια Αποστολοπούλου" userId="55324f8b-f5ef-49c9-8ce3-afc1f275c581" providerId="ADAL" clId="{9E7137ED-CCFA-4E42-9EC7-5B1406527940}" dt="2024-12-03T18:42:47.274" v="427" actId="2696"/>
          <pc:sldLayoutMkLst>
            <pc:docMk/>
            <pc:sldMasterMk cId="1647527939" sldId="2147484101"/>
            <pc:sldLayoutMk cId="3327027178" sldId="2147484103"/>
          </pc:sldLayoutMkLst>
        </pc:sldLayoutChg>
        <pc:sldLayoutChg chg="del">
          <pc:chgData name="Έλια Αποστολοπούλου" userId="55324f8b-f5ef-49c9-8ce3-afc1f275c581" providerId="ADAL" clId="{9E7137ED-CCFA-4E42-9EC7-5B1406527940}" dt="2024-12-03T18:42:47.274" v="427" actId="2696"/>
          <pc:sldLayoutMkLst>
            <pc:docMk/>
            <pc:sldMasterMk cId="1647527939" sldId="2147484101"/>
            <pc:sldLayoutMk cId="2813245242" sldId="2147484104"/>
          </pc:sldLayoutMkLst>
        </pc:sldLayoutChg>
        <pc:sldLayoutChg chg="del">
          <pc:chgData name="Έλια Αποστολοπούλου" userId="55324f8b-f5ef-49c9-8ce3-afc1f275c581" providerId="ADAL" clId="{9E7137ED-CCFA-4E42-9EC7-5B1406527940}" dt="2024-12-03T18:42:47.274" v="427" actId="2696"/>
          <pc:sldLayoutMkLst>
            <pc:docMk/>
            <pc:sldMasterMk cId="1647527939" sldId="2147484101"/>
            <pc:sldLayoutMk cId="319231261" sldId="2147484105"/>
          </pc:sldLayoutMkLst>
        </pc:sldLayoutChg>
        <pc:sldLayoutChg chg="del">
          <pc:chgData name="Έλια Αποστολοπούλου" userId="55324f8b-f5ef-49c9-8ce3-afc1f275c581" providerId="ADAL" clId="{9E7137ED-CCFA-4E42-9EC7-5B1406527940}" dt="2024-12-03T18:42:47.274" v="427" actId="2696"/>
          <pc:sldLayoutMkLst>
            <pc:docMk/>
            <pc:sldMasterMk cId="1647527939" sldId="2147484101"/>
            <pc:sldLayoutMk cId="3304030843" sldId="2147484106"/>
          </pc:sldLayoutMkLst>
        </pc:sldLayoutChg>
        <pc:sldLayoutChg chg="del">
          <pc:chgData name="Έλια Αποστολοπούλου" userId="55324f8b-f5ef-49c9-8ce3-afc1f275c581" providerId="ADAL" clId="{9E7137ED-CCFA-4E42-9EC7-5B1406527940}" dt="2024-12-03T18:42:47.274" v="427" actId="2696"/>
          <pc:sldLayoutMkLst>
            <pc:docMk/>
            <pc:sldMasterMk cId="1647527939" sldId="2147484101"/>
            <pc:sldLayoutMk cId="1903713709" sldId="2147484107"/>
          </pc:sldLayoutMkLst>
        </pc:sldLayoutChg>
        <pc:sldLayoutChg chg="del">
          <pc:chgData name="Έλια Αποστολοπούλου" userId="55324f8b-f5ef-49c9-8ce3-afc1f275c581" providerId="ADAL" clId="{9E7137ED-CCFA-4E42-9EC7-5B1406527940}" dt="2024-12-03T18:42:47.274" v="427" actId="2696"/>
          <pc:sldLayoutMkLst>
            <pc:docMk/>
            <pc:sldMasterMk cId="1647527939" sldId="2147484101"/>
            <pc:sldLayoutMk cId="2564380613" sldId="2147484108"/>
          </pc:sldLayoutMkLst>
        </pc:sldLayoutChg>
      </pc:sldMasterChg>
      <pc:sldMasterChg chg="del delSldLayout">
        <pc:chgData name="Έλια Αποστολοπούλου" userId="55324f8b-f5ef-49c9-8ce3-afc1f275c581" providerId="ADAL" clId="{9E7137ED-CCFA-4E42-9EC7-5B1406527940}" dt="2024-12-03T18:55:46.247" v="664" actId="2696"/>
        <pc:sldMasterMkLst>
          <pc:docMk/>
          <pc:sldMasterMk cId="2191694522" sldId="2147484109"/>
        </pc:sldMasterMkLst>
        <pc:sldLayoutChg chg="del">
          <pc:chgData name="Έλια Αποστολοπούλου" userId="55324f8b-f5ef-49c9-8ce3-afc1f275c581" providerId="ADAL" clId="{9E7137ED-CCFA-4E42-9EC7-5B1406527940}" dt="2024-12-03T18:55:46.247" v="664" actId="2696"/>
          <pc:sldLayoutMkLst>
            <pc:docMk/>
            <pc:sldMasterMk cId="2191694522" sldId="2147484109"/>
            <pc:sldLayoutMk cId="2091424806" sldId="2147484110"/>
          </pc:sldLayoutMkLst>
        </pc:sldLayoutChg>
        <pc:sldLayoutChg chg="del">
          <pc:chgData name="Έλια Αποστολοπούλου" userId="55324f8b-f5ef-49c9-8ce3-afc1f275c581" providerId="ADAL" clId="{9E7137ED-CCFA-4E42-9EC7-5B1406527940}" dt="2024-12-03T18:55:46.247" v="664" actId="2696"/>
          <pc:sldLayoutMkLst>
            <pc:docMk/>
            <pc:sldMasterMk cId="2191694522" sldId="2147484109"/>
            <pc:sldLayoutMk cId="1121205668" sldId="2147484111"/>
          </pc:sldLayoutMkLst>
        </pc:sldLayoutChg>
        <pc:sldLayoutChg chg="del">
          <pc:chgData name="Έλια Αποστολοπούλου" userId="55324f8b-f5ef-49c9-8ce3-afc1f275c581" providerId="ADAL" clId="{9E7137ED-CCFA-4E42-9EC7-5B1406527940}" dt="2024-12-03T18:55:46.247" v="664" actId="2696"/>
          <pc:sldLayoutMkLst>
            <pc:docMk/>
            <pc:sldMasterMk cId="2191694522" sldId="2147484109"/>
            <pc:sldLayoutMk cId="1596343777" sldId="2147484112"/>
          </pc:sldLayoutMkLst>
        </pc:sldLayoutChg>
        <pc:sldLayoutChg chg="del">
          <pc:chgData name="Έλια Αποστολοπούλου" userId="55324f8b-f5ef-49c9-8ce3-afc1f275c581" providerId="ADAL" clId="{9E7137ED-CCFA-4E42-9EC7-5B1406527940}" dt="2024-12-03T18:55:46.247" v="664" actId="2696"/>
          <pc:sldLayoutMkLst>
            <pc:docMk/>
            <pc:sldMasterMk cId="2191694522" sldId="2147484109"/>
            <pc:sldLayoutMk cId="1867464649" sldId="2147484113"/>
          </pc:sldLayoutMkLst>
        </pc:sldLayoutChg>
        <pc:sldLayoutChg chg="del">
          <pc:chgData name="Έλια Αποστολοπούλου" userId="55324f8b-f5ef-49c9-8ce3-afc1f275c581" providerId="ADAL" clId="{9E7137ED-CCFA-4E42-9EC7-5B1406527940}" dt="2024-12-03T18:55:46.247" v="664" actId="2696"/>
          <pc:sldLayoutMkLst>
            <pc:docMk/>
            <pc:sldMasterMk cId="2191694522" sldId="2147484109"/>
            <pc:sldLayoutMk cId="1579719815" sldId="2147484114"/>
          </pc:sldLayoutMkLst>
        </pc:sldLayoutChg>
      </pc:sldMasterChg>
      <pc:sldMasterChg chg="del delSldLayout">
        <pc:chgData name="Έλια Αποστολοπούλου" userId="55324f8b-f5ef-49c9-8ce3-afc1f275c581" providerId="ADAL" clId="{9E7137ED-CCFA-4E42-9EC7-5B1406527940}" dt="2024-12-03T18:57:23.102" v="673" actId="2696"/>
        <pc:sldMasterMkLst>
          <pc:docMk/>
          <pc:sldMasterMk cId="2672699750" sldId="2147484116"/>
        </pc:sldMasterMkLst>
        <pc:sldLayoutChg chg="del">
          <pc:chgData name="Έλια Αποστολοπούλου" userId="55324f8b-f5ef-49c9-8ce3-afc1f275c581" providerId="ADAL" clId="{9E7137ED-CCFA-4E42-9EC7-5B1406527940}" dt="2024-12-03T18:57:23.102" v="673" actId="2696"/>
          <pc:sldLayoutMkLst>
            <pc:docMk/>
            <pc:sldMasterMk cId="2672699750" sldId="2147484116"/>
            <pc:sldLayoutMk cId="4105791544" sldId="2147484117"/>
          </pc:sldLayoutMkLst>
        </pc:sldLayoutChg>
        <pc:sldLayoutChg chg="del">
          <pc:chgData name="Έλια Αποστολοπούλου" userId="55324f8b-f5ef-49c9-8ce3-afc1f275c581" providerId="ADAL" clId="{9E7137ED-CCFA-4E42-9EC7-5B1406527940}" dt="2024-12-03T18:57:23.102" v="673" actId="2696"/>
          <pc:sldLayoutMkLst>
            <pc:docMk/>
            <pc:sldMasterMk cId="2672699750" sldId="2147484116"/>
            <pc:sldLayoutMk cId="1270317895" sldId="2147484118"/>
          </pc:sldLayoutMkLst>
        </pc:sldLayoutChg>
        <pc:sldLayoutChg chg="del">
          <pc:chgData name="Έλια Αποστολοπούλου" userId="55324f8b-f5ef-49c9-8ce3-afc1f275c581" providerId="ADAL" clId="{9E7137ED-CCFA-4E42-9EC7-5B1406527940}" dt="2024-12-03T18:57:23.102" v="673" actId="2696"/>
          <pc:sldLayoutMkLst>
            <pc:docMk/>
            <pc:sldMasterMk cId="2672699750" sldId="2147484116"/>
            <pc:sldLayoutMk cId="2319835517" sldId="2147484119"/>
          </pc:sldLayoutMkLst>
        </pc:sldLayoutChg>
        <pc:sldLayoutChg chg="del">
          <pc:chgData name="Έλια Αποστολοπούλου" userId="55324f8b-f5ef-49c9-8ce3-afc1f275c581" providerId="ADAL" clId="{9E7137ED-CCFA-4E42-9EC7-5B1406527940}" dt="2024-12-03T18:57:23.102" v="673" actId="2696"/>
          <pc:sldLayoutMkLst>
            <pc:docMk/>
            <pc:sldMasterMk cId="2672699750" sldId="2147484116"/>
            <pc:sldLayoutMk cId="1716674251" sldId="2147484120"/>
          </pc:sldLayoutMkLst>
        </pc:sldLayoutChg>
        <pc:sldLayoutChg chg="del">
          <pc:chgData name="Έλια Αποστολοπούλου" userId="55324f8b-f5ef-49c9-8ce3-afc1f275c581" providerId="ADAL" clId="{9E7137ED-CCFA-4E42-9EC7-5B1406527940}" dt="2024-12-03T18:57:23.102" v="673" actId="2696"/>
          <pc:sldLayoutMkLst>
            <pc:docMk/>
            <pc:sldMasterMk cId="2672699750" sldId="2147484116"/>
            <pc:sldLayoutMk cId="1873874204" sldId="2147484121"/>
          </pc:sldLayoutMkLst>
        </pc:sldLayoutChg>
        <pc:sldLayoutChg chg="del">
          <pc:chgData name="Έλια Αποστολοπούλου" userId="55324f8b-f5ef-49c9-8ce3-afc1f275c581" providerId="ADAL" clId="{9E7137ED-CCFA-4E42-9EC7-5B1406527940}" dt="2024-12-03T18:57:23.102" v="673" actId="2696"/>
          <pc:sldLayoutMkLst>
            <pc:docMk/>
            <pc:sldMasterMk cId="2672699750" sldId="2147484116"/>
            <pc:sldLayoutMk cId="138140371" sldId="2147484122"/>
          </pc:sldLayoutMkLst>
        </pc:sldLayoutChg>
        <pc:sldLayoutChg chg="del">
          <pc:chgData name="Έλια Αποστολοπούλου" userId="55324f8b-f5ef-49c9-8ce3-afc1f275c581" providerId="ADAL" clId="{9E7137ED-CCFA-4E42-9EC7-5B1406527940}" dt="2024-12-03T18:57:23.102" v="673" actId="2696"/>
          <pc:sldLayoutMkLst>
            <pc:docMk/>
            <pc:sldMasterMk cId="2672699750" sldId="2147484116"/>
            <pc:sldLayoutMk cId="371241697" sldId="2147484123"/>
          </pc:sldLayoutMkLst>
        </pc:sldLayoutChg>
        <pc:sldLayoutChg chg="del">
          <pc:chgData name="Έλια Αποστολοπούλου" userId="55324f8b-f5ef-49c9-8ce3-afc1f275c581" providerId="ADAL" clId="{9E7137ED-CCFA-4E42-9EC7-5B1406527940}" dt="2024-12-03T18:57:23.102" v="673" actId="2696"/>
          <pc:sldLayoutMkLst>
            <pc:docMk/>
            <pc:sldMasterMk cId="2672699750" sldId="2147484116"/>
            <pc:sldLayoutMk cId="249666851" sldId="2147484124"/>
          </pc:sldLayoutMkLst>
        </pc:sldLayoutChg>
        <pc:sldLayoutChg chg="del">
          <pc:chgData name="Έλια Αποστολοπούλου" userId="55324f8b-f5ef-49c9-8ce3-afc1f275c581" providerId="ADAL" clId="{9E7137ED-CCFA-4E42-9EC7-5B1406527940}" dt="2024-12-03T18:57:23.102" v="673" actId="2696"/>
          <pc:sldLayoutMkLst>
            <pc:docMk/>
            <pc:sldMasterMk cId="2672699750" sldId="2147484116"/>
            <pc:sldLayoutMk cId="2100434579" sldId="2147484125"/>
          </pc:sldLayoutMkLst>
        </pc:sldLayoutChg>
      </pc:sldMasterChg>
      <pc:sldMasterChg chg="del delSldLayout">
        <pc:chgData name="Έλια Αποστολοπούλου" userId="55324f8b-f5ef-49c9-8ce3-afc1f275c581" providerId="ADAL" clId="{9E7137ED-CCFA-4E42-9EC7-5B1406527940}" dt="2024-12-04T08:23:11.423" v="1030" actId="2696"/>
        <pc:sldMasterMkLst>
          <pc:docMk/>
          <pc:sldMasterMk cId="4246413400" sldId="2147484144"/>
        </pc:sldMasterMkLst>
        <pc:sldLayoutChg chg="del">
          <pc:chgData name="Έλια Αποστολοπούλου" userId="55324f8b-f5ef-49c9-8ce3-afc1f275c581" providerId="ADAL" clId="{9E7137ED-CCFA-4E42-9EC7-5B1406527940}" dt="2024-12-04T08:23:11.423" v="1030" actId="2696"/>
          <pc:sldLayoutMkLst>
            <pc:docMk/>
            <pc:sldMasterMk cId="4246413400" sldId="2147484144"/>
            <pc:sldLayoutMk cId="3619487203" sldId="2147484145"/>
          </pc:sldLayoutMkLst>
        </pc:sldLayoutChg>
        <pc:sldLayoutChg chg="del">
          <pc:chgData name="Έλια Αποστολοπούλου" userId="55324f8b-f5ef-49c9-8ce3-afc1f275c581" providerId="ADAL" clId="{9E7137ED-CCFA-4E42-9EC7-5B1406527940}" dt="2024-12-04T08:23:11.423" v="1030" actId="2696"/>
          <pc:sldLayoutMkLst>
            <pc:docMk/>
            <pc:sldMasterMk cId="4246413400" sldId="2147484144"/>
            <pc:sldLayoutMk cId="341404571" sldId="2147484146"/>
          </pc:sldLayoutMkLst>
        </pc:sldLayoutChg>
        <pc:sldLayoutChg chg="del">
          <pc:chgData name="Έλια Αποστολοπούλου" userId="55324f8b-f5ef-49c9-8ce3-afc1f275c581" providerId="ADAL" clId="{9E7137ED-CCFA-4E42-9EC7-5B1406527940}" dt="2024-12-04T08:23:11.423" v="1030" actId="2696"/>
          <pc:sldLayoutMkLst>
            <pc:docMk/>
            <pc:sldMasterMk cId="4246413400" sldId="2147484144"/>
            <pc:sldLayoutMk cId="3269181185" sldId="2147484147"/>
          </pc:sldLayoutMkLst>
        </pc:sldLayoutChg>
        <pc:sldLayoutChg chg="del">
          <pc:chgData name="Έλια Αποστολοπούλου" userId="55324f8b-f5ef-49c9-8ce3-afc1f275c581" providerId="ADAL" clId="{9E7137ED-CCFA-4E42-9EC7-5B1406527940}" dt="2024-12-04T08:23:11.423" v="1030" actId="2696"/>
          <pc:sldLayoutMkLst>
            <pc:docMk/>
            <pc:sldMasterMk cId="4246413400" sldId="2147484144"/>
            <pc:sldLayoutMk cId="382869428" sldId="2147484148"/>
          </pc:sldLayoutMkLst>
        </pc:sldLayoutChg>
        <pc:sldLayoutChg chg="del">
          <pc:chgData name="Έλια Αποστολοπούλου" userId="55324f8b-f5ef-49c9-8ce3-afc1f275c581" providerId="ADAL" clId="{9E7137ED-CCFA-4E42-9EC7-5B1406527940}" dt="2024-12-04T08:23:11.423" v="1030" actId="2696"/>
          <pc:sldLayoutMkLst>
            <pc:docMk/>
            <pc:sldMasterMk cId="4246413400" sldId="2147484144"/>
            <pc:sldLayoutMk cId="2960950126" sldId="2147484149"/>
          </pc:sldLayoutMkLst>
        </pc:sldLayoutChg>
        <pc:sldLayoutChg chg="del">
          <pc:chgData name="Έλια Αποστολοπούλου" userId="55324f8b-f5ef-49c9-8ce3-afc1f275c581" providerId="ADAL" clId="{9E7137ED-CCFA-4E42-9EC7-5B1406527940}" dt="2024-12-04T08:23:11.423" v="1030" actId="2696"/>
          <pc:sldLayoutMkLst>
            <pc:docMk/>
            <pc:sldMasterMk cId="4246413400" sldId="2147484144"/>
            <pc:sldLayoutMk cId="3848501812" sldId="2147484150"/>
          </pc:sldLayoutMkLst>
        </pc:sldLayoutChg>
        <pc:sldLayoutChg chg="del">
          <pc:chgData name="Έλια Αποστολοπούλου" userId="55324f8b-f5ef-49c9-8ce3-afc1f275c581" providerId="ADAL" clId="{9E7137ED-CCFA-4E42-9EC7-5B1406527940}" dt="2024-12-04T08:23:11.423" v="1030" actId="2696"/>
          <pc:sldLayoutMkLst>
            <pc:docMk/>
            <pc:sldMasterMk cId="4246413400" sldId="2147484144"/>
            <pc:sldLayoutMk cId="3567630992" sldId="2147484151"/>
          </pc:sldLayoutMkLst>
        </pc:sldLayoutChg>
      </pc:sldMasterChg>
    </pc:docChg>
  </pc:docChgLst>
  <pc:docChgLst>
    <pc:chgData name="kchristou@gsco.gov.gr" userId="S::urn:spo:guest#kchristou@gsco.gov.gr::" providerId="AD" clId="Web-{4FCF9815-CDF3-E976-97FF-BA15520144F1}"/>
    <pc:docChg chg="addSld delSld modSld sldOrd">
      <pc:chgData name="kchristou@gsco.gov.gr" userId="S::urn:spo:guest#kchristou@gsco.gov.gr::" providerId="AD" clId="Web-{4FCF9815-CDF3-E976-97FF-BA15520144F1}" dt="2025-07-21T11:50:21.136" v="3038" actId="1076"/>
      <pc:docMkLst>
        <pc:docMk/>
      </pc:docMkLst>
      <pc:sldChg chg="del">
        <pc:chgData name="kchristou@gsco.gov.gr" userId="S::urn:spo:guest#kchristou@gsco.gov.gr::" providerId="AD" clId="Web-{4FCF9815-CDF3-E976-97FF-BA15520144F1}" dt="2025-07-21T09:12:24.524" v="0"/>
        <pc:sldMkLst>
          <pc:docMk/>
          <pc:sldMk cId="1805642224" sldId="258"/>
        </pc:sldMkLst>
      </pc:sldChg>
      <pc:sldChg chg="del">
        <pc:chgData name="kchristou@gsco.gov.gr" userId="S::urn:spo:guest#kchristou@gsco.gov.gr::" providerId="AD" clId="Web-{4FCF9815-CDF3-E976-97FF-BA15520144F1}" dt="2025-07-21T09:12:26.446" v="1"/>
        <pc:sldMkLst>
          <pc:docMk/>
          <pc:sldMk cId="1980267271" sldId="269"/>
        </pc:sldMkLst>
      </pc:sldChg>
      <pc:sldChg chg="del ord">
        <pc:chgData name="kchristou@gsco.gov.gr" userId="S::urn:spo:guest#kchristou@gsco.gov.gr::" providerId="AD" clId="Web-{4FCF9815-CDF3-E976-97FF-BA15520144F1}" dt="2025-07-21T11:14:07.510" v="2217"/>
        <pc:sldMkLst>
          <pc:docMk/>
          <pc:sldMk cId="0" sldId="647"/>
        </pc:sldMkLst>
      </pc:sldChg>
      <pc:sldChg chg="del">
        <pc:chgData name="kchristou@gsco.gov.gr" userId="S::urn:spo:guest#kchristou@gsco.gov.gr::" providerId="AD" clId="Web-{4FCF9815-CDF3-E976-97FF-BA15520144F1}" dt="2025-07-21T09:39:51.069" v="821"/>
        <pc:sldMkLst>
          <pc:docMk/>
          <pc:sldMk cId="320474696" sldId="1394"/>
        </pc:sldMkLst>
      </pc:sldChg>
      <pc:sldChg chg="del">
        <pc:chgData name="kchristou@gsco.gov.gr" userId="S::urn:spo:guest#kchristou@gsco.gov.gr::" providerId="AD" clId="Web-{4FCF9815-CDF3-E976-97FF-BA15520144F1}" dt="2025-07-21T10:15:52.663" v="1143"/>
        <pc:sldMkLst>
          <pc:docMk/>
          <pc:sldMk cId="875261807" sldId="1395"/>
        </pc:sldMkLst>
      </pc:sldChg>
      <pc:sldChg chg="del">
        <pc:chgData name="kchristou@gsco.gov.gr" userId="S::urn:spo:guest#kchristou@gsco.gov.gr::" providerId="AD" clId="Web-{4FCF9815-CDF3-E976-97FF-BA15520144F1}" dt="2025-07-21T10:34:49.845" v="1427"/>
        <pc:sldMkLst>
          <pc:docMk/>
          <pc:sldMk cId="4001318106" sldId="1411"/>
        </pc:sldMkLst>
      </pc:sldChg>
      <pc:sldChg chg="del">
        <pc:chgData name="kchristou@gsco.gov.gr" userId="S::urn:spo:guest#kchristou@gsco.gov.gr::" providerId="AD" clId="Web-{4FCF9815-CDF3-E976-97FF-BA15520144F1}" dt="2025-07-21T11:20:17.679" v="2392"/>
        <pc:sldMkLst>
          <pc:docMk/>
          <pc:sldMk cId="105556773" sldId="1419"/>
        </pc:sldMkLst>
      </pc:sldChg>
      <pc:sldChg chg="del">
        <pc:chgData name="kchristou@gsco.gov.gr" userId="S::urn:spo:guest#kchristou@gsco.gov.gr::" providerId="AD" clId="Web-{4FCF9815-CDF3-E976-97FF-BA15520144F1}" dt="2025-07-21T11:34:44.899" v="2566"/>
        <pc:sldMkLst>
          <pc:docMk/>
          <pc:sldMk cId="0" sldId="1421"/>
        </pc:sldMkLst>
      </pc:sldChg>
      <pc:sldChg chg="del">
        <pc:chgData name="kchristou@gsco.gov.gr" userId="S::urn:spo:guest#kchristou@gsco.gov.gr::" providerId="AD" clId="Web-{4FCF9815-CDF3-E976-97FF-BA15520144F1}" dt="2025-07-21T11:38:07.594" v="2606"/>
        <pc:sldMkLst>
          <pc:docMk/>
          <pc:sldMk cId="1528915204" sldId="1488"/>
        </pc:sldMkLst>
      </pc:sldChg>
      <pc:sldChg chg="del">
        <pc:chgData name="kchristou@gsco.gov.gr" userId="S::urn:spo:guest#kchristou@gsco.gov.gr::" providerId="AD" clId="Web-{4FCF9815-CDF3-E976-97FF-BA15520144F1}" dt="2025-07-21T10:42:45.191" v="1776"/>
        <pc:sldMkLst>
          <pc:docMk/>
          <pc:sldMk cId="980176079" sldId="1495"/>
        </pc:sldMkLst>
      </pc:sldChg>
      <pc:sldChg chg="modSp">
        <pc:chgData name="kchristou@gsco.gov.gr" userId="S::urn:spo:guest#kchristou@gsco.gov.gr::" providerId="AD" clId="Web-{4FCF9815-CDF3-E976-97FF-BA15520144F1}" dt="2025-07-21T11:04:57.208" v="2032" actId="1076"/>
        <pc:sldMkLst>
          <pc:docMk/>
          <pc:sldMk cId="0" sldId="1505"/>
        </pc:sldMkLst>
      </pc:sldChg>
      <pc:sldChg chg="del">
        <pc:chgData name="kchristou@gsco.gov.gr" userId="S::urn:spo:guest#kchristou@gsco.gov.gr::" providerId="AD" clId="Web-{4FCF9815-CDF3-E976-97FF-BA15520144F1}" dt="2025-07-21T09:12:27.493" v="2"/>
        <pc:sldMkLst>
          <pc:docMk/>
          <pc:sldMk cId="3525560418" sldId="1532"/>
        </pc:sldMkLst>
      </pc:sldChg>
      <pc:sldChg chg="del">
        <pc:chgData name="kchristou@gsco.gov.gr" userId="S::urn:spo:guest#kchristou@gsco.gov.gr::" providerId="AD" clId="Web-{4FCF9815-CDF3-E976-97FF-BA15520144F1}" dt="2025-07-21T09:12:41.541" v="3"/>
        <pc:sldMkLst>
          <pc:docMk/>
          <pc:sldMk cId="746063930" sldId="1533"/>
        </pc:sldMkLst>
      </pc:sldChg>
      <pc:sldChg chg="del">
        <pc:chgData name="kchristou@gsco.gov.gr" userId="S::urn:spo:guest#kchristou@gsco.gov.gr::" providerId="AD" clId="Web-{4FCF9815-CDF3-E976-97FF-BA15520144F1}" dt="2025-07-21T09:12:41.994" v="4"/>
        <pc:sldMkLst>
          <pc:docMk/>
          <pc:sldMk cId="1785229242" sldId="1534"/>
        </pc:sldMkLst>
      </pc:sldChg>
      <pc:sldChg chg="del">
        <pc:chgData name="kchristou@gsco.gov.gr" userId="S::urn:spo:guest#kchristou@gsco.gov.gr::" providerId="AD" clId="Web-{4FCF9815-CDF3-E976-97FF-BA15520144F1}" dt="2025-07-21T09:12:42.463" v="5"/>
        <pc:sldMkLst>
          <pc:docMk/>
          <pc:sldMk cId="159466223" sldId="1535"/>
        </pc:sldMkLst>
      </pc:sldChg>
      <pc:sldChg chg="del">
        <pc:chgData name="kchristou@gsco.gov.gr" userId="S::urn:spo:guest#kchristou@gsco.gov.gr::" providerId="AD" clId="Web-{4FCF9815-CDF3-E976-97FF-BA15520144F1}" dt="2025-07-21T09:12:42.900" v="6"/>
        <pc:sldMkLst>
          <pc:docMk/>
          <pc:sldMk cId="4112980583" sldId="1540"/>
        </pc:sldMkLst>
      </pc:sldChg>
      <pc:sldChg chg="del ord">
        <pc:chgData name="kchristou@gsco.gov.gr" userId="S::urn:spo:guest#kchristou@gsco.gov.gr::" providerId="AD" clId="Web-{4FCF9815-CDF3-E976-97FF-BA15520144F1}" dt="2025-07-21T10:22:02.301" v="1195"/>
        <pc:sldMkLst>
          <pc:docMk/>
          <pc:sldMk cId="1042286641" sldId="1597"/>
        </pc:sldMkLst>
      </pc:sldChg>
      <pc:sldChg chg="del ord">
        <pc:chgData name="kchristou@gsco.gov.gr" userId="S::urn:spo:guest#kchristou@gsco.gov.gr::" providerId="AD" clId="Web-{4FCF9815-CDF3-E976-97FF-BA15520144F1}" dt="2025-07-21T11:26:23.787" v="2500"/>
        <pc:sldMkLst>
          <pc:docMk/>
          <pc:sldMk cId="4000928592" sldId="1599"/>
        </pc:sldMkLst>
      </pc:sldChg>
      <pc:sldChg chg="del ord">
        <pc:chgData name="kchristou@gsco.gov.gr" userId="S::urn:spo:guest#kchristou@gsco.gov.gr::" providerId="AD" clId="Web-{4FCF9815-CDF3-E976-97FF-BA15520144F1}" dt="2025-07-21T11:30:39.312" v="2540"/>
        <pc:sldMkLst>
          <pc:docMk/>
          <pc:sldMk cId="0" sldId="1600"/>
        </pc:sldMkLst>
      </pc:sldChg>
      <pc:sldChg chg="del">
        <pc:chgData name="kchristou@gsco.gov.gr" userId="S::urn:spo:guest#kchristou@gsco.gov.gr::" providerId="AD" clId="Web-{4FCF9815-CDF3-E976-97FF-BA15520144F1}" dt="2025-07-21T11:41:35.805" v="2893"/>
        <pc:sldMkLst>
          <pc:docMk/>
          <pc:sldMk cId="3055315653" sldId="1601"/>
        </pc:sldMkLst>
      </pc:sldChg>
      <pc:sldChg chg="del ord">
        <pc:chgData name="kchristou@gsco.gov.gr" userId="S::urn:spo:guest#kchristou@gsco.gov.gr::" providerId="AD" clId="Web-{4FCF9815-CDF3-E976-97FF-BA15520144F1}" dt="2025-07-21T10:59:58.775" v="1992"/>
        <pc:sldMkLst>
          <pc:docMk/>
          <pc:sldMk cId="2740356996" sldId="1603"/>
        </pc:sldMkLst>
      </pc:sldChg>
      <pc:sldChg chg="del ord">
        <pc:chgData name="kchristou@gsco.gov.gr" userId="S::urn:spo:guest#kchristou@gsco.gov.gr::" providerId="AD" clId="Web-{4FCF9815-CDF3-E976-97FF-BA15520144F1}" dt="2025-07-21T11:03:42.721" v="2025"/>
        <pc:sldMkLst>
          <pc:docMk/>
          <pc:sldMk cId="2259958531" sldId="1606"/>
        </pc:sldMkLst>
      </pc:sldChg>
      <pc:sldChg chg="del">
        <pc:chgData name="kchristou@gsco.gov.gr" userId="S::urn:spo:guest#kchristou@gsco.gov.gr::" providerId="AD" clId="Web-{4FCF9815-CDF3-E976-97FF-BA15520144F1}" dt="2025-07-21T09:12:46.322" v="7"/>
        <pc:sldMkLst>
          <pc:docMk/>
          <pc:sldMk cId="3278719490" sldId="1642"/>
        </pc:sldMkLst>
      </pc:sldChg>
      <pc:sldChg chg="del">
        <pc:chgData name="kchristou@gsco.gov.gr" userId="S::urn:spo:guest#kchristou@gsco.gov.gr::" providerId="AD" clId="Web-{4FCF9815-CDF3-E976-97FF-BA15520144F1}" dt="2025-07-21T09:12:46.588" v="8"/>
        <pc:sldMkLst>
          <pc:docMk/>
          <pc:sldMk cId="3041507107" sldId="1643"/>
        </pc:sldMkLst>
      </pc:sldChg>
      <pc:sldChg chg="del">
        <pc:chgData name="kchristou@gsco.gov.gr" userId="S::urn:spo:guest#kchristou@gsco.gov.gr::" providerId="AD" clId="Web-{4FCF9815-CDF3-E976-97FF-BA15520144F1}" dt="2025-07-21T09:12:46.963" v="9"/>
        <pc:sldMkLst>
          <pc:docMk/>
          <pc:sldMk cId="730238026" sldId="1650"/>
        </pc:sldMkLst>
      </pc:sldChg>
      <pc:sldChg chg="del">
        <pc:chgData name="kchristou@gsco.gov.gr" userId="S::urn:spo:guest#kchristou@gsco.gov.gr::" providerId="AD" clId="Web-{4FCF9815-CDF3-E976-97FF-BA15520144F1}" dt="2025-07-21T09:12:47.791" v="10"/>
        <pc:sldMkLst>
          <pc:docMk/>
          <pc:sldMk cId="1118975589" sldId="1651"/>
        </pc:sldMkLst>
      </pc:sldChg>
      <pc:sldChg chg="modSp">
        <pc:chgData name="kchristou@gsco.gov.gr" userId="S::urn:spo:guest#kchristou@gsco.gov.gr::" providerId="AD" clId="Web-{4FCF9815-CDF3-E976-97FF-BA15520144F1}" dt="2025-07-21T09:24:58.927" v="495" actId="20577"/>
        <pc:sldMkLst>
          <pc:docMk/>
          <pc:sldMk cId="2331210412" sldId="1737"/>
        </pc:sldMkLst>
      </pc:sldChg>
      <pc:sldChg chg="addSp delSp modSp">
        <pc:chgData name="kchristou@gsco.gov.gr" userId="S::urn:spo:guest#kchristou@gsco.gov.gr::" providerId="AD" clId="Web-{4FCF9815-CDF3-E976-97FF-BA15520144F1}" dt="2025-07-21T09:26:17.774" v="512" actId="1076"/>
        <pc:sldMkLst>
          <pc:docMk/>
          <pc:sldMk cId="405132013" sldId="1738"/>
        </pc:sldMkLst>
      </pc:sldChg>
      <pc:sldChg chg="modSp">
        <pc:chgData name="kchristou@gsco.gov.gr" userId="S::urn:spo:guest#kchristou@gsco.gov.gr::" providerId="AD" clId="Web-{4FCF9815-CDF3-E976-97FF-BA15520144F1}" dt="2025-07-21T09:25:31.100" v="504" actId="20577"/>
        <pc:sldMkLst>
          <pc:docMk/>
          <pc:sldMk cId="1692107350" sldId="1739"/>
        </pc:sldMkLst>
      </pc:sldChg>
      <pc:sldChg chg="addSp delSp modSp add">
        <pc:chgData name="kchristou@gsco.gov.gr" userId="S::urn:spo:guest#kchristou@gsco.gov.gr::" providerId="AD" clId="Web-{4FCF9815-CDF3-E976-97FF-BA15520144F1}" dt="2025-07-21T09:24:24.238" v="494"/>
        <pc:sldMkLst>
          <pc:docMk/>
          <pc:sldMk cId="3149460739" sldId="1746"/>
        </pc:sldMkLst>
        <pc:spChg chg="mod">
          <ac:chgData name="kchristou@gsco.gov.gr" userId="S::urn:spo:guest#kchristou@gsco.gov.gr::" providerId="AD" clId="Web-{4FCF9815-CDF3-E976-97FF-BA15520144F1}" dt="2025-07-21T09:24:13.738" v="493" actId="1076"/>
          <ac:spMkLst>
            <pc:docMk/>
            <pc:sldMk cId="3149460739" sldId="1746"/>
            <ac:spMk id="11" creationId="{71CBDAB3-FA51-078D-394B-7F57C6E81D71}"/>
          </ac:spMkLst>
        </pc:spChg>
        <pc:graphicFrameChg chg="mod modGraphic">
          <ac:chgData name="kchristou@gsco.gov.gr" userId="S::urn:spo:guest#kchristou@gsco.gov.gr::" providerId="AD" clId="Web-{4FCF9815-CDF3-E976-97FF-BA15520144F1}" dt="2025-07-21T09:24:06.753" v="492"/>
          <ac:graphicFrameMkLst>
            <pc:docMk/>
            <pc:sldMk cId="3149460739" sldId="1746"/>
            <ac:graphicFrameMk id="7" creationId="{D7D59CF0-498B-83DD-65D3-8928B7040DAB}"/>
          </ac:graphicFrameMkLst>
        </pc:graphicFrameChg>
      </pc:sldChg>
      <pc:sldChg chg="addSp delSp modSp add del replId">
        <pc:chgData name="kchristou@gsco.gov.gr" userId="S::urn:spo:guest#kchristou@gsco.gov.gr::" providerId="AD" clId="Web-{4FCF9815-CDF3-E976-97FF-BA15520144F1}" dt="2025-07-21T10:15:48.882" v="1142" actId="1076"/>
        <pc:sldMkLst>
          <pc:docMk/>
          <pc:sldMk cId="614415875" sldId="1747"/>
        </pc:sldMkLst>
      </pc:sldChg>
      <pc:sldChg chg="addSp delSp modSp add del ord replId">
        <pc:chgData name="kchristou@gsco.gov.gr" userId="S::urn:spo:guest#kchristou@gsco.gov.gr::" providerId="AD" clId="Web-{4FCF9815-CDF3-E976-97FF-BA15520144F1}" dt="2025-07-21T10:23:33.852" v="1198"/>
        <pc:sldMkLst>
          <pc:docMk/>
          <pc:sldMk cId="1432770923" sldId="1748"/>
        </pc:sldMkLst>
      </pc:sldChg>
      <pc:sldChg chg="addSp delSp modSp add replId">
        <pc:chgData name="kchristou@gsco.gov.gr" userId="S::urn:spo:guest#kchristou@gsco.gov.gr::" providerId="AD" clId="Web-{4FCF9815-CDF3-E976-97FF-BA15520144F1}" dt="2025-07-21T11:29:00.964" v="2505"/>
        <pc:sldMkLst>
          <pc:docMk/>
          <pc:sldMk cId="42924211" sldId="1749"/>
        </pc:sldMkLst>
        <pc:spChg chg="mod">
          <ac:chgData name="kchristou@gsco.gov.gr" userId="S::urn:spo:guest#kchristou@gsco.gov.gr::" providerId="AD" clId="Web-{4FCF9815-CDF3-E976-97FF-BA15520144F1}" dt="2025-07-21T11:06:54.306" v="2055" actId="14100"/>
          <ac:spMkLst>
            <pc:docMk/>
            <pc:sldMk cId="42924211" sldId="1749"/>
            <ac:spMk id="4" creationId="{32D971F0-EEA3-A05E-BDA9-2039134DC6E9}"/>
          </ac:spMkLst>
        </pc:spChg>
        <pc:spChg chg="mod">
          <ac:chgData name="kchristou@gsco.gov.gr" userId="S::urn:spo:guest#kchristou@gsco.gov.gr::" providerId="AD" clId="Web-{4FCF9815-CDF3-E976-97FF-BA15520144F1}" dt="2025-07-21T11:07:50.027" v="2065" actId="1076"/>
          <ac:spMkLst>
            <pc:docMk/>
            <pc:sldMk cId="42924211" sldId="1749"/>
            <ac:spMk id="5" creationId="{0839696E-781B-943C-2550-26EFBF75E911}"/>
          </ac:spMkLst>
        </pc:spChg>
        <pc:spChg chg="add del mod">
          <ac:chgData name="kchristou@gsco.gov.gr" userId="S::urn:spo:guest#kchristou@gsco.gov.gr::" providerId="AD" clId="Web-{4FCF9815-CDF3-E976-97FF-BA15520144F1}" dt="2025-07-21T11:04:23.879" v="2028" actId="14100"/>
          <ac:spMkLst>
            <pc:docMk/>
            <pc:sldMk cId="42924211" sldId="1749"/>
            <ac:spMk id="8" creationId="{EA112854-6DCC-4473-3CF3-EE3C76D326A6}"/>
          </ac:spMkLst>
        </pc:spChg>
        <pc:spChg chg="mod">
          <ac:chgData name="kchristou@gsco.gov.gr" userId="S::urn:spo:guest#kchristou@gsco.gov.gr::" providerId="AD" clId="Web-{4FCF9815-CDF3-E976-97FF-BA15520144F1}" dt="2025-07-21T11:07:10.197" v="2058" actId="1076"/>
          <ac:spMkLst>
            <pc:docMk/>
            <pc:sldMk cId="42924211" sldId="1749"/>
            <ac:spMk id="9" creationId="{981418D1-C768-E261-8D15-64DF088EFBEE}"/>
          </ac:spMkLst>
        </pc:spChg>
        <pc:spChg chg="mod">
          <ac:chgData name="kchristou@gsco.gov.gr" userId="S::urn:spo:guest#kchristou@gsco.gov.gr::" providerId="AD" clId="Web-{4FCF9815-CDF3-E976-97FF-BA15520144F1}" dt="2025-07-21T11:07:00.822" v="2056" actId="1076"/>
          <ac:spMkLst>
            <pc:docMk/>
            <pc:sldMk cId="42924211" sldId="1749"/>
            <ac:spMk id="10" creationId="{F1AF9FF4-D2CC-1289-753A-F519C7D0F444}"/>
          </ac:spMkLst>
        </pc:spChg>
        <pc:spChg chg="add mod">
          <ac:chgData name="kchristou@gsco.gov.gr" userId="S::urn:spo:guest#kchristou@gsco.gov.gr::" providerId="AD" clId="Web-{4FCF9815-CDF3-E976-97FF-BA15520144F1}" dt="2025-07-21T11:04:12.691" v="2027" actId="1076"/>
          <ac:spMkLst>
            <pc:docMk/>
            <pc:sldMk cId="42924211" sldId="1749"/>
            <ac:spMk id="12" creationId="{C66C4013-CF33-7A6F-BADA-90882B3F188C}"/>
          </ac:spMkLst>
        </pc:spChg>
        <pc:spChg chg="add mod">
          <ac:chgData name="kchristou@gsco.gov.gr" userId="S::urn:spo:guest#kchristou@gsco.gov.gr::" providerId="AD" clId="Web-{4FCF9815-CDF3-E976-97FF-BA15520144F1}" dt="2025-07-21T11:07:43.449" v="2064" actId="1076"/>
          <ac:spMkLst>
            <pc:docMk/>
            <pc:sldMk cId="42924211" sldId="1749"/>
            <ac:spMk id="16" creationId="{CE570C8C-73C0-A2FF-F85E-8B4E5F59E1BA}"/>
          </ac:spMkLst>
        </pc:spChg>
        <pc:spChg chg="add mod">
          <ac:chgData name="kchristou@gsco.gov.gr" userId="S::urn:spo:guest#kchristou@gsco.gov.gr::" providerId="AD" clId="Web-{4FCF9815-CDF3-E976-97FF-BA15520144F1}" dt="2025-07-21T11:07:24.276" v="2061" actId="1076"/>
          <ac:spMkLst>
            <pc:docMk/>
            <pc:sldMk cId="42924211" sldId="1749"/>
            <ac:spMk id="19" creationId="{D3E4BCC9-F6FC-0442-A840-15917430769A}"/>
          </ac:spMkLst>
        </pc:spChg>
      </pc:sldChg>
      <pc:sldChg chg="addSp delSp modSp add ord replId">
        <pc:chgData name="kchristou@gsco.gov.gr" userId="S::urn:spo:guest#kchristou@gsco.gov.gr::" providerId="AD" clId="Web-{4FCF9815-CDF3-E976-97FF-BA15520144F1}" dt="2025-07-21T11:48:24.804" v="3021" actId="1076"/>
        <pc:sldMkLst>
          <pc:docMk/>
          <pc:sldMk cId="3873979063" sldId="1750"/>
        </pc:sldMkLst>
        <pc:spChg chg="add del mod">
          <ac:chgData name="kchristou@gsco.gov.gr" userId="S::urn:spo:guest#kchristou@gsco.gov.gr::" providerId="AD" clId="Web-{4FCF9815-CDF3-E976-97FF-BA15520144F1}" dt="2025-07-21T11:43:16.761" v="2922"/>
          <ac:spMkLst>
            <pc:docMk/>
            <pc:sldMk cId="3873979063" sldId="1750"/>
            <ac:spMk id="2" creationId="{13BBD728-068B-5BD3-34B7-F868425281D8}"/>
          </ac:spMkLst>
        </pc:spChg>
        <pc:spChg chg="add del mod">
          <ac:chgData name="kchristou@gsco.gov.gr" userId="S::urn:spo:guest#kchristou@gsco.gov.gr::" providerId="AD" clId="Web-{4FCF9815-CDF3-E976-97FF-BA15520144F1}" dt="2025-07-21T11:43:16.761" v="2919"/>
          <ac:spMkLst>
            <pc:docMk/>
            <pc:sldMk cId="3873979063" sldId="1750"/>
            <ac:spMk id="4" creationId="{EE10675E-AA1B-1281-2E0D-4EED205DD3DA}"/>
          </ac:spMkLst>
        </pc:spChg>
        <pc:spChg chg="add del mod">
          <ac:chgData name="kchristou@gsco.gov.gr" userId="S::urn:spo:guest#kchristou@gsco.gov.gr::" providerId="AD" clId="Web-{4FCF9815-CDF3-E976-97FF-BA15520144F1}" dt="2025-07-21T11:43:16.761" v="2920"/>
          <ac:spMkLst>
            <pc:docMk/>
            <pc:sldMk cId="3873979063" sldId="1750"/>
            <ac:spMk id="5" creationId="{16DD95D7-BBE4-ADFC-8D77-07E65F2BD674}"/>
          </ac:spMkLst>
        </pc:spChg>
        <pc:spChg chg="mod">
          <ac:chgData name="kchristou@gsco.gov.gr" userId="S::urn:spo:guest#kchristou@gsco.gov.gr::" providerId="AD" clId="Web-{4FCF9815-CDF3-E976-97FF-BA15520144F1}" dt="2025-07-21T11:48:17.163" v="3019" actId="1076"/>
          <ac:spMkLst>
            <pc:docMk/>
            <pc:sldMk cId="3873979063" sldId="1750"/>
            <ac:spMk id="8" creationId="{C6176E13-822F-0367-5211-442B48F7A54E}"/>
          </ac:spMkLst>
        </pc:spChg>
        <pc:spChg chg="add del mod">
          <ac:chgData name="kchristou@gsco.gov.gr" userId="S::urn:spo:guest#kchristou@gsco.gov.gr::" providerId="AD" clId="Web-{4FCF9815-CDF3-E976-97FF-BA15520144F1}" dt="2025-07-21T11:43:16.761" v="2921"/>
          <ac:spMkLst>
            <pc:docMk/>
            <pc:sldMk cId="3873979063" sldId="1750"/>
            <ac:spMk id="9" creationId="{F32AC677-A693-1CB3-21C6-F523F8F6F068}"/>
          </ac:spMkLst>
        </pc:spChg>
        <pc:spChg chg="mod">
          <ac:chgData name="kchristou@gsco.gov.gr" userId="S::urn:spo:guest#kchristou@gsco.gov.gr::" providerId="AD" clId="Web-{4FCF9815-CDF3-E976-97FF-BA15520144F1}" dt="2025-07-21T11:48:13.288" v="3018" actId="1076"/>
          <ac:spMkLst>
            <pc:docMk/>
            <pc:sldMk cId="3873979063" sldId="1750"/>
            <ac:spMk id="12" creationId="{4A6631AC-FC30-B3B3-A206-32B815408BDF}"/>
          </ac:spMkLst>
        </pc:spChg>
        <pc:spChg chg="add mod">
          <ac:chgData name="kchristou@gsco.gov.gr" userId="S::urn:spo:guest#kchristou@gsco.gov.gr::" providerId="AD" clId="Web-{4FCF9815-CDF3-E976-97FF-BA15520144F1}" dt="2025-07-21T11:47:53.475" v="3015" actId="1076"/>
          <ac:spMkLst>
            <pc:docMk/>
            <pc:sldMk cId="3873979063" sldId="1750"/>
            <ac:spMk id="14" creationId="{395D8F44-833D-24C3-3C68-737529D563F5}"/>
          </ac:spMkLst>
        </pc:spChg>
        <pc:spChg chg="mod">
          <ac:chgData name="kchristou@gsco.gov.gr" userId="S::urn:spo:guest#kchristou@gsco.gov.gr::" providerId="AD" clId="Web-{4FCF9815-CDF3-E976-97FF-BA15520144F1}" dt="2025-07-21T11:48:20.476" v="3020" actId="1076"/>
          <ac:spMkLst>
            <pc:docMk/>
            <pc:sldMk cId="3873979063" sldId="1750"/>
            <ac:spMk id="16" creationId="{07E8AD13-3A8D-0C78-8182-0E2A7BF49C49}"/>
          </ac:spMkLst>
        </pc:spChg>
        <pc:spChg chg="add mod">
          <ac:chgData name="kchristou@gsco.gov.gr" userId="S::urn:spo:guest#kchristou@gsco.gov.gr::" providerId="AD" clId="Web-{4FCF9815-CDF3-E976-97FF-BA15520144F1}" dt="2025-07-21T11:47:44.865" v="3014" actId="1076"/>
          <ac:spMkLst>
            <pc:docMk/>
            <pc:sldMk cId="3873979063" sldId="1750"/>
            <ac:spMk id="17" creationId="{07B4CA66-DF36-8499-4BFD-D8DBBA75589D}"/>
          </ac:spMkLst>
        </pc:spChg>
        <pc:spChg chg="mod">
          <ac:chgData name="kchristou@gsco.gov.gr" userId="S::urn:spo:guest#kchristou@gsco.gov.gr::" providerId="AD" clId="Web-{4FCF9815-CDF3-E976-97FF-BA15520144F1}" dt="2025-07-21T11:48:24.804" v="3021" actId="1076"/>
          <ac:spMkLst>
            <pc:docMk/>
            <pc:sldMk cId="3873979063" sldId="1750"/>
            <ac:spMk id="19" creationId="{8B880574-4268-4977-FBA4-931F1EDDCCF7}"/>
          </ac:spMkLst>
        </pc:spChg>
        <pc:spChg chg="add mod">
          <ac:chgData name="kchristou@gsco.gov.gr" userId="S::urn:spo:guest#kchristou@gsco.gov.gr::" providerId="AD" clId="Web-{4FCF9815-CDF3-E976-97FF-BA15520144F1}" dt="2025-07-21T11:47:59.256" v="3016" actId="1076"/>
          <ac:spMkLst>
            <pc:docMk/>
            <pc:sldMk cId="3873979063" sldId="1750"/>
            <ac:spMk id="26" creationId="{9E917B47-69B4-953A-3F1F-AACF148CE19B}"/>
          </ac:spMkLst>
        </pc:spChg>
        <pc:spChg chg="add mod">
          <ac:chgData name="kchristou@gsco.gov.gr" userId="S::urn:spo:guest#kchristou@gsco.gov.gr::" providerId="AD" clId="Web-{4FCF9815-CDF3-E976-97FF-BA15520144F1}" dt="2025-07-21T11:48:05.100" v="3017" actId="1076"/>
          <ac:spMkLst>
            <pc:docMk/>
            <pc:sldMk cId="3873979063" sldId="1750"/>
            <ac:spMk id="30" creationId="{EE4D5112-119A-910C-C2D7-36F6DF33D32D}"/>
          </ac:spMkLst>
        </pc:spChg>
      </pc:sldChg>
      <pc:sldChg chg="addSp delSp modSp add replId">
        <pc:chgData name="kchristou@gsco.gov.gr" userId="S::urn:spo:guest#kchristou@gsco.gov.gr::" providerId="AD" clId="Web-{4FCF9815-CDF3-E976-97FF-BA15520144F1}" dt="2025-07-21T11:50:21.136" v="3038" actId="1076"/>
        <pc:sldMkLst>
          <pc:docMk/>
          <pc:sldMk cId="1801349931" sldId="1751"/>
        </pc:sldMkLst>
      </pc:sldChg>
    </pc:docChg>
  </pc:docChgLst>
  <pc:docChgLst>
    <pc:chgData name="Έλια Αποστολοπούλου" userId="55324f8b-f5ef-49c9-8ce3-afc1f275c581" providerId="ADAL" clId="{D054BEF4-B56E-4714-BE58-DEB404E73EBA}"/>
    <pc:docChg chg="undo custSel delSld modSld delMainMaster">
      <pc:chgData name="Έλια Αποστολοπούλου" userId="55324f8b-f5ef-49c9-8ce3-afc1f275c581" providerId="ADAL" clId="{D054BEF4-B56E-4714-BE58-DEB404E73EBA}" dt="2024-12-02T03:57:57.732" v="166" actId="400"/>
      <pc:docMkLst>
        <pc:docMk/>
      </pc:docMkLst>
      <pc:sldChg chg="del">
        <pc:chgData name="Έλια Αποστολοπούλου" userId="55324f8b-f5ef-49c9-8ce3-afc1f275c581" providerId="ADAL" clId="{D054BEF4-B56E-4714-BE58-DEB404E73EBA}" dt="2024-12-01T17:25:28.677" v="55" actId="47"/>
        <pc:sldMkLst>
          <pc:docMk/>
          <pc:sldMk cId="1805642224" sldId="258"/>
        </pc:sldMkLst>
      </pc:sldChg>
      <pc:sldChg chg="del">
        <pc:chgData name="Έλια Αποστολοπούλου" userId="55324f8b-f5ef-49c9-8ce3-afc1f275c581" providerId="ADAL" clId="{D054BEF4-B56E-4714-BE58-DEB404E73EBA}" dt="2024-12-01T17:25:28.741" v="56" actId="47"/>
        <pc:sldMkLst>
          <pc:docMk/>
          <pc:sldMk cId="1907041626" sldId="260"/>
        </pc:sldMkLst>
      </pc:sldChg>
      <pc:sldChg chg="del">
        <pc:chgData name="Έλια Αποστολοπούλου" userId="55324f8b-f5ef-49c9-8ce3-afc1f275c581" providerId="ADAL" clId="{D054BEF4-B56E-4714-BE58-DEB404E73EBA}" dt="2024-12-01T17:27:54.835" v="74" actId="47"/>
        <pc:sldMkLst>
          <pc:docMk/>
          <pc:sldMk cId="2583466883" sldId="261"/>
        </pc:sldMkLst>
      </pc:sldChg>
      <pc:sldChg chg="del">
        <pc:chgData name="Έλια Αποστολοπούλου" userId="55324f8b-f5ef-49c9-8ce3-afc1f275c581" providerId="ADAL" clId="{D054BEF4-B56E-4714-BE58-DEB404E73EBA}" dt="2024-12-01T17:27:54.835" v="74" actId="47"/>
        <pc:sldMkLst>
          <pc:docMk/>
          <pc:sldMk cId="3418301527" sldId="262"/>
        </pc:sldMkLst>
      </pc:sldChg>
      <pc:sldChg chg="del">
        <pc:chgData name="Έλια Αποστολοπούλου" userId="55324f8b-f5ef-49c9-8ce3-afc1f275c581" providerId="ADAL" clId="{D054BEF4-B56E-4714-BE58-DEB404E73EBA}" dt="2024-12-01T17:25:29.223" v="59" actId="47"/>
        <pc:sldMkLst>
          <pc:docMk/>
          <pc:sldMk cId="1146833870" sldId="263"/>
        </pc:sldMkLst>
      </pc:sldChg>
      <pc:sldChg chg="del">
        <pc:chgData name="Έλια Αποστολοπούλου" userId="55324f8b-f5ef-49c9-8ce3-afc1f275c581" providerId="ADAL" clId="{D054BEF4-B56E-4714-BE58-DEB404E73EBA}" dt="2024-12-01T17:28:33.422" v="82" actId="47"/>
        <pc:sldMkLst>
          <pc:docMk/>
          <pc:sldMk cId="707816418" sldId="264"/>
        </pc:sldMkLst>
      </pc:sldChg>
      <pc:sldChg chg="del">
        <pc:chgData name="Έλια Αποστολοπούλου" userId="55324f8b-f5ef-49c9-8ce3-afc1f275c581" providerId="ADAL" clId="{D054BEF4-B56E-4714-BE58-DEB404E73EBA}" dt="2024-12-01T17:25:30.389" v="62" actId="47"/>
        <pc:sldMkLst>
          <pc:docMk/>
          <pc:sldMk cId="0" sldId="265"/>
        </pc:sldMkLst>
      </pc:sldChg>
      <pc:sldChg chg="del">
        <pc:chgData name="Έλια Αποστολοπούλου" userId="55324f8b-f5ef-49c9-8ce3-afc1f275c581" providerId="ADAL" clId="{D054BEF4-B56E-4714-BE58-DEB404E73EBA}" dt="2024-12-01T17:25:33.409" v="63" actId="47"/>
        <pc:sldMkLst>
          <pc:docMk/>
          <pc:sldMk cId="0" sldId="266"/>
        </pc:sldMkLst>
      </pc:sldChg>
      <pc:sldChg chg="del">
        <pc:chgData name="Έλια Αποστολοπούλου" userId="55324f8b-f5ef-49c9-8ce3-afc1f275c581" providerId="ADAL" clId="{D054BEF4-B56E-4714-BE58-DEB404E73EBA}" dt="2024-12-01T17:25:33.650" v="64" actId="47"/>
        <pc:sldMkLst>
          <pc:docMk/>
          <pc:sldMk cId="0" sldId="267"/>
        </pc:sldMkLst>
      </pc:sldChg>
      <pc:sldChg chg="del">
        <pc:chgData name="Έλια Αποστολοπούλου" userId="55324f8b-f5ef-49c9-8ce3-afc1f275c581" providerId="ADAL" clId="{D054BEF4-B56E-4714-BE58-DEB404E73EBA}" dt="2024-12-01T17:25:35.031" v="65" actId="47"/>
        <pc:sldMkLst>
          <pc:docMk/>
          <pc:sldMk cId="0" sldId="268"/>
        </pc:sldMkLst>
      </pc:sldChg>
      <pc:sldChg chg="del">
        <pc:chgData name="Έλια Αποστολοπούλου" userId="55324f8b-f5ef-49c9-8ce3-afc1f275c581" providerId="ADAL" clId="{D054BEF4-B56E-4714-BE58-DEB404E73EBA}" dt="2024-12-01T17:28:33.422" v="82" actId="47"/>
        <pc:sldMkLst>
          <pc:docMk/>
          <pc:sldMk cId="1980267271" sldId="269"/>
        </pc:sldMkLst>
      </pc:sldChg>
      <pc:sldChg chg="del">
        <pc:chgData name="Έλια Αποστολοπούλου" userId="55324f8b-f5ef-49c9-8ce3-afc1f275c581" providerId="ADAL" clId="{D054BEF4-B56E-4714-BE58-DEB404E73EBA}" dt="2024-12-01T17:27:54.835" v="74" actId="47"/>
        <pc:sldMkLst>
          <pc:docMk/>
          <pc:sldMk cId="70549532" sldId="270"/>
        </pc:sldMkLst>
      </pc:sldChg>
      <pc:sldChg chg="del">
        <pc:chgData name="Έλια Αποστολοπούλου" userId="55324f8b-f5ef-49c9-8ce3-afc1f275c581" providerId="ADAL" clId="{D054BEF4-B56E-4714-BE58-DEB404E73EBA}" dt="2024-12-01T17:25:28.333" v="54" actId="47"/>
        <pc:sldMkLst>
          <pc:docMk/>
          <pc:sldMk cId="0" sldId="271"/>
        </pc:sldMkLst>
      </pc:sldChg>
      <pc:sldChg chg="del">
        <pc:chgData name="Έλια Αποστολοπούλου" userId="55324f8b-f5ef-49c9-8ce3-afc1f275c581" providerId="ADAL" clId="{D054BEF4-B56E-4714-BE58-DEB404E73EBA}" dt="2024-12-01T17:25:28.817" v="57" actId="47"/>
        <pc:sldMkLst>
          <pc:docMk/>
          <pc:sldMk cId="0" sldId="276"/>
        </pc:sldMkLst>
      </pc:sldChg>
      <pc:sldChg chg="del">
        <pc:chgData name="Έλια Αποστολοπούλου" userId="55324f8b-f5ef-49c9-8ce3-afc1f275c581" providerId="ADAL" clId="{D054BEF4-B56E-4714-BE58-DEB404E73EBA}" dt="2024-12-01T17:25:30.040" v="60" actId="47"/>
        <pc:sldMkLst>
          <pc:docMk/>
          <pc:sldMk cId="3810021686" sldId="278"/>
        </pc:sldMkLst>
      </pc:sldChg>
      <pc:sldChg chg="del">
        <pc:chgData name="Έλια Αποστολοπούλου" userId="55324f8b-f5ef-49c9-8ce3-afc1f275c581" providerId="ADAL" clId="{D054BEF4-B56E-4714-BE58-DEB404E73EBA}" dt="2024-12-01T17:25:30.298" v="61" actId="47"/>
        <pc:sldMkLst>
          <pc:docMk/>
          <pc:sldMk cId="3678731730" sldId="279"/>
        </pc:sldMkLst>
      </pc:sldChg>
      <pc:sldChg chg="modSp mod">
        <pc:chgData name="Έλια Αποστολοπούλου" userId="55324f8b-f5ef-49c9-8ce3-afc1f275c581" providerId="ADAL" clId="{D054BEF4-B56E-4714-BE58-DEB404E73EBA}" dt="2024-12-01T17:19:57.270" v="7" actId="20577"/>
        <pc:sldMkLst>
          <pc:docMk/>
          <pc:sldMk cId="3830522271" sldId="626"/>
        </pc:sldMkLst>
      </pc:sldChg>
      <pc:sldChg chg="del">
        <pc:chgData name="Έλια Αποστολοπούλου" userId="55324f8b-f5ef-49c9-8ce3-afc1f275c581" providerId="ADAL" clId="{D054BEF4-B56E-4714-BE58-DEB404E73EBA}" dt="2024-12-01T17:28:13.554" v="78" actId="47"/>
        <pc:sldMkLst>
          <pc:docMk/>
          <pc:sldMk cId="920463320" sldId="630"/>
        </pc:sldMkLst>
      </pc:sldChg>
      <pc:sldChg chg="del">
        <pc:chgData name="Έλια Αποστολοπούλου" userId="55324f8b-f5ef-49c9-8ce3-afc1f275c581" providerId="ADAL" clId="{D054BEF4-B56E-4714-BE58-DEB404E73EBA}" dt="2024-12-01T17:28:13.554" v="78" actId="47"/>
        <pc:sldMkLst>
          <pc:docMk/>
          <pc:sldMk cId="162167172" sldId="633"/>
        </pc:sldMkLst>
      </pc:sldChg>
      <pc:sldChg chg="del">
        <pc:chgData name="Έλια Αποστολοπούλου" userId="55324f8b-f5ef-49c9-8ce3-afc1f275c581" providerId="ADAL" clId="{D054BEF4-B56E-4714-BE58-DEB404E73EBA}" dt="2024-12-01T17:28:15.956" v="79" actId="47"/>
        <pc:sldMkLst>
          <pc:docMk/>
          <pc:sldMk cId="2767333430" sldId="634"/>
        </pc:sldMkLst>
      </pc:sldChg>
      <pc:sldChg chg="del">
        <pc:chgData name="Έλια Αποστολοπούλου" userId="55324f8b-f5ef-49c9-8ce3-afc1f275c581" providerId="ADAL" clId="{D054BEF4-B56E-4714-BE58-DEB404E73EBA}" dt="2024-12-01T17:28:13.554" v="78" actId="47"/>
        <pc:sldMkLst>
          <pc:docMk/>
          <pc:sldMk cId="3242956153" sldId="636"/>
        </pc:sldMkLst>
      </pc:sldChg>
      <pc:sldChg chg="del">
        <pc:chgData name="Έλια Αποστολοπούλου" userId="55324f8b-f5ef-49c9-8ce3-afc1f275c581" providerId="ADAL" clId="{D054BEF4-B56E-4714-BE58-DEB404E73EBA}" dt="2024-12-01T18:01:52.503" v="108" actId="47"/>
        <pc:sldMkLst>
          <pc:docMk/>
          <pc:sldMk cId="0" sldId="647"/>
        </pc:sldMkLst>
      </pc:sldChg>
      <pc:sldChg chg="del">
        <pc:chgData name="Έλια Αποστολοπούλου" userId="55324f8b-f5ef-49c9-8ce3-afc1f275c581" providerId="ADAL" clId="{D054BEF4-B56E-4714-BE58-DEB404E73EBA}" dt="2024-12-01T17:25:25.518" v="52" actId="47"/>
        <pc:sldMkLst>
          <pc:docMk/>
          <pc:sldMk cId="0" sldId="648"/>
        </pc:sldMkLst>
      </pc:sldChg>
      <pc:sldChg chg="del">
        <pc:chgData name="Έλια Αποστολοπούλου" userId="55324f8b-f5ef-49c9-8ce3-afc1f275c581" providerId="ADAL" clId="{D054BEF4-B56E-4714-BE58-DEB404E73EBA}" dt="2024-12-01T17:25:26.046" v="53" actId="47"/>
        <pc:sldMkLst>
          <pc:docMk/>
          <pc:sldMk cId="0" sldId="649"/>
        </pc:sldMkLst>
      </pc:sldChg>
      <pc:sldChg chg="del">
        <pc:chgData name="Έλια Αποστολοπούλου" userId="55324f8b-f5ef-49c9-8ce3-afc1f275c581" providerId="ADAL" clId="{D054BEF4-B56E-4714-BE58-DEB404E73EBA}" dt="2024-12-01T17:25:24.195" v="49" actId="47"/>
        <pc:sldMkLst>
          <pc:docMk/>
          <pc:sldMk cId="105556773" sldId="653"/>
        </pc:sldMkLst>
      </pc:sldChg>
      <pc:sldChg chg="del">
        <pc:chgData name="Έλια Αποστολοπούλου" userId="55324f8b-f5ef-49c9-8ce3-afc1f275c581" providerId="ADAL" clId="{D054BEF4-B56E-4714-BE58-DEB404E73EBA}" dt="2024-12-01T17:25:24.633" v="50" actId="47"/>
        <pc:sldMkLst>
          <pc:docMk/>
          <pc:sldMk cId="3656483780" sldId="656"/>
        </pc:sldMkLst>
      </pc:sldChg>
      <pc:sldChg chg="modSp mod">
        <pc:chgData name="Έλια Αποστολοπούλου" userId="55324f8b-f5ef-49c9-8ce3-afc1f275c581" providerId="ADAL" clId="{D054BEF4-B56E-4714-BE58-DEB404E73EBA}" dt="2024-12-01T17:24:56.577" v="47" actId="20577"/>
        <pc:sldMkLst>
          <pc:docMk/>
          <pc:sldMk cId="1363390496" sldId="687"/>
        </pc:sldMkLst>
      </pc:sldChg>
      <pc:sldChg chg="modSp mod">
        <pc:chgData name="Έλια Αποστολοπούλου" userId="55324f8b-f5ef-49c9-8ce3-afc1f275c581" providerId="ADAL" clId="{D054BEF4-B56E-4714-BE58-DEB404E73EBA}" dt="2024-12-01T18:01:46.849" v="106" actId="13926"/>
        <pc:sldMkLst>
          <pc:docMk/>
          <pc:sldMk cId="105556773" sldId="712"/>
        </pc:sldMkLst>
      </pc:sldChg>
      <pc:sldChg chg="del">
        <pc:chgData name="Έλια Αποστολοπούλου" userId="55324f8b-f5ef-49c9-8ce3-afc1f275c581" providerId="ADAL" clId="{D054BEF4-B56E-4714-BE58-DEB404E73EBA}" dt="2024-12-01T17:28:39.865" v="83" actId="47"/>
        <pc:sldMkLst>
          <pc:docMk/>
          <pc:sldMk cId="3093190951" sldId="712"/>
        </pc:sldMkLst>
      </pc:sldChg>
      <pc:sldChg chg="del">
        <pc:chgData name="Έλια Αποστολοπούλου" userId="55324f8b-f5ef-49c9-8ce3-afc1f275c581" providerId="ADAL" clId="{D054BEF4-B56E-4714-BE58-DEB404E73EBA}" dt="2024-12-01T17:27:46.642" v="73" actId="47"/>
        <pc:sldMkLst>
          <pc:docMk/>
          <pc:sldMk cId="3191258615" sldId="713"/>
        </pc:sldMkLst>
      </pc:sldChg>
      <pc:sldChg chg="del">
        <pc:chgData name="Έλια Αποστολοπούλου" userId="55324f8b-f5ef-49c9-8ce3-afc1f275c581" providerId="ADAL" clId="{D054BEF4-B56E-4714-BE58-DEB404E73EBA}" dt="2024-12-01T18:01:03.744" v="105" actId="47"/>
        <pc:sldMkLst>
          <pc:docMk/>
          <pc:sldMk cId="794528319" sldId="714"/>
        </pc:sldMkLst>
      </pc:sldChg>
      <pc:sldChg chg="del">
        <pc:chgData name="Έλια Αποστολοπούλου" userId="55324f8b-f5ef-49c9-8ce3-afc1f275c581" providerId="ADAL" clId="{D054BEF4-B56E-4714-BE58-DEB404E73EBA}" dt="2024-12-01T17:27:46.642" v="73" actId="47"/>
        <pc:sldMkLst>
          <pc:docMk/>
          <pc:sldMk cId="1016381483" sldId="714"/>
        </pc:sldMkLst>
      </pc:sldChg>
      <pc:sldChg chg="del">
        <pc:chgData name="Έλια Αποστολοπούλου" userId="55324f8b-f5ef-49c9-8ce3-afc1f275c581" providerId="ADAL" clId="{D054BEF4-B56E-4714-BE58-DEB404E73EBA}" dt="2024-12-01T17:27:46.642" v="73" actId="47"/>
        <pc:sldMkLst>
          <pc:docMk/>
          <pc:sldMk cId="4155962300" sldId="715"/>
        </pc:sldMkLst>
      </pc:sldChg>
      <pc:sldChg chg="del">
        <pc:chgData name="Έλια Αποστολοπούλου" userId="55324f8b-f5ef-49c9-8ce3-afc1f275c581" providerId="ADAL" clId="{D054BEF4-B56E-4714-BE58-DEB404E73EBA}" dt="2024-12-01T17:27:46.642" v="73" actId="47"/>
        <pc:sldMkLst>
          <pc:docMk/>
          <pc:sldMk cId="1662459772" sldId="716"/>
        </pc:sldMkLst>
      </pc:sldChg>
      <pc:sldChg chg="del">
        <pc:chgData name="Έλια Αποστολοπούλου" userId="55324f8b-f5ef-49c9-8ce3-afc1f275c581" providerId="ADAL" clId="{D054BEF4-B56E-4714-BE58-DEB404E73EBA}" dt="2024-12-01T17:28:01.830" v="76" actId="47"/>
        <pc:sldMkLst>
          <pc:docMk/>
          <pc:sldMk cId="1371070460" sldId="717"/>
        </pc:sldMkLst>
      </pc:sldChg>
      <pc:sldChg chg="modSp mod">
        <pc:chgData name="Έλια Αποστολοπούλου" userId="55324f8b-f5ef-49c9-8ce3-afc1f275c581" providerId="ADAL" clId="{D054BEF4-B56E-4714-BE58-DEB404E73EBA}" dt="2024-12-01T17:30:39.203" v="92" actId="6549"/>
        <pc:sldMkLst>
          <pc:docMk/>
          <pc:sldMk cId="3451922620" sldId="717"/>
        </pc:sldMkLst>
      </pc:sldChg>
      <pc:sldChg chg="del">
        <pc:chgData name="Έλια Αποστολοπούλου" userId="55324f8b-f5ef-49c9-8ce3-afc1f275c581" providerId="ADAL" clId="{D054BEF4-B56E-4714-BE58-DEB404E73EBA}" dt="2024-12-01T17:28:13.554" v="78" actId="47"/>
        <pc:sldMkLst>
          <pc:docMk/>
          <pc:sldMk cId="2292780930" sldId="718"/>
        </pc:sldMkLst>
      </pc:sldChg>
      <pc:sldChg chg="modSp mod">
        <pc:chgData name="Έλια Αποστολοπούλου" userId="55324f8b-f5ef-49c9-8ce3-afc1f275c581" providerId="ADAL" clId="{D054BEF4-B56E-4714-BE58-DEB404E73EBA}" dt="2024-12-01T17:30:46.433" v="93" actId="6549"/>
        <pc:sldMkLst>
          <pc:docMk/>
          <pc:sldMk cId="2394067039" sldId="718"/>
        </pc:sldMkLst>
      </pc:sldChg>
      <pc:sldChg chg="modSp mod">
        <pc:chgData name="Έλια Αποστολοπούλου" userId="55324f8b-f5ef-49c9-8ce3-afc1f275c581" providerId="ADAL" clId="{D054BEF4-B56E-4714-BE58-DEB404E73EBA}" dt="2024-12-01T17:30:53.032" v="94" actId="6549"/>
        <pc:sldMkLst>
          <pc:docMk/>
          <pc:sldMk cId="1842744665" sldId="720"/>
        </pc:sldMkLst>
      </pc:sldChg>
      <pc:sldChg chg="del">
        <pc:chgData name="Έλια Αποστολοπούλου" userId="55324f8b-f5ef-49c9-8ce3-afc1f275c581" providerId="ADAL" clId="{D054BEF4-B56E-4714-BE58-DEB404E73EBA}" dt="2024-12-01T17:28:50.123" v="85" actId="47"/>
        <pc:sldMkLst>
          <pc:docMk/>
          <pc:sldMk cId="2309092441" sldId="720"/>
        </pc:sldMkLst>
      </pc:sldChg>
      <pc:sldChg chg="del">
        <pc:chgData name="Έλια Αποστολοπούλου" userId="55324f8b-f5ef-49c9-8ce3-afc1f275c581" providerId="ADAL" clId="{D054BEF4-B56E-4714-BE58-DEB404E73EBA}" dt="2024-12-01T17:28:39.865" v="83" actId="47"/>
        <pc:sldMkLst>
          <pc:docMk/>
          <pc:sldMk cId="1614741385" sldId="721"/>
        </pc:sldMkLst>
      </pc:sldChg>
      <pc:sldChg chg="del">
        <pc:chgData name="Έλια Αποστολοπούλου" userId="55324f8b-f5ef-49c9-8ce3-afc1f275c581" providerId="ADAL" clId="{D054BEF4-B56E-4714-BE58-DEB404E73EBA}" dt="2024-12-01T17:28:39.865" v="83" actId="47"/>
        <pc:sldMkLst>
          <pc:docMk/>
          <pc:sldMk cId="1354887018" sldId="722"/>
        </pc:sldMkLst>
      </pc:sldChg>
      <pc:sldChg chg="del">
        <pc:chgData name="Έλια Αποστολοπούλου" userId="55324f8b-f5ef-49c9-8ce3-afc1f275c581" providerId="ADAL" clId="{D054BEF4-B56E-4714-BE58-DEB404E73EBA}" dt="2024-12-01T17:30:25.935" v="88" actId="47"/>
        <pc:sldMkLst>
          <pc:docMk/>
          <pc:sldMk cId="286045938" sldId="723"/>
        </pc:sldMkLst>
      </pc:sldChg>
      <pc:sldChg chg="del">
        <pc:chgData name="Έλια Αποστολοπούλου" userId="55324f8b-f5ef-49c9-8ce3-afc1f275c581" providerId="ADAL" clId="{D054BEF4-B56E-4714-BE58-DEB404E73EBA}" dt="2024-12-01T17:28:45.222" v="84" actId="47"/>
        <pc:sldMkLst>
          <pc:docMk/>
          <pc:sldMk cId="360323214" sldId="724"/>
        </pc:sldMkLst>
      </pc:sldChg>
      <pc:sldChg chg="del">
        <pc:chgData name="Έλια Αποστολοπούλου" userId="55324f8b-f5ef-49c9-8ce3-afc1f275c581" providerId="ADAL" clId="{D054BEF4-B56E-4714-BE58-DEB404E73EBA}" dt="2024-12-01T17:28:50.123" v="85" actId="47"/>
        <pc:sldMkLst>
          <pc:docMk/>
          <pc:sldMk cId="2233476073" sldId="725"/>
        </pc:sldMkLst>
      </pc:sldChg>
      <pc:sldChg chg="modSp mod">
        <pc:chgData name="Έλια Αποστολοπούλου" userId="55324f8b-f5ef-49c9-8ce3-afc1f275c581" providerId="ADAL" clId="{D054BEF4-B56E-4714-BE58-DEB404E73EBA}" dt="2024-12-01T17:31:07.007" v="96" actId="6549"/>
        <pc:sldMkLst>
          <pc:docMk/>
          <pc:sldMk cId="3222118343" sldId="725"/>
        </pc:sldMkLst>
      </pc:sldChg>
      <pc:sldChg chg="modSp mod">
        <pc:chgData name="Έλια Αποστολοπούλου" userId="55324f8b-f5ef-49c9-8ce3-afc1f275c581" providerId="ADAL" clId="{D054BEF4-B56E-4714-BE58-DEB404E73EBA}" dt="2024-12-01T18:00:07.958" v="99" actId="6549"/>
        <pc:sldMkLst>
          <pc:docMk/>
          <pc:sldMk cId="1868528673" sldId="726"/>
        </pc:sldMkLst>
      </pc:sldChg>
      <pc:sldChg chg="del">
        <pc:chgData name="Έλια Αποστολοπούλου" userId="55324f8b-f5ef-49c9-8ce3-afc1f275c581" providerId="ADAL" clId="{D054BEF4-B56E-4714-BE58-DEB404E73EBA}" dt="2024-12-01T17:28:50.123" v="85" actId="47"/>
        <pc:sldMkLst>
          <pc:docMk/>
          <pc:sldMk cId="2254335501" sldId="726"/>
        </pc:sldMkLst>
      </pc:sldChg>
      <pc:sldChg chg="del">
        <pc:chgData name="Έλια Αποστολοπούλου" userId="55324f8b-f5ef-49c9-8ce3-afc1f275c581" providerId="ADAL" clId="{D054BEF4-B56E-4714-BE58-DEB404E73EBA}" dt="2024-12-01T17:28:45.222" v="84" actId="47"/>
        <pc:sldMkLst>
          <pc:docMk/>
          <pc:sldMk cId="1960364280" sldId="727"/>
        </pc:sldMkLst>
      </pc:sldChg>
      <pc:sldChg chg="modSp mod">
        <pc:chgData name="Έλια Αποστολοπούλου" userId="55324f8b-f5ef-49c9-8ce3-afc1f275c581" providerId="ADAL" clId="{D054BEF4-B56E-4714-BE58-DEB404E73EBA}" dt="2024-12-01T17:31:15.727" v="97" actId="20577"/>
        <pc:sldMkLst>
          <pc:docMk/>
          <pc:sldMk cId="3538002215" sldId="727"/>
        </pc:sldMkLst>
      </pc:sldChg>
      <pc:sldChg chg="del">
        <pc:chgData name="Έλια Αποστολοπούλου" userId="55324f8b-f5ef-49c9-8ce3-afc1f275c581" providerId="ADAL" clId="{D054BEF4-B56E-4714-BE58-DEB404E73EBA}" dt="2024-12-01T17:31:31.955" v="98" actId="47"/>
        <pc:sldMkLst>
          <pc:docMk/>
          <pc:sldMk cId="1484549047" sldId="728"/>
        </pc:sldMkLst>
      </pc:sldChg>
      <pc:sldChg chg="modSp mod">
        <pc:chgData name="Έλια Αποστολοπούλου" userId="55324f8b-f5ef-49c9-8ce3-afc1f275c581" providerId="ADAL" clId="{D054BEF4-B56E-4714-BE58-DEB404E73EBA}" dt="2024-12-02T03:57:57.732" v="166" actId="400"/>
        <pc:sldMkLst>
          <pc:docMk/>
          <pc:sldMk cId="2570575102" sldId="728"/>
        </pc:sldMkLst>
      </pc:sldChg>
      <pc:sldChg chg="del">
        <pc:chgData name="Έλια Αποστολοπούλου" userId="55324f8b-f5ef-49c9-8ce3-afc1f275c581" providerId="ADAL" clId="{D054BEF4-B56E-4714-BE58-DEB404E73EBA}" dt="2024-12-01T17:27:27.742" v="70" actId="47"/>
        <pc:sldMkLst>
          <pc:docMk/>
          <pc:sldMk cId="1386574650" sldId="730"/>
        </pc:sldMkLst>
      </pc:sldChg>
      <pc:sldChg chg="modSp del mod">
        <pc:chgData name="Έλια Αποστολοπούλου" userId="55324f8b-f5ef-49c9-8ce3-afc1f275c581" providerId="ADAL" clId="{D054BEF4-B56E-4714-BE58-DEB404E73EBA}" dt="2024-12-01T18:00:14.965" v="100" actId="20577"/>
        <pc:sldMkLst>
          <pc:docMk/>
          <pc:sldMk cId="2560343970" sldId="731"/>
        </pc:sldMkLst>
      </pc:sldChg>
      <pc:sldChg chg="del">
        <pc:chgData name="Έλια Αποστολοπούλου" userId="55324f8b-f5ef-49c9-8ce3-afc1f275c581" providerId="ADAL" clId="{D054BEF4-B56E-4714-BE58-DEB404E73EBA}" dt="2024-12-01T17:27:22.468" v="69" actId="47"/>
        <pc:sldMkLst>
          <pc:docMk/>
          <pc:sldMk cId="3657125787" sldId="732"/>
        </pc:sldMkLst>
      </pc:sldChg>
      <pc:sldChg chg="del">
        <pc:chgData name="Έλια Αποστολοπούλου" userId="55324f8b-f5ef-49c9-8ce3-afc1f275c581" providerId="ADAL" clId="{D054BEF4-B56E-4714-BE58-DEB404E73EBA}" dt="2024-12-01T17:28:22.887" v="80" actId="47"/>
        <pc:sldMkLst>
          <pc:docMk/>
          <pc:sldMk cId="0" sldId="733"/>
        </pc:sldMkLst>
      </pc:sldChg>
      <pc:sldChg chg="del">
        <pc:chgData name="Έλια Αποστολοπούλου" userId="55324f8b-f5ef-49c9-8ce3-afc1f275c581" providerId="ADAL" clId="{D054BEF4-B56E-4714-BE58-DEB404E73EBA}" dt="2024-12-01T18:00:59.817" v="103" actId="47"/>
        <pc:sldMkLst>
          <pc:docMk/>
          <pc:sldMk cId="1798316885" sldId="735"/>
        </pc:sldMkLst>
      </pc:sldChg>
      <pc:sldChg chg="del">
        <pc:chgData name="Έλια Αποστολοπούλου" userId="55324f8b-f5ef-49c9-8ce3-afc1f275c581" providerId="ADAL" clId="{D054BEF4-B56E-4714-BE58-DEB404E73EBA}" dt="2024-12-01T18:01:02.099" v="104" actId="47"/>
        <pc:sldMkLst>
          <pc:docMk/>
          <pc:sldMk cId="3353246363" sldId="738"/>
        </pc:sldMkLst>
      </pc:sldChg>
      <pc:sldChg chg="modSp del mod">
        <pc:chgData name="Έλια Αποστολοπούλου" userId="55324f8b-f5ef-49c9-8ce3-afc1f275c581" providerId="ADAL" clId="{D054BEF4-B56E-4714-BE58-DEB404E73EBA}" dt="2024-12-01T18:00:26.589" v="101" actId="6549"/>
        <pc:sldMkLst>
          <pc:docMk/>
          <pc:sldMk cId="723782749" sldId="739"/>
        </pc:sldMkLst>
      </pc:sldChg>
      <pc:sldChg chg="modSp del mod">
        <pc:chgData name="Έλια Αποστολοπούλου" userId="55324f8b-f5ef-49c9-8ce3-afc1f275c581" providerId="ADAL" clId="{D054BEF4-B56E-4714-BE58-DEB404E73EBA}" dt="2024-12-01T18:00:34.778" v="102" actId="6549"/>
        <pc:sldMkLst>
          <pc:docMk/>
          <pc:sldMk cId="3651138445" sldId="740"/>
        </pc:sldMkLst>
      </pc:sldChg>
      <pc:sldChg chg="del">
        <pc:chgData name="Έλια Αποστολοπούλου" userId="55324f8b-f5ef-49c9-8ce3-afc1f275c581" providerId="ADAL" clId="{D054BEF4-B56E-4714-BE58-DEB404E73EBA}" dt="2024-12-01T17:25:40.442" v="66" actId="47"/>
        <pc:sldMkLst>
          <pc:docMk/>
          <pc:sldMk cId="505404306" sldId="741"/>
        </pc:sldMkLst>
      </pc:sldChg>
      <pc:sldChg chg="del">
        <pc:chgData name="Έλια Αποστολοπούλου" userId="55324f8b-f5ef-49c9-8ce3-afc1f275c581" providerId="ADAL" clId="{D054BEF4-B56E-4714-BE58-DEB404E73EBA}" dt="2024-12-01T17:27:27.742" v="70" actId="47"/>
        <pc:sldMkLst>
          <pc:docMk/>
          <pc:sldMk cId="3297499787" sldId="742"/>
        </pc:sldMkLst>
      </pc:sldChg>
      <pc:sldChg chg="del">
        <pc:chgData name="Έλια Αποστολοπούλου" userId="55324f8b-f5ef-49c9-8ce3-afc1f275c581" providerId="ADAL" clId="{D054BEF4-B56E-4714-BE58-DEB404E73EBA}" dt="2024-12-01T17:28:22.887" v="80" actId="47"/>
        <pc:sldMkLst>
          <pc:docMk/>
          <pc:sldMk cId="0" sldId="744"/>
        </pc:sldMkLst>
      </pc:sldChg>
      <pc:sldChg chg="del">
        <pc:chgData name="Έλια Αποστολοπούλου" userId="55324f8b-f5ef-49c9-8ce3-afc1f275c581" providerId="ADAL" clId="{D054BEF4-B56E-4714-BE58-DEB404E73EBA}" dt="2024-12-01T17:25:46.233" v="68" actId="47"/>
        <pc:sldMkLst>
          <pc:docMk/>
          <pc:sldMk cId="3605636739" sldId="748"/>
        </pc:sldMkLst>
      </pc:sldChg>
      <pc:sldChg chg="del">
        <pc:chgData name="Έλια Αποστολοπούλου" userId="55324f8b-f5ef-49c9-8ce3-afc1f275c581" providerId="ADAL" clId="{D054BEF4-B56E-4714-BE58-DEB404E73EBA}" dt="2024-12-01T17:30:17.918" v="87" actId="47"/>
        <pc:sldMkLst>
          <pc:docMk/>
          <pc:sldMk cId="1677007666" sldId="749"/>
        </pc:sldMkLst>
      </pc:sldChg>
      <pc:sldChg chg="del">
        <pc:chgData name="Έλια Αποστολοπούλου" userId="55324f8b-f5ef-49c9-8ce3-afc1f275c581" providerId="ADAL" clId="{D054BEF4-B56E-4714-BE58-DEB404E73EBA}" dt="2024-12-01T17:25:46.233" v="68" actId="47"/>
        <pc:sldMkLst>
          <pc:docMk/>
          <pc:sldMk cId="839790244" sldId="750"/>
        </pc:sldMkLst>
      </pc:sldChg>
      <pc:sldChg chg="del">
        <pc:chgData name="Έλια Αποστολοπούλου" userId="55324f8b-f5ef-49c9-8ce3-afc1f275c581" providerId="ADAL" clId="{D054BEF4-B56E-4714-BE58-DEB404E73EBA}" dt="2024-12-01T17:27:33.525" v="71" actId="47"/>
        <pc:sldMkLst>
          <pc:docMk/>
          <pc:sldMk cId="4134159822" sldId="751"/>
        </pc:sldMkLst>
      </pc:sldChg>
      <pc:sldChg chg="del">
        <pc:chgData name="Έλια Αποστολοπούλου" userId="55324f8b-f5ef-49c9-8ce3-afc1f275c581" providerId="ADAL" clId="{D054BEF4-B56E-4714-BE58-DEB404E73EBA}" dt="2024-12-01T17:30:11.439" v="86" actId="47"/>
        <pc:sldMkLst>
          <pc:docMk/>
          <pc:sldMk cId="886800463" sldId="752"/>
        </pc:sldMkLst>
      </pc:sldChg>
      <pc:sldChg chg="del">
        <pc:chgData name="Έλια Αποστολοπούλου" userId="55324f8b-f5ef-49c9-8ce3-afc1f275c581" providerId="ADAL" clId="{D054BEF4-B56E-4714-BE58-DEB404E73EBA}" dt="2024-12-01T17:28:22.887" v="80" actId="47"/>
        <pc:sldMkLst>
          <pc:docMk/>
          <pc:sldMk cId="0" sldId="753"/>
        </pc:sldMkLst>
      </pc:sldChg>
      <pc:sldChg chg="del">
        <pc:chgData name="Έλια Αποστολοπούλου" userId="55324f8b-f5ef-49c9-8ce3-afc1f275c581" providerId="ADAL" clId="{D054BEF4-B56E-4714-BE58-DEB404E73EBA}" dt="2024-12-01T17:28:22.887" v="80" actId="47"/>
        <pc:sldMkLst>
          <pc:docMk/>
          <pc:sldMk cId="0" sldId="758"/>
        </pc:sldMkLst>
      </pc:sldChg>
      <pc:sldChg chg="addSp delSp modSp mod">
        <pc:chgData name="Έλια Αποστολοπούλου" userId="55324f8b-f5ef-49c9-8ce3-afc1f275c581" providerId="ADAL" clId="{D054BEF4-B56E-4714-BE58-DEB404E73EBA}" dt="2024-12-01T17:24:22.450" v="32" actId="208"/>
        <pc:sldMkLst>
          <pc:docMk/>
          <pc:sldMk cId="2939794348" sldId="814"/>
        </pc:sldMkLst>
      </pc:sldChg>
      <pc:sldChg chg="del">
        <pc:chgData name="Έλια Αποστολοπούλου" userId="55324f8b-f5ef-49c9-8ce3-afc1f275c581" providerId="ADAL" clId="{D054BEF4-B56E-4714-BE58-DEB404E73EBA}" dt="2024-12-01T17:28:28.263" v="81" actId="47"/>
        <pc:sldMkLst>
          <pc:docMk/>
          <pc:sldMk cId="3109921902" sldId="874"/>
        </pc:sldMkLst>
      </pc:sldChg>
      <pc:sldChg chg="del">
        <pc:chgData name="Έλια Αποστολοπούλου" userId="55324f8b-f5ef-49c9-8ce3-afc1f275c581" providerId="ADAL" clId="{D054BEF4-B56E-4714-BE58-DEB404E73EBA}" dt="2024-12-01T17:28:28.263" v="81" actId="47"/>
        <pc:sldMkLst>
          <pc:docMk/>
          <pc:sldMk cId="1695432749" sldId="875"/>
        </pc:sldMkLst>
      </pc:sldChg>
      <pc:sldChg chg="del">
        <pc:chgData name="Έλια Αποστολοπούλου" userId="55324f8b-f5ef-49c9-8ce3-afc1f275c581" providerId="ADAL" clId="{D054BEF4-B56E-4714-BE58-DEB404E73EBA}" dt="2024-12-01T17:28:28.263" v="81" actId="47"/>
        <pc:sldMkLst>
          <pc:docMk/>
          <pc:sldMk cId="0" sldId="876"/>
        </pc:sldMkLst>
      </pc:sldChg>
      <pc:sldChg chg="del">
        <pc:chgData name="Έλια Αποστολοπούλου" userId="55324f8b-f5ef-49c9-8ce3-afc1f275c581" providerId="ADAL" clId="{D054BEF4-B56E-4714-BE58-DEB404E73EBA}" dt="2024-12-01T17:28:28.263" v="81" actId="47"/>
        <pc:sldMkLst>
          <pc:docMk/>
          <pc:sldMk cId="2383684637" sldId="877"/>
        </pc:sldMkLst>
      </pc:sldChg>
      <pc:sldChg chg="del">
        <pc:chgData name="Έλια Αποστολοπούλου" userId="55324f8b-f5ef-49c9-8ce3-afc1f275c581" providerId="ADAL" clId="{D054BEF4-B56E-4714-BE58-DEB404E73EBA}" dt="2024-12-01T17:28:33.422" v="82" actId="47"/>
        <pc:sldMkLst>
          <pc:docMk/>
          <pc:sldMk cId="2352202515" sldId="879"/>
        </pc:sldMkLst>
      </pc:sldChg>
      <pc:sldChg chg="del">
        <pc:chgData name="Έλια Αποστολοπούλου" userId="55324f8b-f5ef-49c9-8ce3-afc1f275c581" providerId="ADAL" clId="{D054BEF4-B56E-4714-BE58-DEB404E73EBA}" dt="2024-12-01T17:28:33.422" v="82" actId="47"/>
        <pc:sldMkLst>
          <pc:docMk/>
          <pc:sldMk cId="3287974801" sldId="886"/>
        </pc:sldMkLst>
      </pc:sldChg>
      <pc:sldChg chg="modSp del mod">
        <pc:chgData name="Έλια Αποστολοπούλου" userId="55324f8b-f5ef-49c9-8ce3-afc1f275c581" providerId="ADAL" clId="{D054BEF4-B56E-4714-BE58-DEB404E73EBA}" dt="2024-12-01T18:12:23.152" v="119" actId="20577"/>
        <pc:sldMkLst>
          <pc:docMk/>
          <pc:sldMk cId="631709225" sldId="888"/>
        </pc:sldMkLst>
      </pc:sldChg>
      <pc:sldChg chg="del">
        <pc:chgData name="Έλια Αποστολοπούλου" userId="55324f8b-f5ef-49c9-8ce3-afc1f275c581" providerId="ADAL" clId="{D054BEF4-B56E-4714-BE58-DEB404E73EBA}" dt="2024-12-01T17:28:33.422" v="82" actId="47"/>
        <pc:sldMkLst>
          <pc:docMk/>
          <pc:sldMk cId="2506421167" sldId="889"/>
        </pc:sldMkLst>
      </pc:sldChg>
      <pc:sldChg chg="modSp mod">
        <pc:chgData name="Έλια Αποστολοπούλου" userId="55324f8b-f5ef-49c9-8ce3-afc1f275c581" providerId="ADAL" clId="{D054BEF4-B56E-4714-BE58-DEB404E73EBA}" dt="2024-12-01T17:25:17.720" v="48" actId="6549"/>
        <pc:sldMkLst>
          <pc:docMk/>
          <pc:sldMk cId="2592120056" sldId="893"/>
        </pc:sldMkLst>
      </pc:sldChg>
      <pc:sldChg chg="del">
        <pc:chgData name="Έλια Αποστολοπούλου" userId="55324f8b-f5ef-49c9-8ce3-afc1f275c581" providerId="ADAL" clId="{D054BEF4-B56E-4714-BE58-DEB404E73EBA}" dt="2024-12-01T17:24:34.626" v="33" actId="47"/>
        <pc:sldMkLst>
          <pc:docMk/>
          <pc:sldMk cId="1398203338" sldId="1204"/>
        </pc:sldMkLst>
      </pc:sldChg>
      <pc:sldChg chg="del">
        <pc:chgData name="Έλια Αποστολοπούλου" userId="55324f8b-f5ef-49c9-8ce3-afc1f275c581" providerId="ADAL" clId="{D054BEF4-B56E-4714-BE58-DEB404E73EBA}" dt="2024-12-01T17:25:25.068" v="51" actId="47"/>
        <pc:sldMkLst>
          <pc:docMk/>
          <pc:sldMk cId="0" sldId="1205"/>
        </pc:sldMkLst>
      </pc:sldChg>
      <pc:sldChg chg="del">
        <pc:chgData name="Έλια Αποστολοπούλου" userId="55324f8b-f5ef-49c9-8ce3-afc1f275c581" providerId="ADAL" clId="{D054BEF4-B56E-4714-BE58-DEB404E73EBA}" dt="2024-12-01T17:28:13.554" v="78" actId="47"/>
        <pc:sldMkLst>
          <pc:docMk/>
          <pc:sldMk cId="3655565104" sldId="1207"/>
        </pc:sldMkLst>
      </pc:sldChg>
      <pc:sldChg chg="del">
        <pc:chgData name="Έλια Αποστολοπούλου" userId="55324f8b-f5ef-49c9-8ce3-afc1f275c581" providerId="ADAL" clId="{D054BEF4-B56E-4714-BE58-DEB404E73EBA}" dt="2024-12-01T17:25:29.016" v="58" actId="47"/>
        <pc:sldMkLst>
          <pc:docMk/>
          <pc:sldMk cId="0" sldId="1208"/>
        </pc:sldMkLst>
      </pc:sldChg>
      <pc:sldChg chg="del">
        <pc:chgData name="Έλια Αποστολοπούλου" userId="55324f8b-f5ef-49c9-8ce3-afc1f275c581" providerId="ADAL" clId="{D054BEF4-B56E-4714-BE58-DEB404E73EBA}" dt="2024-12-01T17:27:54.835" v="74" actId="47"/>
        <pc:sldMkLst>
          <pc:docMk/>
          <pc:sldMk cId="1112151200" sldId="1209"/>
        </pc:sldMkLst>
      </pc:sldChg>
      <pc:sldChg chg="del">
        <pc:chgData name="Έλια Αποστολοπούλου" userId="55324f8b-f5ef-49c9-8ce3-afc1f275c581" providerId="ADAL" clId="{D054BEF4-B56E-4714-BE58-DEB404E73EBA}" dt="2024-12-01T17:27:54.835" v="74" actId="47"/>
        <pc:sldMkLst>
          <pc:docMk/>
          <pc:sldMk cId="0" sldId="1210"/>
        </pc:sldMkLst>
      </pc:sldChg>
      <pc:sldChg chg="del">
        <pc:chgData name="Έλια Αποστολοπούλου" userId="55324f8b-f5ef-49c9-8ce3-afc1f275c581" providerId="ADAL" clId="{D054BEF4-B56E-4714-BE58-DEB404E73EBA}" dt="2024-12-01T17:27:54.835" v="74" actId="47"/>
        <pc:sldMkLst>
          <pc:docMk/>
          <pc:sldMk cId="0" sldId="1211"/>
        </pc:sldMkLst>
      </pc:sldChg>
      <pc:sldChg chg="del">
        <pc:chgData name="Έλια Αποστολοπούλου" userId="55324f8b-f5ef-49c9-8ce3-afc1f275c581" providerId="ADAL" clId="{D054BEF4-B56E-4714-BE58-DEB404E73EBA}" dt="2024-12-01T17:27:56.850" v="75" actId="47"/>
        <pc:sldMkLst>
          <pc:docMk/>
          <pc:sldMk cId="0" sldId="1212"/>
        </pc:sldMkLst>
      </pc:sldChg>
      <pc:sldChg chg="del">
        <pc:chgData name="Έλια Αποστολοπούλου" userId="55324f8b-f5ef-49c9-8ce3-afc1f275c581" providerId="ADAL" clId="{D054BEF4-B56E-4714-BE58-DEB404E73EBA}" dt="2024-12-01T17:28:01.830" v="76" actId="47"/>
        <pc:sldMkLst>
          <pc:docMk/>
          <pc:sldMk cId="2398581608" sldId="1217"/>
        </pc:sldMkLst>
      </pc:sldChg>
      <pc:sldChg chg="del">
        <pc:chgData name="Έλια Αποστολοπούλου" userId="55324f8b-f5ef-49c9-8ce3-afc1f275c581" providerId="ADAL" clId="{D054BEF4-B56E-4714-BE58-DEB404E73EBA}" dt="2024-12-01T17:28:01.830" v="76" actId="47"/>
        <pc:sldMkLst>
          <pc:docMk/>
          <pc:sldMk cId="3841718535" sldId="1218"/>
        </pc:sldMkLst>
      </pc:sldChg>
      <pc:sldChg chg="del">
        <pc:chgData name="Έλια Αποστολοπούλου" userId="55324f8b-f5ef-49c9-8ce3-afc1f275c581" providerId="ADAL" clId="{D054BEF4-B56E-4714-BE58-DEB404E73EBA}" dt="2024-12-01T17:28:01.830" v="76" actId="47"/>
        <pc:sldMkLst>
          <pc:docMk/>
          <pc:sldMk cId="1799021030" sldId="1219"/>
        </pc:sldMkLst>
      </pc:sldChg>
      <pc:sldChg chg="del">
        <pc:chgData name="Έλια Αποστολοπούλου" userId="55324f8b-f5ef-49c9-8ce3-afc1f275c581" providerId="ADAL" clId="{D054BEF4-B56E-4714-BE58-DEB404E73EBA}" dt="2024-12-01T17:28:28.263" v="81" actId="47"/>
        <pc:sldMkLst>
          <pc:docMk/>
          <pc:sldMk cId="0" sldId="1220"/>
        </pc:sldMkLst>
      </pc:sldChg>
      <pc:sldChg chg="del">
        <pc:chgData name="Έλια Αποστολοπούλου" userId="55324f8b-f5ef-49c9-8ce3-afc1f275c581" providerId="ADAL" clId="{D054BEF4-B56E-4714-BE58-DEB404E73EBA}" dt="2024-12-01T17:28:22.887" v="80" actId="47"/>
        <pc:sldMkLst>
          <pc:docMk/>
          <pc:sldMk cId="0" sldId="1221"/>
        </pc:sldMkLst>
      </pc:sldChg>
      <pc:sldChg chg="del">
        <pc:chgData name="Έλια Αποστολοπούλου" userId="55324f8b-f5ef-49c9-8ce3-afc1f275c581" providerId="ADAL" clId="{D054BEF4-B56E-4714-BE58-DEB404E73EBA}" dt="2024-12-01T17:28:22.887" v="80" actId="47"/>
        <pc:sldMkLst>
          <pc:docMk/>
          <pc:sldMk cId="0" sldId="1222"/>
        </pc:sldMkLst>
      </pc:sldChg>
      <pc:sldChg chg="del">
        <pc:chgData name="Έλια Αποστολοπούλου" userId="55324f8b-f5ef-49c9-8ce3-afc1f275c581" providerId="ADAL" clId="{D054BEF4-B56E-4714-BE58-DEB404E73EBA}" dt="2024-12-01T17:28:39.865" v="83" actId="47"/>
        <pc:sldMkLst>
          <pc:docMk/>
          <pc:sldMk cId="0" sldId="1223"/>
        </pc:sldMkLst>
      </pc:sldChg>
      <pc:sldChg chg="del">
        <pc:chgData name="Έλια Αποστολοπούλου" userId="55324f8b-f5ef-49c9-8ce3-afc1f275c581" providerId="ADAL" clId="{D054BEF4-B56E-4714-BE58-DEB404E73EBA}" dt="2024-12-01T17:28:39.865" v="83" actId="47"/>
        <pc:sldMkLst>
          <pc:docMk/>
          <pc:sldMk cId="3788753369" sldId="1224"/>
        </pc:sldMkLst>
      </pc:sldChg>
      <pc:sldChg chg="del">
        <pc:chgData name="Έλια Αποστολοπούλου" userId="55324f8b-f5ef-49c9-8ce3-afc1f275c581" providerId="ADAL" clId="{D054BEF4-B56E-4714-BE58-DEB404E73EBA}" dt="2024-12-01T17:28:39.865" v="83" actId="47"/>
        <pc:sldMkLst>
          <pc:docMk/>
          <pc:sldMk cId="619568962" sldId="1225"/>
        </pc:sldMkLst>
      </pc:sldChg>
      <pc:sldChg chg="del">
        <pc:chgData name="Έλια Αποστολοπούλου" userId="55324f8b-f5ef-49c9-8ce3-afc1f275c581" providerId="ADAL" clId="{D054BEF4-B56E-4714-BE58-DEB404E73EBA}" dt="2024-12-01T17:28:45.222" v="84" actId="47"/>
        <pc:sldMkLst>
          <pc:docMk/>
          <pc:sldMk cId="2494159377" sldId="1226"/>
        </pc:sldMkLst>
      </pc:sldChg>
      <pc:sldChg chg="del">
        <pc:chgData name="Έλια Αποστολοπούλου" userId="55324f8b-f5ef-49c9-8ce3-afc1f275c581" providerId="ADAL" clId="{D054BEF4-B56E-4714-BE58-DEB404E73EBA}" dt="2024-12-01T17:28:45.222" v="84" actId="47"/>
        <pc:sldMkLst>
          <pc:docMk/>
          <pc:sldMk cId="1450997783" sldId="1227"/>
        </pc:sldMkLst>
      </pc:sldChg>
      <pc:sldChg chg="del">
        <pc:chgData name="Έλια Αποστολοπούλου" userId="55324f8b-f5ef-49c9-8ce3-afc1f275c581" providerId="ADAL" clId="{D054BEF4-B56E-4714-BE58-DEB404E73EBA}" dt="2024-12-01T17:28:45.222" v="84" actId="47"/>
        <pc:sldMkLst>
          <pc:docMk/>
          <pc:sldMk cId="78232451" sldId="1228"/>
        </pc:sldMkLst>
      </pc:sldChg>
      <pc:sldChg chg="del">
        <pc:chgData name="Έλια Αποστολοπούλου" userId="55324f8b-f5ef-49c9-8ce3-afc1f275c581" providerId="ADAL" clId="{D054BEF4-B56E-4714-BE58-DEB404E73EBA}" dt="2024-12-01T17:28:45.222" v="84" actId="47"/>
        <pc:sldMkLst>
          <pc:docMk/>
          <pc:sldMk cId="4028653368" sldId="1229"/>
        </pc:sldMkLst>
      </pc:sldChg>
      <pc:sldChg chg="del">
        <pc:chgData name="Έλια Αποστολοπούλου" userId="55324f8b-f5ef-49c9-8ce3-afc1f275c581" providerId="ADAL" clId="{D054BEF4-B56E-4714-BE58-DEB404E73EBA}" dt="2024-12-01T17:25:46.233" v="68" actId="47"/>
        <pc:sldMkLst>
          <pc:docMk/>
          <pc:sldMk cId="1126714600" sldId="1234"/>
        </pc:sldMkLst>
      </pc:sldChg>
      <pc:sldChg chg="del">
        <pc:chgData name="Έλια Αποστολοπούλου" userId="55324f8b-f5ef-49c9-8ce3-afc1f275c581" providerId="ADAL" clId="{D054BEF4-B56E-4714-BE58-DEB404E73EBA}" dt="2024-12-01T17:27:22.468" v="69" actId="47"/>
        <pc:sldMkLst>
          <pc:docMk/>
          <pc:sldMk cId="3451922620" sldId="1235"/>
        </pc:sldMkLst>
      </pc:sldChg>
      <pc:sldChg chg="del">
        <pc:chgData name="Έλια Αποστολοπούλου" userId="55324f8b-f5ef-49c9-8ce3-afc1f275c581" providerId="ADAL" clId="{D054BEF4-B56E-4714-BE58-DEB404E73EBA}" dt="2024-12-01T17:27:22.468" v="69" actId="47"/>
        <pc:sldMkLst>
          <pc:docMk/>
          <pc:sldMk cId="2394067039" sldId="1236"/>
        </pc:sldMkLst>
      </pc:sldChg>
      <pc:sldChg chg="del">
        <pc:chgData name="Έλια Αποστολοπούλου" userId="55324f8b-f5ef-49c9-8ce3-afc1f275c581" providerId="ADAL" clId="{D054BEF4-B56E-4714-BE58-DEB404E73EBA}" dt="2024-12-01T17:27:22.468" v="69" actId="47"/>
        <pc:sldMkLst>
          <pc:docMk/>
          <pc:sldMk cId="1842744665" sldId="1237"/>
        </pc:sldMkLst>
      </pc:sldChg>
      <pc:sldChg chg="del">
        <pc:chgData name="Έλια Αποστολοπούλου" userId="55324f8b-f5ef-49c9-8ce3-afc1f275c581" providerId="ADAL" clId="{D054BEF4-B56E-4714-BE58-DEB404E73EBA}" dt="2024-12-01T17:27:22.468" v="69" actId="47"/>
        <pc:sldMkLst>
          <pc:docMk/>
          <pc:sldMk cId="2543739291" sldId="1238"/>
        </pc:sldMkLst>
      </pc:sldChg>
      <pc:sldChg chg="del">
        <pc:chgData name="Έλια Αποστολοπούλου" userId="55324f8b-f5ef-49c9-8ce3-afc1f275c581" providerId="ADAL" clId="{D054BEF4-B56E-4714-BE58-DEB404E73EBA}" dt="2024-12-01T17:27:22.468" v="69" actId="47"/>
        <pc:sldMkLst>
          <pc:docMk/>
          <pc:sldMk cId="3222118343" sldId="1239"/>
        </pc:sldMkLst>
      </pc:sldChg>
      <pc:sldChg chg="del">
        <pc:chgData name="Έλια Αποστολοπούλου" userId="55324f8b-f5ef-49c9-8ce3-afc1f275c581" providerId="ADAL" clId="{D054BEF4-B56E-4714-BE58-DEB404E73EBA}" dt="2024-12-01T17:27:27.742" v="70" actId="47"/>
        <pc:sldMkLst>
          <pc:docMk/>
          <pc:sldMk cId="3538002215" sldId="1240"/>
        </pc:sldMkLst>
      </pc:sldChg>
      <pc:sldChg chg="del">
        <pc:chgData name="Έλια Αποστολοπούλου" userId="55324f8b-f5ef-49c9-8ce3-afc1f275c581" providerId="ADAL" clId="{D054BEF4-B56E-4714-BE58-DEB404E73EBA}" dt="2024-12-01T17:27:27.742" v="70" actId="47"/>
        <pc:sldMkLst>
          <pc:docMk/>
          <pc:sldMk cId="663855668" sldId="1241"/>
        </pc:sldMkLst>
      </pc:sldChg>
      <pc:sldChg chg="del">
        <pc:chgData name="Έλια Αποστολοπούλου" userId="55324f8b-f5ef-49c9-8ce3-afc1f275c581" providerId="ADAL" clId="{D054BEF4-B56E-4714-BE58-DEB404E73EBA}" dt="2024-12-01T17:27:27.742" v="70" actId="47"/>
        <pc:sldMkLst>
          <pc:docMk/>
          <pc:sldMk cId="1868528673" sldId="1242"/>
        </pc:sldMkLst>
      </pc:sldChg>
      <pc:sldChg chg="del">
        <pc:chgData name="Έλια Αποστολοπούλου" userId="55324f8b-f5ef-49c9-8ce3-afc1f275c581" providerId="ADAL" clId="{D054BEF4-B56E-4714-BE58-DEB404E73EBA}" dt="2024-12-01T17:27:36.345" v="72" actId="47"/>
        <pc:sldMkLst>
          <pc:docMk/>
          <pc:sldMk cId="794528319" sldId="1245"/>
        </pc:sldMkLst>
      </pc:sldChg>
      <pc:sldChg chg="del">
        <pc:chgData name="Έλια Αποστολοπούλου" userId="55324f8b-f5ef-49c9-8ce3-afc1f275c581" providerId="ADAL" clId="{D054BEF4-B56E-4714-BE58-DEB404E73EBA}" dt="2024-12-01T17:28:06.735" v="77" actId="47"/>
        <pc:sldMkLst>
          <pc:docMk/>
          <pc:sldMk cId="1519868083" sldId="1250"/>
        </pc:sldMkLst>
      </pc:sldChg>
      <pc:sldChg chg="del">
        <pc:chgData name="Έλια Αποστολοπούλου" userId="55324f8b-f5ef-49c9-8ce3-afc1f275c581" providerId="ADAL" clId="{D054BEF4-B56E-4714-BE58-DEB404E73EBA}" dt="2024-12-01T17:28:06.735" v="77" actId="47"/>
        <pc:sldMkLst>
          <pc:docMk/>
          <pc:sldMk cId="0" sldId="1251"/>
        </pc:sldMkLst>
      </pc:sldChg>
      <pc:sldChg chg="del">
        <pc:chgData name="Έλια Αποστολοπούλου" userId="55324f8b-f5ef-49c9-8ce3-afc1f275c581" providerId="ADAL" clId="{D054BEF4-B56E-4714-BE58-DEB404E73EBA}" dt="2024-12-01T17:28:06.735" v="77" actId="47"/>
        <pc:sldMkLst>
          <pc:docMk/>
          <pc:sldMk cId="891456831" sldId="1252"/>
        </pc:sldMkLst>
      </pc:sldChg>
      <pc:sldChg chg="modSp mod">
        <pc:chgData name="Έλια Αποστολοπούλου" userId="55324f8b-f5ef-49c9-8ce3-afc1f275c581" providerId="ADAL" clId="{D054BEF4-B56E-4714-BE58-DEB404E73EBA}" dt="2024-12-01T17:31:02.234" v="95" actId="6549"/>
        <pc:sldMkLst>
          <pc:docMk/>
          <pc:sldMk cId="2543739291" sldId="1254"/>
        </pc:sldMkLst>
      </pc:sldChg>
      <pc:sldChg chg="del">
        <pc:chgData name="Έλια Αποστολοπούλου" userId="55324f8b-f5ef-49c9-8ce3-afc1f275c581" providerId="ADAL" clId="{D054BEF4-B56E-4714-BE58-DEB404E73EBA}" dt="2024-12-01T18:01:51.228" v="107" actId="47"/>
        <pc:sldMkLst>
          <pc:docMk/>
          <pc:sldMk cId="1519868083" sldId="1256"/>
        </pc:sldMkLst>
      </pc:sldChg>
      <pc:sldChg chg="del">
        <pc:chgData name="Έλια Αποστολοπούλου" userId="55324f8b-f5ef-49c9-8ce3-afc1f275c581" providerId="ADAL" clId="{D054BEF4-B56E-4714-BE58-DEB404E73EBA}" dt="2024-12-01T18:01:53.711" v="109" actId="47"/>
        <pc:sldMkLst>
          <pc:docMk/>
          <pc:sldMk cId="891456831" sldId="1257"/>
        </pc:sldMkLst>
      </pc:sldChg>
      <pc:sldChg chg="modSp mod">
        <pc:chgData name="Έλια Αποστολοπούλου" userId="55324f8b-f5ef-49c9-8ce3-afc1f275c581" providerId="ADAL" clId="{D054BEF4-B56E-4714-BE58-DEB404E73EBA}" dt="2024-12-01T18:05:51.285" v="110" actId="6549"/>
        <pc:sldMkLst>
          <pc:docMk/>
          <pc:sldMk cId="1662459772" sldId="1257"/>
        </pc:sldMkLst>
      </pc:sldChg>
      <pc:sldChg chg="modSp mod">
        <pc:chgData name="Έλια Αποστολοπούλου" userId="55324f8b-f5ef-49c9-8ce3-afc1f275c581" providerId="ADAL" clId="{D054BEF4-B56E-4714-BE58-DEB404E73EBA}" dt="2024-12-01T18:06:01.079" v="111" actId="6549"/>
        <pc:sldMkLst>
          <pc:docMk/>
          <pc:sldMk cId="243950305" sldId="1258"/>
        </pc:sldMkLst>
      </pc:sldChg>
      <pc:sldChg chg="modSp mod">
        <pc:chgData name="Έλια Αποστολοπούλου" userId="55324f8b-f5ef-49c9-8ce3-afc1f275c581" providerId="ADAL" clId="{D054BEF4-B56E-4714-BE58-DEB404E73EBA}" dt="2024-12-01T18:10:57.981" v="113" actId="6549"/>
        <pc:sldMkLst>
          <pc:docMk/>
          <pc:sldMk cId="2398581608" sldId="1260"/>
        </pc:sldMkLst>
      </pc:sldChg>
      <pc:sldChg chg="modSp mod">
        <pc:chgData name="Έλια Αποστολοπούλου" userId="55324f8b-f5ef-49c9-8ce3-afc1f275c581" providerId="ADAL" clId="{D054BEF4-B56E-4714-BE58-DEB404E73EBA}" dt="2024-12-01T18:11:10.444" v="115" actId="20577"/>
        <pc:sldMkLst>
          <pc:docMk/>
          <pc:sldMk cId="1371070460" sldId="1262"/>
        </pc:sldMkLst>
      </pc:sldChg>
      <pc:sldChg chg="addSp modSp mod">
        <pc:chgData name="Έλια Αποστολοπούλου" userId="55324f8b-f5ef-49c9-8ce3-afc1f275c581" providerId="ADAL" clId="{D054BEF4-B56E-4714-BE58-DEB404E73EBA}" dt="2024-12-02T03:57:33.346" v="163" actId="1076"/>
        <pc:sldMkLst>
          <pc:docMk/>
          <pc:sldMk cId="0" sldId="1271"/>
        </pc:sldMkLst>
      </pc:sldChg>
      <pc:sldChg chg="delSp modSp del mod">
        <pc:chgData name="Έλια Αποστολοπούλου" userId="55324f8b-f5ef-49c9-8ce3-afc1f275c581" providerId="ADAL" clId="{D054BEF4-B56E-4714-BE58-DEB404E73EBA}" dt="2024-12-02T03:57:34.959" v="164" actId="47"/>
        <pc:sldMkLst>
          <pc:docMk/>
          <pc:sldMk cId="3788753369" sldId="1272"/>
        </pc:sldMkLst>
      </pc:sldChg>
      <pc:sldMasterChg chg="delSldLayout">
        <pc:chgData name="Έλια Αποστολοπούλου" userId="55324f8b-f5ef-49c9-8ce3-afc1f275c581" providerId="ADAL" clId="{D054BEF4-B56E-4714-BE58-DEB404E73EBA}" dt="2024-12-01T17:28:06.735" v="77" actId="47"/>
        <pc:sldMasterMkLst>
          <pc:docMk/>
          <pc:sldMasterMk cId="0" sldId="2147483648"/>
        </pc:sldMasterMkLst>
        <pc:sldLayoutChg chg="del">
          <pc:chgData name="Έλια Αποστολοπούλου" userId="55324f8b-f5ef-49c9-8ce3-afc1f275c581" providerId="ADAL" clId="{D054BEF4-B56E-4714-BE58-DEB404E73EBA}" dt="2024-12-01T17:28:06.735" v="77" actId="47"/>
          <pc:sldLayoutMkLst>
            <pc:docMk/>
            <pc:sldMasterMk cId="0" sldId="2147483648"/>
            <pc:sldLayoutMk cId="3090581705" sldId="2147484120"/>
          </pc:sldLayoutMkLst>
        </pc:sldLayoutChg>
      </pc:sldMasterChg>
      <pc:sldMasterChg chg="del delSldLayout">
        <pc:chgData name="Έλια Αποστολοπούλου" userId="55324f8b-f5ef-49c9-8ce3-afc1f275c581" providerId="ADAL" clId="{D054BEF4-B56E-4714-BE58-DEB404E73EBA}" dt="2024-12-01T17:28:50.123" v="85" actId="47"/>
        <pc:sldMasterMkLst>
          <pc:docMk/>
          <pc:sldMasterMk cId="1436891038" sldId="2147483720"/>
        </pc:sldMasterMkLst>
        <pc:sldLayoutChg chg="del">
          <pc:chgData name="Έλια Αποστολοπούλου" userId="55324f8b-f5ef-49c9-8ce3-afc1f275c581" providerId="ADAL" clId="{D054BEF4-B56E-4714-BE58-DEB404E73EBA}" dt="2024-12-01T17:28:50.123" v="85" actId="47"/>
          <pc:sldLayoutMkLst>
            <pc:docMk/>
            <pc:sldMasterMk cId="1436891038" sldId="2147483720"/>
            <pc:sldLayoutMk cId="1812766424" sldId="2147483721"/>
          </pc:sldLayoutMkLst>
        </pc:sldLayoutChg>
        <pc:sldLayoutChg chg="del">
          <pc:chgData name="Έλια Αποστολοπούλου" userId="55324f8b-f5ef-49c9-8ce3-afc1f275c581" providerId="ADAL" clId="{D054BEF4-B56E-4714-BE58-DEB404E73EBA}" dt="2024-12-01T17:28:50.123" v="85" actId="47"/>
          <pc:sldLayoutMkLst>
            <pc:docMk/>
            <pc:sldMasterMk cId="1436891038" sldId="2147483720"/>
            <pc:sldLayoutMk cId="1569667339" sldId="2147483722"/>
          </pc:sldLayoutMkLst>
        </pc:sldLayoutChg>
        <pc:sldLayoutChg chg="del">
          <pc:chgData name="Έλια Αποστολοπούλου" userId="55324f8b-f5ef-49c9-8ce3-afc1f275c581" providerId="ADAL" clId="{D054BEF4-B56E-4714-BE58-DEB404E73EBA}" dt="2024-12-01T17:28:50.123" v="85" actId="47"/>
          <pc:sldLayoutMkLst>
            <pc:docMk/>
            <pc:sldMasterMk cId="1436891038" sldId="2147483720"/>
            <pc:sldLayoutMk cId="16338175" sldId="2147483723"/>
          </pc:sldLayoutMkLst>
        </pc:sldLayoutChg>
        <pc:sldLayoutChg chg="del">
          <pc:chgData name="Έλια Αποστολοπούλου" userId="55324f8b-f5ef-49c9-8ce3-afc1f275c581" providerId="ADAL" clId="{D054BEF4-B56E-4714-BE58-DEB404E73EBA}" dt="2024-12-01T17:28:50.123" v="85" actId="47"/>
          <pc:sldLayoutMkLst>
            <pc:docMk/>
            <pc:sldMasterMk cId="1436891038" sldId="2147483720"/>
            <pc:sldLayoutMk cId="4015185994" sldId="2147483724"/>
          </pc:sldLayoutMkLst>
        </pc:sldLayoutChg>
        <pc:sldLayoutChg chg="del">
          <pc:chgData name="Έλια Αποστολοπούλου" userId="55324f8b-f5ef-49c9-8ce3-afc1f275c581" providerId="ADAL" clId="{D054BEF4-B56E-4714-BE58-DEB404E73EBA}" dt="2024-12-01T17:28:50.123" v="85" actId="47"/>
          <pc:sldLayoutMkLst>
            <pc:docMk/>
            <pc:sldMasterMk cId="1436891038" sldId="2147483720"/>
            <pc:sldLayoutMk cId="212707513" sldId="2147483725"/>
          </pc:sldLayoutMkLst>
        </pc:sldLayoutChg>
        <pc:sldLayoutChg chg="del">
          <pc:chgData name="Έλια Αποστολοπούλου" userId="55324f8b-f5ef-49c9-8ce3-afc1f275c581" providerId="ADAL" clId="{D054BEF4-B56E-4714-BE58-DEB404E73EBA}" dt="2024-12-01T17:28:50.123" v="85" actId="47"/>
          <pc:sldLayoutMkLst>
            <pc:docMk/>
            <pc:sldMasterMk cId="1436891038" sldId="2147483720"/>
            <pc:sldLayoutMk cId="3293959289" sldId="2147483726"/>
          </pc:sldLayoutMkLst>
        </pc:sldLayoutChg>
        <pc:sldLayoutChg chg="del">
          <pc:chgData name="Έλια Αποστολοπούλου" userId="55324f8b-f5ef-49c9-8ce3-afc1f275c581" providerId="ADAL" clId="{D054BEF4-B56E-4714-BE58-DEB404E73EBA}" dt="2024-12-01T17:28:50.123" v="85" actId="47"/>
          <pc:sldLayoutMkLst>
            <pc:docMk/>
            <pc:sldMasterMk cId="1436891038" sldId="2147483720"/>
            <pc:sldLayoutMk cId="2844645350" sldId="2147483727"/>
          </pc:sldLayoutMkLst>
        </pc:sldLayoutChg>
        <pc:sldLayoutChg chg="del">
          <pc:chgData name="Έλια Αποστολοπούλου" userId="55324f8b-f5ef-49c9-8ce3-afc1f275c581" providerId="ADAL" clId="{D054BEF4-B56E-4714-BE58-DEB404E73EBA}" dt="2024-12-01T17:28:50.123" v="85" actId="47"/>
          <pc:sldLayoutMkLst>
            <pc:docMk/>
            <pc:sldMasterMk cId="1436891038" sldId="2147483720"/>
            <pc:sldLayoutMk cId="3503656083" sldId="2147483728"/>
          </pc:sldLayoutMkLst>
        </pc:sldLayoutChg>
        <pc:sldLayoutChg chg="del">
          <pc:chgData name="Έλια Αποστολοπούλου" userId="55324f8b-f5ef-49c9-8ce3-afc1f275c581" providerId="ADAL" clId="{D054BEF4-B56E-4714-BE58-DEB404E73EBA}" dt="2024-12-01T17:28:50.123" v="85" actId="47"/>
          <pc:sldLayoutMkLst>
            <pc:docMk/>
            <pc:sldMasterMk cId="1436891038" sldId="2147483720"/>
            <pc:sldLayoutMk cId="334961347" sldId="2147483729"/>
          </pc:sldLayoutMkLst>
        </pc:sldLayoutChg>
      </pc:sldMasterChg>
      <pc:sldMasterChg chg="del delSldLayout">
        <pc:chgData name="Έλια Αποστολοπούλου" userId="55324f8b-f5ef-49c9-8ce3-afc1f275c581" providerId="ADAL" clId="{D054BEF4-B56E-4714-BE58-DEB404E73EBA}" dt="2024-12-01T17:25:29.016" v="58" actId="47"/>
        <pc:sldMasterMkLst>
          <pc:docMk/>
          <pc:sldMasterMk cId="3452335201" sldId="2147484075"/>
        </pc:sldMasterMkLst>
        <pc:sldLayoutChg chg="del">
          <pc:chgData name="Έλια Αποστολοπούλου" userId="55324f8b-f5ef-49c9-8ce3-afc1f275c581" providerId="ADAL" clId="{D054BEF4-B56E-4714-BE58-DEB404E73EBA}" dt="2024-12-01T17:25:29.016" v="58" actId="47"/>
          <pc:sldLayoutMkLst>
            <pc:docMk/>
            <pc:sldMasterMk cId="3452335201" sldId="2147484075"/>
            <pc:sldLayoutMk cId="2998466188" sldId="2147484076"/>
          </pc:sldLayoutMkLst>
        </pc:sldLayoutChg>
      </pc:sldMasterChg>
      <pc:sldMasterChg chg="del delSldLayout">
        <pc:chgData name="Έλια Αποστολοπούλου" userId="55324f8b-f5ef-49c9-8ce3-afc1f275c581" providerId="ADAL" clId="{D054BEF4-B56E-4714-BE58-DEB404E73EBA}" dt="2024-12-01T17:25:35.031" v="65" actId="47"/>
        <pc:sldMasterMkLst>
          <pc:docMk/>
          <pc:sldMasterMk cId="918435410" sldId="2147484077"/>
        </pc:sldMasterMkLst>
        <pc:sldLayoutChg chg="del">
          <pc:chgData name="Έλια Αποστολοπούλου" userId="55324f8b-f5ef-49c9-8ce3-afc1f275c581" providerId="ADAL" clId="{D054BEF4-B56E-4714-BE58-DEB404E73EBA}" dt="2024-12-01T17:25:35.031" v="65" actId="47"/>
          <pc:sldLayoutMkLst>
            <pc:docMk/>
            <pc:sldMasterMk cId="918435410" sldId="2147484077"/>
            <pc:sldLayoutMk cId="1676076202" sldId="2147484078"/>
          </pc:sldLayoutMkLst>
        </pc:sldLayoutChg>
      </pc:sldMasterChg>
      <pc:sldMasterChg chg="del delSldLayout">
        <pc:chgData name="Έλια Αποστολοπούλου" userId="55324f8b-f5ef-49c9-8ce3-afc1f275c581" providerId="ADAL" clId="{D054BEF4-B56E-4714-BE58-DEB404E73EBA}" dt="2024-12-01T17:27:54.835" v="74" actId="47"/>
        <pc:sldMasterMkLst>
          <pc:docMk/>
          <pc:sldMasterMk cId="2873244249" sldId="2147484079"/>
        </pc:sldMasterMkLst>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2273098165" sldId="2147484080"/>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3514782248" sldId="2147484081"/>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3187721700" sldId="2147484082"/>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1791945099" sldId="2147484083"/>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3847977765" sldId="2147484084"/>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2223733066" sldId="2147484085"/>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1387274593" sldId="2147484086"/>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1844236766" sldId="2147484087"/>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2988562524" sldId="2147484088"/>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1603497307" sldId="2147484089"/>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2360861730" sldId="2147484090"/>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3621434996" sldId="2147484091"/>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664587356" sldId="2147484092"/>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3671115744" sldId="2147484093"/>
          </pc:sldLayoutMkLst>
        </pc:sldLayoutChg>
        <pc:sldLayoutChg chg="del">
          <pc:chgData name="Έλια Αποστολοπούλου" userId="55324f8b-f5ef-49c9-8ce3-afc1f275c581" providerId="ADAL" clId="{D054BEF4-B56E-4714-BE58-DEB404E73EBA}" dt="2024-12-01T17:27:54.835" v="74" actId="47"/>
          <pc:sldLayoutMkLst>
            <pc:docMk/>
            <pc:sldMasterMk cId="2873244249" sldId="2147484079"/>
            <pc:sldLayoutMk cId="1036747674" sldId="2147484094"/>
          </pc:sldLayoutMkLst>
        </pc:sldLayoutChg>
      </pc:sldMasterChg>
      <pc:sldMasterChg chg="del delSldLayout">
        <pc:chgData name="Έλια Αποστολοπούλου" userId="55324f8b-f5ef-49c9-8ce3-afc1f275c581" providerId="ADAL" clId="{D054BEF4-B56E-4714-BE58-DEB404E73EBA}" dt="2024-12-01T17:27:56.850" v="75" actId="47"/>
        <pc:sldMasterMkLst>
          <pc:docMk/>
          <pc:sldMasterMk cId="2350105868" sldId="2147484095"/>
        </pc:sldMasterMkLst>
        <pc:sldLayoutChg chg="del">
          <pc:chgData name="Έλια Αποστολοπούλου" userId="55324f8b-f5ef-49c9-8ce3-afc1f275c581" providerId="ADAL" clId="{D054BEF4-B56E-4714-BE58-DEB404E73EBA}" dt="2024-12-01T17:27:56.850" v="75" actId="47"/>
          <pc:sldLayoutMkLst>
            <pc:docMk/>
            <pc:sldMasterMk cId="2350105868" sldId="2147484095"/>
            <pc:sldLayoutMk cId="1786788532" sldId="2147484096"/>
          </pc:sldLayoutMkLst>
        </pc:sldLayoutChg>
        <pc:sldLayoutChg chg="del">
          <pc:chgData name="Έλια Αποστολοπούλου" userId="55324f8b-f5ef-49c9-8ce3-afc1f275c581" providerId="ADAL" clId="{D054BEF4-B56E-4714-BE58-DEB404E73EBA}" dt="2024-12-01T17:27:56.850" v="75" actId="47"/>
          <pc:sldLayoutMkLst>
            <pc:docMk/>
            <pc:sldMasterMk cId="2350105868" sldId="2147484095"/>
            <pc:sldLayoutMk cId="787357497" sldId="2147484097"/>
          </pc:sldLayoutMkLst>
        </pc:sldLayoutChg>
        <pc:sldLayoutChg chg="del">
          <pc:chgData name="Έλια Αποστολοπούλου" userId="55324f8b-f5ef-49c9-8ce3-afc1f275c581" providerId="ADAL" clId="{D054BEF4-B56E-4714-BE58-DEB404E73EBA}" dt="2024-12-01T17:27:56.850" v="75" actId="47"/>
          <pc:sldLayoutMkLst>
            <pc:docMk/>
            <pc:sldMasterMk cId="2350105868" sldId="2147484095"/>
            <pc:sldLayoutMk cId="1653154987" sldId="2147484098"/>
          </pc:sldLayoutMkLst>
        </pc:sldLayoutChg>
        <pc:sldLayoutChg chg="del">
          <pc:chgData name="Έλια Αποστολοπούλου" userId="55324f8b-f5ef-49c9-8ce3-afc1f275c581" providerId="ADAL" clId="{D054BEF4-B56E-4714-BE58-DEB404E73EBA}" dt="2024-12-01T17:27:56.850" v="75" actId="47"/>
          <pc:sldLayoutMkLst>
            <pc:docMk/>
            <pc:sldMasterMk cId="2350105868" sldId="2147484095"/>
            <pc:sldLayoutMk cId="3761952177" sldId="2147484099"/>
          </pc:sldLayoutMkLst>
        </pc:sldLayoutChg>
        <pc:sldLayoutChg chg="del">
          <pc:chgData name="Έλια Αποστολοπούλου" userId="55324f8b-f5ef-49c9-8ce3-afc1f275c581" providerId="ADAL" clId="{D054BEF4-B56E-4714-BE58-DEB404E73EBA}" dt="2024-12-01T17:27:56.850" v="75" actId="47"/>
          <pc:sldLayoutMkLst>
            <pc:docMk/>
            <pc:sldMasterMk cId="2350105868" sldId="2147484095"/>
            <pc:sldLayoutMk cId="2063608528" sldId="2147484100"/>
          </pc:sldLayoutMkLst>
        </pc:sldLayoutChg>
        <pc:sldLayoutChg chg="del">
          <pc:chgData name="Έλια Αποστολοπούλου" userId="55324f8b-f5ef-49c9-8ce3-afc1f275c581" providerId="ADAL" clId="{D054BEF4-B56E-4714-BE58-DEB404E73EBA}" dt="2024-12-01T17:27:56.850" v="75" actId="47"/>
          <pc:sldLayoutMkLst>
            <pc:docMk/>
            <pc:sldMasterMk cId="2350105868" sldId="2147484095"/>
            <pc:sldLayoutMk cId="1442948615" sldId="2147484101"/>
          </pc:sldLayoutMkLst>
        </pc:sldLayoutChg>
        <pc:sldLayoutChg chg="del">
          <pc:chgData name="Έλια Αποστολοπούλου" userId="55324f8b-f5ef-49c9-8ce3-afc1f275c581" providerId="ADAL" clId="{D054BEF4-B56E-4714-BE58-DEB404E73EBA}" dt="2024-12-01T17:27:56.850" v="75" actId="47"/>
          <pc:sldLayoutMkLst>
            <pc:docMk/>
            <pc:sldMasterMk cId="2350105868" sldId="2147484095"/>
            <pc:sldLayoutMk cId="2482221619" sldId="2147484102"/>
          </pc:sldLayoutMkLst>
        </pc:sldLayoutChg>
      </pc:sldMasterChg>
      <pc:sldMasterChg chg="del delSldLayout">
        <pc:chgData name="Έλια Αποστολοπούλου" userId="55324f8b-f5ef-49c9-8ce3-afc1f275c581" providerId="ADAL" clId="{D054BEF4-B56E-4714-BE58-DEB404E73EBA}" dt="2024-12-01T17:28:33.422" v="82" actId="47"/>
        <pc:sldMasterMkLst>
          <pc:docMk/>
          <pc:sldMasterMk cId="3242434145" sldId="2147484103"/>
        </pc:sldMasterMkLst>
        <pc:sldLayoutChg chg="del">
          <pc:chgData name="Έλια Αποστολοπούλου" userId="55324f8b-f5ef-49c9-8ce3-afc1f275c581" providerId="ADAL" clId="{D054BEF4-B56E-4714-BE58-DEB404E73EBA}" dt="2024-12-01T17:28:33.422" v="82" actId="47"/>
          <pc:sldLayoutMkLst>
            <pc:docMk/>
            <pc:sldMasterMk cId="3242434145" sldId="2147484103"/>
            <pc:sldLayoutMk cId="12799674" sldId="2147484104"/>
          </pc:sldLayoutMkLst>
        </pc:sldLayoutChg>
        <pc:sldLayoutChg chg="del">
          <pc:chgData name="Έλια Αποστολοπούλου" userId="55324f8b-f5ef-49c9-8ce3-afc1f275c581" providerId="ADAL" clId="{D054BEF4-B56E-4714-BE58-DEB404E73EBA}" dt="2024-12-01T17:28:33.422" v="82" actId="47"/>
          <pc:sldLayoutMkLst>
            <pc:docMk/>
            <pc:sldMasterMk cId="3242434145" sldId="2147484103"/>
            <pc:sldLayoutMk cId="4071093624" sldId="2147484105"/>
          </pc:sldLayoutMkLst>
        </pc:sldLayoutChg>
        <pc:sldLayoutChg chg="del">
          <pc:chgData name="Έλια Αποστολοπούλου" userId="55324f8b-f5ef-49c9-8ce3-afc1f275c581" providerId="ADAL" clId="{D054BEF4-B56E-4714-BE58-DEB404E73EBA}" dt="2024-12-01T17:28:33.422" v="82" actId="47"/>
          <pc:sldLayoutMkLst>
            <pc:docMk/>
            <pc:sldMasterMk cId="3242434145" sldId="2147484103"/>
            <pc:sldLayoutMk cId="1138178179" sldId="2147484106"/>
          </pc:sldLayoutMkLst>
        </pc:sldLayoutChg>
        <pc:sldLayoutChg chg="del">
          <pc:chgData name="Έλια Αποστολοπούλου" userId="55324f8b-f5ef-49c9-8ce3-afc1f275c581" providerId="ADAL" clId="{D054BEF4-B56E-4714-BE58-DEB404E73EBA}" dt="2024-12-01T17:28:33.422" v="82" actId="47"/>
          <pc:sldLayoutMkLst>
            <pc:docMk/>
            <pc:sldMasterMk cId="3242434145" sldId="2147484103"/>
            <pc:sldLayoutMk cId="2099614173" sldId="2147484107"/>
          </pc:sldLayoutMkLst>
        </pc:sldLayoutChg>
        <pc:sldLayoutChg chg="del">
          <pc:chgData name="Έλια Αποστολοπούλου" userId="55324f8b-f5ef-49c9-8ce3-afc1f275c581" providerId="ADAL" clId="{D054BEF4-B56E-4714-BE58-DEB404E73EBA}" dt="2024-12-01T17:28:33.422" v="82" actId="47"/>
          <pc:sldLayoutMkLst>
            <pc:docMk/>
            <pc:sldMasterMk cId="3242434145" sldId="2147484103"/>
            <pc:sldLayoutMk cId="2773025506" sldId="2147484108"/>
          </pc:sldLayoutMkLst>
        </pc:sldLayoutChg>
        <pc:sldLayoutChg chg="del">
          <pc:chgData name="Έλια Αποστολοπούλου" userId="55324f8b-f5ef-49c9-8ce3-afc1f275c581" providerId="ADAL" clId="{D054BEF4-B56E-4714-BE58-DEB404E73EBA}" dt="2024-12-01T17:28:33.422" v="82" actId="47"/>
          <pc:sldLayoutMkLst>
            <pc:docMk/>
            <pc:sldMasterMk cId="3242434145" sldId="2147484103"/>
            <pc:sldLayoutMk cId="1583575691" sldId="2147484109"/>
          </pc:sldLayoutMkLst>
        </pc:sldLayoutChg>
      </pc:sldMasterChg>
      <pc:sldMasterChg chg="del delSldLayout">
        <pc:chgData name="Έλια Αποστολοπούλου" userId="55324f8b-f5ef-49c9-8ce3-afc1f275c581" providerId="ADAL" clId="{D054BEF4-B56E-4714-BE58-DEB404E73EBA}" dt="2024-12-01T17:28:22.887" v="80" actId="47"/>
        <pc:sldMasterMkLst>
          <pc:docMk/>
          <pc:sldMasterMk cId="599892891" sldId="2147484110"/>
        </pc:sldMasterMkLst>
        <pc:sldLayoutChg chg="del">
          <pc:chgData name="Έλια Αποστολοπούλου" userId="55324f8b-f5ef-49c9-8ce3-afc1f275c581" providerId="ADAL" clId="{D054BEF4-B56E-4714-BE58-DEB404E73EBA}" dt="2024-12-01T17:28:22.887" v="80" actId="47"/>
          <pc:sldLayoutMkLst>
            <pc:docMk/>
            <pc:sldMasterMk cId="599892891" sldId="2147484110"/>
            <pc:sldLayoutMk cId="3241619779" sldId="2147484111"/>
          </pc:sldLayoutMkLst>
        </pc:sldLayoutChg>
        <pc:sldLayoutChg chg="del">
          <pc:chgData name="Έλια Αποστολοπούλου" userId="55324f8b-f5ef-49c9-8ce3-afc1f275c581" providerId="ADAL" clId="{D054BEF4-B56E-4714-BE58-DEB404E73EBA}" dt="2024-12-01T17:28:22.887" v="80" actId="47"/>
          <pc:sldLayoutMkLst>
            <pc:docMk/>
            <pc:sldMasterMk cId="599892891" sldId="2147484110"/>
            <pc:sldLayoutMk cId="2308007961" sldId="2147484112"/>
          </pc:sldLayoutMkLst>
        </pc:sldLayoutChg>
        <pc:sldLayoutChg chg="del">
          <pc:chgData name="Έλια Αποστολοπούλου" userId="55324f8b-f5ef-49c9-8ce3-afc1f275c581" providerId="ADAL" clId="{D054BEF4-B56E-4714-BE58-DEB404E73EBA}" dt="2024-12-01T17:28:22.887" v="80" actId="47"/>
          <pc:sldLayoutMkLst>
            <pc:docMk/>
            <pc:sldMasterMk cId="599892891" sldId="2147484110"/>
            <pc:sldLayoutMk cId="1758879628" sldId="2147484113"/>
          </pc:sldLayoutMkLst>
        </pc:sldLayoutChg>
        <pc:sldLayoutChg chg="del">
          <pc:chgData name="Έλια Αποστολοπούλου" userId="55324f8b-f5ef-49c9-8ce3-afc1f275c581" providerId="ADAL" clId="{D054BEF4-B56E-4714-BE58-DEB404E73EBA}" dt="2024-12-01T17:28:22.887" v="80" actId="47"/>
          <pc:sldLayoutMkLst>
            <pc:docMk/>
            <pc:sldMasterMk cId="599892891" sldId="2147484110"/>
            <pc:sldLayoutMk cId="488568141" sldId="2147484114"/>
          </pc:sldLayoutMkLst>
        </pc:sldLayoutChg>
        <pc:sldLayoutChg chg="del">
          <pc:chgData name="Έλια Αποστολοπούλου" userId="55324f8b-f5ef-49c9-8ce3-afc1f275c581" providerId="ADAL" clId="{D054BEF4-B56E-4714-BE58-DEB404E73EBA}" dt="2024-12-01T17:28:22.887" v="80" actId="47"/>
          <pc:sldLayoutMkLst>
            <pc:docMk/>
            <pc:sldMasterMk cId="599892891" sldId="2147484110"/>
            <pc:sldLayoutMk cId="496569622" sldId="2147484115"/>
          </pc:sldLayoutMkLst>
        </pc:sldLayoutChg>
        <pc:sldLayoutChg chg="del">
          <pc:chgData name="Έλια Αποστολοπούλου" userId="55324f8b-f5ef-49c9-8ce3-afc1f275c581" providerId="ADAL" clId="{D054BEF4-B56E-4714-BE58-DEB404E73EBA}" dt="2024-12-01T17:28:22.887" v="80" actId="47"/>
          <pc:sldLayoutMkLst>
            <pc:docMk/>
            <pc:sldMasterMk cId="599892891" sldId="2147484110"/>
            <pc:sldLayoutMk cId="1984766810" sldId="2147484116"/>
          </pc:sldLayoutMkLst>
        </pc:sldLayoutChg>
        <pc:sldLayoutChg chg="del">
          <pc:chgData name="Έλια Αποστολοπούλου" userId="55324f8b-f5ef-49c9-8ce3-afc1f275c581" providerId="ADAL" clId="{D054BEF4-B56E-4714-BE58-DEB404E73EBA}" dt="2024-12-01T17:28:22.887" v="80" actId="47"/>
          <pc:sldLayoutMkLst>
            <pc:docMk/>
            <pc:sldMasterMk cId="599892891" sldId="2147484110"/>
            <pc:sldLayoutMk cId="4120365499" sldId="2147484117"/>
          </pc:sldLayoutMkLst>
        </pc:sldLayoutChg>
        <pc:sldLayoutChg chg="del">
          <pc:chgData name="Έλια Αποστολοπούλου" userId="55324f8b-f5ef-49c9-8ce3-afc1f275c581" providerId="ADAL" clId="{D054BEF4-B56E-4714-BE58-DEB404E73EBA}" dt="2024-12-01T17:28:22.887" v="80" actId="47"/>
          <pc:sldLayoutMkLst>
            <pc:docMk/>
            <pc:sldMasterMk cId="599892891" sldId="2147484110"/>
            <pc:sldLayoutMk cId="3310857515" sldId="2147484118"/>
          </pc:sldLayoutMkLst>
        </pc:sldLayoutChg>
        <pc:sldLayoutChg chg="del">
          <pc:chgData name="Έλια Αποστολοπούλου" userId="55324f8b-f5ef-49c9-8ce3-afc1f275c581" providerId="ADAL" clId="{D054BEF4-B56E-4714-BE58-DEB404E73EBA}" dt="2024-12-01T17:28:22.887" v="80" actId="47"/>
          <pc:sldLayoutMkLst>
            <pc:docMk/>
            <pc:sldMasterMk cId="599892891" sldId="2147484110"/>
            <pc:sldLayoutMk cId="1683569484" sldId="2147484119"/>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___________________Microsoft_Excel.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___________________Microsoft_Excel8.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___________________Microsoft_Excel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___________________Microsoft_Excel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___________________Microsoft_Excel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___________________Microsoft_Excel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___________________Microsoft_Excel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___________________Microsoft_Excel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7.xml.rels><?xml version="1.0" encoding="UTF-8" standalone="yes"?>
<Relationships xmlns="http://schemas.openxmlformats.org/package/2006/relationships"><Relationship Id="rId1" Type="http://schemas.openxmlformats.org/officeDocument/2006/relationships/package" Target="../embeddings/___________________.____._____Microsoft_Excel.xlsb"/></Relationships>
</file>

<file path=ppt/charts/_rels/chart8.xml.rels><?xml version="1.0" encoding="UTF-8" standalone="yes"?>
<Relationships xmlns="http://schemas.openxmlformats.org/package/2006/relationships"><Relationship Id="rId3" Type="http://schemas.openxmlformats.org/officeDocument/2006/relationships/package" Target="../embeddings/___________________Microsoft_Excel6.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___________________Microsoft_Excel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937731068808078E-4"/>
          <c:y val="1.8434934985313359E-2"/>
          <c:w val="0.75327208893753472"/>
          <c:h val="0.93049980238838814"/>
        </c:manualLayout>
      </c:layout>
      <c:barChart>
        <c:barDir val="bar"/>
        <c:grouping val="clustered"/>
        <c:varyColors val="0"/>
        <c:ser>
          <c:idx val="0"/>
          <c:order val="0"/>
          <c:tx>
            <c:strRef>
              <c:f>Sheet1!$B$1</c:f>
              <c:strCache>
                <c:ptCount val="1"/>
                <c:pt idx="0">
                  <c:v>Column1</c:v>
                </c:pt>
              </c:strCache>
            </c:strRef>
          </c:tx>
          <c:spPr>
            <a:solidFill>
              <a:srgbClr val="104D8C"/>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c:spPr>
          <c:invertIfNegative val="0"/>
          <c:dLbls>
            <c:numFmt formatCode="#,,\ "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00\ "€"</c:formatCode>
                <c:ptCount val="1"/>
                <c:pt idx="0">
                  <c:v>250584000</c:v>
                </c:pt>
              </c:numCache>
            </c:numRef>
          </c:val>
          <c:extLst>
            <c:ext xmlns:c16="http://schemas.microsoft.com/office/drawing/2014/chart" uri="{C3380CC4-5D6E-409C-BE32-E72D297353CC}">
              <c16:uniqueId val="{00000000-1AB4-4525-866B-4C249C9D6FC5}"/>
            </c:ext>
          </c:extLst>
        </c:ser>
        <c:ser>
          <c:idx val="1"/>
          <c:order val="1"/>
          <c:tx>
            <c:strRef>
              <c:f>Sheet1!$C$1</c:f>
              <c:strCache>
                <c:ptCount val="1"/>
                <c:pt idx="0">
                  <c:v>Column3</c:v>
                </c:pt>
              </c:strCache>
            </c:strRef>
          </c:tx>
          <c:spPr>
            <a:solidFill>
              <a:srgbClr val="97CA3F"/>
            </a:solidFill>
            <a:ln>
              <a:noFill/>
            </a:ln>
            <a:effectLst/>
            <a:scene3d>
              <a:camera prst="orthographicFront">
                <a:rot lat="0" lon="0" rev="0"/>
              </a:camera>
              <a:lightRig rig="threePt" dir="t">
                <a:rot lat="0" lon="0" rev="1200000"/>
              </a:lightRig>
            </a:scene3d>
            <a:sp3d>
              <a:bevelT w="63500" h="25400"/>
            </a:sp3d>
          </c:spPr>
          <c:invertIfNegative val="0"/>
          <c:dLbls>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00\ "€"</c:formatCode>
                <c:ptCount val="1"/>
                <c:pt idx="0">
                  <c:v>102238067</c:v>
                </c:pt>
              </c:numCache>
            </c:numRef>
          </c:val>
          <c:extLst>
            <c:ext xmlns:c16="http://schemas.microsoft.com/office/drawing/2014/chart" uri="{C3380CC4-5D6E-409C-BE32-E72D297353CC}">
              <c16:uniqueId val="{00000001-1AB4-4525-866B-4C249C9D6FC5}"/>
            </c:ext>
          </c:extLst>
        </c:ser>
        <c:ser>
          <c:idx val="2"/>
          <c:order val="2"/>
          <c:tx>
            <c:strRef>
              <c:f>Sheet1!$D$1</c:f>
              <c:strCache>
                <c:ptCount val="1"/>
                <c:pt idx="0">
                  <c:v>Column4</c:v>
                </c:pt>
              </c:strCache>
            </c:strRef>
          </c:tx>
          <c:spPr>
            <a:solidFill>
              <a:srgbClr val="0CACDC"/>
            </a:solidFill>
            <a:ln>
              <a:noFill/>
            </a:ln>
            <a:effectLst/>
            <a:scene3d>
              <a:camera prst="orthographicFront">
                <a:rot lat="0" lon="0" rev="0"/>
              </a:camera>
              <a:lightRig rig="threePt" dir="t">
                <a:rot lat="0" lon="0" rev="1200000"/>
              </a:lightRig>
            </a:scene3d>
            <a:sp3d>
              <a:bevelT w="63500" h="25400"/>
            </a:sp3d>
          </c:spPr>
          <c:invertIfNegative val="0"/>
          <c:dLbls>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00\ "€"</c:formatCode>
                <c:ptCount val="1"/>
                <c:pt idx="0">
                  <c:v>26384760.899999999</c:v>
                </c:pt>
              </c:numCache>
            </c:numRef>
          </c:val>
          <c:extLst>
            <c:ext xmlns:c16="http://schemas.microsoft.com/office/drawing/2014/chart" uri="{C3380CC4-5D6E-409C-BE32-E72D297353CC}">
              <c16:uniqueId val="{00000002-1AB4-4525-866B-4C249C9D6FC5}"/>
            </c:ext>
          </c:extLst>
        </c:ser>
        <c:ser>
          <c:idx val="3"/>
          <c:order val="3"/>
          <c:tx>
            <c:strRef>
              <c:f>Sheet1!$E$1</c:f>
              <c:strCache>
                <c:ptCount val="1"/>
                <c:pt idx="0">
                  <c:v>Column5</c:v>
                </c:pt>
              </c:strCache>
            </c:strRef>
          </c:tx>
          <c:spPr>
            <a:solidFill>
              <a:srgbClr val="A5A5A5"/>
            </a:solidFill>
            <a:ln>
              <a:noFill/>
            </a:ln>
            <a:effectLst/>
            <a:scene3d>
              <a:camera prst="orthographicFront">
                <a:rot lat="0" lon="0" rev="0"/>
              </a:camera>
              <a:lightRig rig="threePt" dir="t">
                <a:rot lat="0" lon="0" rev="1200000"/>
              </a:lightRig>
            </a:scene3d>
            <a:sp3d>
              <a:bevelT w="63500" h="25400"/>
            </a:sp3d>
          </c:spPr>
          <c:invertIfNegative val="0"/>
          <c:dLbls>
            <c:delete val="1"/>
          </c:dLbls>
          <c:cat>
            <c:numRef>
              <c:f>Sheet1!$A$2</c:f>
              <c:numCache>
                <c:formatCode>General</c:formatCode>
                <c:ptCount val="1"/>
              </c:numCache>
            </c:numRef>
          </c:cat>
          <c:val>
            <c:numRef>
              <c:f>Sheet1!$E$2</c:f>
              <c:numCache>
                <c:formatCode>#,##0.00\ "€"</c:formatCode>
                <c:ptCount val="1"/>
                <c:pt idx="0">
                  <c:v>336921.71</c:v>
                </c:pt>
              </c:numCache>
            </c:numRef>
          </c:val>
          <c:extLst>
            <c:ext xmlns:c16="http://schemas.microsoft.com/office/drawing/2014/chart" uri="{C3380CC4-5D6E-409C-BE32-E72D297353CC}">
              <c16:uniqueId val="{00000003-1AB4-4525-866B-4C249C9D6FC5}"/>
            </c:ext>
          </c:extLst>
        </c:ser>
        <c:dLbls>
          <c:dLblPos val="outEnd"/>
          <c:showLegendKey val="0"/>
          <c:showVal val="1"/>
          <c:showCatName val="0"/>
          <c:showSerName val="0"/>
          <c:showPercent val="0"/>
          <c:showBubbleSize val="0"/>
        </c:dLbls>
        <c:gapWidth val="110"/>
        <c:overlap val="100"/>
        <c:axId val="339032408"/>
        <c:axId val="339027704"/>
      </c:barChart>
      <c:catAx>
        <c:axId val="339032408"/>
        <c:scaling>
          <c:orientation val="maxMin"/>
        </c:scaling>
        <c:delete val="1"/>
        <c:axPos val="l"/>
        <c:numFmt formatCode="General" sourceLinked="1"/>
        <c:majorTickMark val="out"/>
        <c:minorTickMark val="none"/>
        <c:tickLblPos val="nextTo"/>
        <c:crossAx val="339027704"/>
        <c:crosses val="autoZero"/>
        <c:auto val="1"/>
        <c:lblAlgn val="ctr"/>
        <c:lblOffset val="100"/>
        <c:noMultiLvlLbl val="0"/>
      </c:catAx>
      <c:valAx>
        <c:axId val="339027704"/>
        <c:scaling>
          <c:orientation val="minMax"/>
        </c:scaling>
        <c:delete val="1"/>
        <c:axPos val="t"/>
        <c:numFmt formatCode="#,##0.00\ &quot;€&quot;" sourceLinked="1"/>
        <c:majorTickMark val="out"/>
        <c:minorTickMark val="none"/>
        <c:tickLblPos val="nextTo"/>
        <c:crossAx val="339032408"/>
        <c:crosses val="autoZero"/>
        <c:crossBetween val="between"/>
      </c:valAx>
      <c:spPr>
        <a:noFill/>
        <a:ln>
          <a:noFill/>
        </a:ln>
        <a:effectLst>
          <a:softEdge rad="63500"/>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softEdge rad="0"/>
    </a:effectLst>
  </c:spPr>
  <c:txPr>
    <a:bodyPr/>
    <a:lstStyle/>
    <a:p>
      <a:pPr>
        <a:defRPr/>
      </a:pPr>
      <a:endParaRPr lang="el-G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rgbClr val="0CACDC"/>
                </a:solidFill>
                <a:latin typeface="Arial" panose="020B0604020202020204" pitchFamily="34" charset="0"/>
                <a:ea typeface="+mn-ea"/>
                <a:cs typeface="Arial" panose="020B0604020202020204" pitchFamily="34" charset="0"/>
              </a:defRPr>
            </a:pPr>
            <a:r>
              <a:rPr lang="el-GR" sz="1800" b="1" dirty="0">
                <a:solidFill>
                  <a:srgbClr val="0CACDC"/>
                </a:solidFill>
                <a:latin typeface="Arial" panose="020B0604020202020204" pitchFamily="34" charset="0"/>
                <a:cs typeface="Arial" panose="020B0604020202020204" pitchFamily="34" charset="0"/>
              </a:rPr>
              <a:t>Εντάξεις</a:t>
            </a:r>
            <a:endParaRPr lang="en-US" sz="1800" b="1" dirty="0">
              <a:solidFill>
                <a:srgbClr val="0CACDC"/>
              </a:solidFill>
              <a:latin typeface="Arial" panose="020B0604020202020204" pitchFamily="34" charset="0"/>
              <a:cs typeface="Arial" panose="020B0604020202020204" pitchFamily="34" charset="0"/>
            </a:endParaRPr>
          </a:p>
        </c:rich>
      </c:tx>
      <c:layout>
        <c:manualLayout>
          <c:xMode val="edge"/>
          <c:yMode val="edge"/>
          <c:x val="0.34340063804566562"/>
          <c:y val="2.9582616179001722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rgbClr val="0CACDC"/>
              </a:solidFill>
              <a:latin typeface="Arial" panose="020B0604020202020204" pitchFamily="34" charset="0"/>
              <a:ea typeface="+mn-ea"/>
              <a:cs typeface="Arial" panose="020B0604020202020204" pitchFamily="34" charset="0"/>
            </a:defRPr>
          </a:pPr>
          <a:endParaRPr lang="el-GR"/>
        </a:p>
      </c:txPr>
    </c:title>
    <c:autoTitleDeleted val="0"/>
    <c:plotArea>
      <c:layout/>
      <c:doughnutChart>
        <c:varyColors val="1"/>
        <c:ser>
          <c:idx val="0"/>
          <c:order val="0"/>
          <c:tx>
            <c:strRef>
              <c:f>Sheet1!$B$1</c:f>
              <c:strCache>
                <c:ptCount val="1"/>
                <c:pt idx="0">
                  <c:v>Sales</c:v>
                </c:pt>
              </c:strCache>
            </c:strRef>
          </c:tx>
          <c:spPr>
            <a:solidFill>
              <a:schemeClr val="bg1"/>
            </a:solidFill>
            <a:ln>
              <a:solidFill>
                <a:srgbClr val="92D050"/>
              </a:solidFill>
            </a:ln>
          </c:spPr>
          <c:dPt>
            <c:idx val="0"/>
            <c:bubble3D val="0"/>
            <c:spPr>
              <a:noFill/>
              <a:ln w="19050">
                <a:noFill/>
              </a:ln>
              <a:effectLst/>
            </c:spPr>
            <c:extLst>
              <c:ext xmlns:c16="http://schemas.microsoft.com/office/drawing/2014/chart" uri="{C3380CC4-5D6E-409C-BE32-E72D297353CC}">
                <c16:uniqueId val="{00000001-A20F-455F-AAF8-29E0DDC427DC}"/>
              </c:ext>
            </c:extLst>
          </c:dPt>
          <c:dPt>
            <c:idx val="1"/>
            <c:bubble3D val="0"/>
            <c:spPr>
              <a:solidFill>
                <a:srgbClr val="0CACDC"/>
              </a:solidFill>
              <a:ln w="19050">
                <a:solidFill>
                  <a:srgbClr val="0CACDC"/>
                </a:solidFill>
              </a:ln>
              <a:effectLst/>
            </c:spPr>
            <c:extLst>
              <c:ext xmlns:c16="http://schemas.microsoft.com/office/drawing/2014/chart" uri="{C3380CC4-5D6E-409C-BE32-E72D297353CC}">
                <c16:uniqueId val="{00000003-A20F-455F-AAF8-29E0DDC427DC}"/>
              </c:ext>
            </c:extLst>
          </c:dPt>
          <c:dPt>
            <c:idx val="2"/>
            <c:bubble3D val="0"/>
            <c:spPr>
              <a:solidFill>
                <a:schemeClr val="bg1"/>
              </a:solidFill>
              <a:ln w="19050">
                <a:solidFill>
                  <a:srgbClr val="0CACDC"/>
                </a:solidFill>
              </a:ln>
              <a:effectLst/>
            </c:spPr>
            <c:extLst>
              <c:ext xmlns:c16="http://schemas.microsoft.com/office/drawing/2014/chart" uri="{C3380CC4-5D6E-409C-BE32-E72D297353CC}">
                <c16:uniqueId val="{00000005-A20F-455F-AAF8-29E0DDC427DC}"/>
              </c:ext>
            </c:extLst>
          </c:dPt>
          <c:cat>
            <c:strRef>
              <c:f>Sheet1!$A$2:$A$4</c:f>
              <c:strCache>
                <c:ptCount val="3"/>
                <c:pt idx="0">
                  <c:v>1st Qtr</c:v>
                </c:pt>
                <c:pt idx="1">
                  <c:v>2nd Qtr</c:v>
                </c:pt>
                <c:pt idx="2">
                  <c:v>3rd Qtr</c:v>
                </c:pt>
              </c:strCache>
            </c:strRef>
          </c:cat>
          <c:val>
            <c:numRef>
              <c:f>Sheet1!$B$2:$B$4</c:f>
              <c:numCache>
                <c:formatCode>General</c:formatCode>
                <c:ptCount val="3"/>
                <c:pt idx="0">
                  <c:v>1</c:v>
                </c:pt>
                <c:pt idx="1">
                  <c:v>0.56000000000000005</c:v>
                </c:pt>
                <c:pt idx="2">
                  <c:v>0.44</c:v>
                </c:pt>
              </c:numCache>
            </c:numRef>
          </c:val>
          <c:extLst>
            <c:ext xmlns:c16="http://schemas.microsoft.com/office/drawing/2014/chart" uri="{C3380CC4-5D6E-409C-BE32-E72D297353CC}">
              <c16:uniqueId val="{00000006-A20F-455F-AAF8-29E0DDC427DC}"/>
            </c:ext>
          </c:extLst>
        </c:ser>
        <c:dLbls>
          <c:showLegendKey val="0"/>
          <c:showVal val="0"/>
          <c:showCatName val="0"/>
          <c:showSerName val="0"/>
          <c:showPercent val="0"/>
          <c:showBubbleSize val="0"/>
          <c:showLeaderLines val="1"/>
        </c:dLbls>
        <c:firstSliceAng val="9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l-G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rgbClr val="F4B183"/>
                </a:solidFill>
                <a:latin typeface="Arial" panose="020B0604020202020204" pitchFamily="34" charset="0"/>
                <a:ea typeface="+mn-ea"/>
                <a:cs typeface="Arial" panose="020B0604020202020204" pitchFamily="34" charset="0"/>
              </a:defRPr>
            </a:pPr>
            <a:r>
              <a:rPr lang="el-GR" sz="1800" b="1">
                <a:solidFill>
                  <a:srgbClr val="F4B183"/>
                </a:solidFill>
                <a:latin typeface="Arial" panose="020B0604020202020204" pitchFamily="34" charset="0"/>
                <a:cs typeface="Arial" panose="020B0604020202020204" pitchFamily="34" charset="0"/>
              </a:rPr>
              <a:t>Νομικές Δεσμεύσεις</a:t>
            </a:r>
            <a:endParaRPr lang="en-US" sz="1800" b="1">
              <a:solidFill>
                <a:srgbClr val="F4B183"/>
              </a:solidFill>
              <a:latin typeface="Arial" panose="020B0604020202020204" pitchFamily="34" charset="0"/>
              <a:cs typeface="Arial" panose="020B0604020202020204" pitchFamily="34" charset="0"/>
            </a:endParaRPr>
          </a:p>
        </c:rich>
      </c:tx>
      <c:layout>
        <c:manualLayout>
          <c:xMode val="edge"/>
          <c:yMode val="edge"/>
          <c:x val="0.17829755081685383"/>
          <c:y val="2.4203958691910499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rgbClr val="F4B183"/>
              </a:solidFill>
              <a:latin typeface="Arial" panose="020B0604020202020204" pitchFamily="34" charset="0"/>
              <a:ea typeface="+mn-ea"/>
              <a:cs typeface="Arial" panose="020B0604020202020204" pitchFamily="34" charset="0"/>
            </a:defRPr>
          </a:pPr>
          <a:endParaRPr lang="el-GR"/>
        </a:p>
      </c:txPr>
    </c:title>
    <c:autoTitleDeleted val="0"/>
    <c:plotArea>
      <c:layout/>
      <c:doughnutChart>
        <c:varyColors val="1"/>
        <c:ser>
          <c:idx val="0"/>
          <c:order val="0"/>
          <c:tx>
            <c:strRef>
              <c:f>Sheet1!$B$1</c:f>
              <c:strCache>
                <c:ptCount val="1"/>
                <c:pt idx="0">
                  <c:v>Sales</c:v>
                </c:pt>
              </c:strCache>
            </c:strRef>
          </c:tx>
          <c:spPr>
            <a:solidFill>
              <a:schemeClr val="bg1"/>
            </a:solidFill>
            <a:ln>
              <a:solidFill>
                <a:srgbClr val="92D050"/>
              </a:solidFill>
            </a:ln>
          </c:spPr>
          <c:dPt>
            <c:idx val="0"/>
            <c:bubble3D val="0"/>
            <c:spPr>
              <a:noFill/>
              <a:ln w="19050">
                <a:noFill/>
              </a:ln>
              <a:effectLst/>
            </c:spPr>
            <c:extLst>
              <c:ext xmlns:c16="http://schemas.microsoft.com/office/drawing/2014/chart" uri="{C3380CC4-5D6E-409C-BE32-E72D297353CC}">
                <c16:uniqueId val="{00000001-EA29-4C2B-B9C4-89694B0CE43F}"/>
              </c:ext>
            </c:extLst>
          </c:dPt>
          <c:dPt>
            <c:idx val="1"/>
            <c:bubble3D val="0"/>
            <c:spPr>
              <a:solidFill>
                <a:srgbClr val="F4B183"/>
              </a:solidFill>
              <a:ln w="19050">
                <a:solidFill>
                  <a:srgbClr val="F4B183"/>
                </a:solidFill>
              </a:ln>
              <a:effectLst/>
            </c:spPr>
            <c:extLst>
              <c:ext xmlns:c16="http://schemas.microsoft.com/office/drawing/2014/chart" uri="{C3380CC4-5D6E-409C-BE32-E72D297353CC}">
                <c16:uniqueId val="{00000003-EA29-4C2B-B9C4-89694B0CE43F}"/>
              </c:ext>
            </c:extLst>
          </c:dPt>
          <c:dPt>
            <c:idx val="2"/>
            <c:bubble3D val="0"/>
            <c:spPr>
              <a:solidFill>
                <a:schemeClr val="bg1"/>
              </a:solidFill>
              <a:ln w="19050">
                <a:solidFill>
                  <a:srgbClr val="F4B183"/>
                </a:solidFill>
              </a:ln>
              <a:effectLst/>
            </c:spPr>
            <c:extLst>
              <c:ext xmlns:c16="http://schemas.microsoft.com/office/drawing/2014/chart" uri="{C3380CC4-5D6E-409C-BE32-E72D297353CC}">
                <c16:uniqueId val="{00000005-EA29-4C2B-B9C4-89694B0CE43F}"/>
              </c:ext>
            </c:extLst>
          </c:dPt>
          <c:cat>
            <c:strRef>
              <c:f>Sheet1!$A$2:$A$4</c:f>
              <c:strCache>
                <c:ptCount val="3"/>
                <c:pt idx="0">
                  <c:v>1st Qtr</c:v>
                </c:pt>
                <c:pt idx="1">
                  <c:v>2nd Qtr</c:v>
                </c:pt>
                <c:pt idx="2">
                  <c:v>3rd Qtr</c:v>
                </c:pt>
              </c:strCache>
            </c:strRef>
          </c:cat>
          <c:val>
            <c:numRef>
              <c:f>Sheet1!$B$2:$B$4</c:f>
              <c:numCache>
                <c:formatCode>General</c:formatCode>
                <c:ptCount val="3"/>
                <c:pt idx="0">
                  <c:v>1</c:v>
                </c:pt>
                <c:pt idx="1">
                  <c:v>0.41</c:v>
                </c:pt>
                <c:pt idx="2">
                  <c:v>0.59</c:v>
                </c:pt>
              </c:numCache>
            </c:numRef>
          </c:val>
          <c:extLst>
            <c:ext xmlns:c16="http://schemas.microsoft.com/office/drawing/2014/chart" uri="{C3380CC4-5D6E-409C-BE32-E72D297353CC}">
              <c16:uniqueId val="{00000006-EA29-4C2B-B9C4-89694B0CE43F}"/>
            </c:ext>
          </c:extLst>
        </c:ser>
        <c:dLbls>
          <c:showLegendKey val="0"/>
          <c:showVal val="0"/>
          <c:showCatName val="0"/>
          <c:showSerName val="0"/>
          <c:showPercent val="0"/>
          <c:showBubbleSize val="0"/>
          <c:showLeaderLines val="1"/>
        </c:dLbls>
        <c:firstSliceAng val="9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l-G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961439565165666E-2"/>
          <c:w val="0.87906964564787604"/>
          <c:h val="0.93049980238838814"/>
        </c:manualLayout>
      </c:layout>
      <c:barChart>
        <c:barDir val="bar"/>
        <c:grouping val="clustered"/>
        <c:varyColors val="0"/>
        <c:ser>
          <c:idx val="0"/>
          <c:order val="0"/>
          <c:tx>
            <c:strRef>
              <c:f>Sheet1!$B$1</c:f>
              <c:strCache>
                <c:ptCount val="1"/>
                <c:pt idx="0">
                  <c:v>Column1</c:v>
                </c:pt>
              </c:strCache>
            </c:strRef>
          </c:tx>
          <c:spPr>
            <a:solidFill>
              <a:srgbClr val="104D8C"/>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c:spPr>
          <c:invertIfNegative val="0"/>
          <c:dLbls>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00\ "€"</c:formatCode>
                <c:ptCount val="1"/>
                <c:pt idx="0">
                  <c:v>332106000</c:v>
                </c:pt>
              </c:numCache>
            </c:numRef>
          </c:val>
          <c:extLst>
            <c:ext xmlns:c16="http://schemas.microsoft.com/office/drawing/2014/chart" uri="{C3380CC4-5D6E-409C-BE32-E72D297353CC}">
              <c16:uniqueId val="{00000000-B438-445A-9BF9-691040AF6DC2}"/>
            </c:ext>
          </c:extLst>
        </c:ser>
        <c:ser>
          <c:idx val="1"/>
          <c:order val="1"/>
          <c:tx>
            <c:strRef>
              <c:f>Sheet1!$C$1</c:f>
              <c:strCache>
                <c:ptCount val="1"/>
                <c:pt idx="0">
                  <c:v>Column3</c:v>
                </c:pt>
              </c:strCache>
            </c:strRef>
          </c:tx>
          <c:spPr>
            <a:solidFill>
              <a:srgbClr val="97CA3F"/>
            </a:solidFill>
            <a:ln>
              <a:noFill/>
            </a:ln>
            <a:effectLst/>
            <a:scene3d>
              <a:camera prst="orthographicFront">
                <a:rot lat="0" lon="0" rev="0"/>
              </a:camera>
              <a:lightRig rig="threePt" dir="t">
                <a:rot lat="0" lon="0" rev="1200000"/>
              </a:lightRig>
            </a:scene3d>
            <a:sp3d>
              <a:bevelT w="63500" h="25400"/>
            </a:sp3d>
          </c:spPr>
          <c:invertIfNegative val="0"/>
          <c:dLbls>
            <c:dLbl>
              <c:idx val="0"/>
              <c:tx>
                <c:rich>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r>
                      <a:rPr lang="en-US" sz="1200" b="1" i="0" u="none" strike="noStrike" kern="1200" baseline="0">
                        <a:solidFill>
                          <a:schemeClr val="bg1"/>
                        </a:solidFill>
                        <a:latin typeface="Arial" panose="020B0604020202020204" pitchFamily="34" charset="0"/>
                        <a:cs typeface="Arial" panose="020B0604020202020204" pitchFamily="34" charset="0"/>
                      </a:rPr>
                      <a:t>€121</a:t>
                    </a:r>
                    <a:endParaRPr lang="en-US">
                      <a:solidFill>
                        <a:schemeClr val="bg1"/>
                      </a:solidFill>
                    </a:endParaRPr>
                  </a:p>
                </c:rich>
              </c:tx>
              <c:numFmt formatCode="#,,\ &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438-445A-9BF9-691040AF6DC2}"/>
                </c:ext>
              </c:extLst>
            </c:dLbl>
            <c:numFmt formatCode="#,,\ &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00\ "€"</c:formatCode>
                <c:ptCount val="1"/>
              </c:numCache>
            </c:numRef>
          </c:val>
          <c:extLst>
            <c:ext xmlns:c16="http://schemas.microsoft.com/office/drawing/2014/chart" uri="{C3380CC4-5D6E-409C-BE32-E72D297353CC}">
              <c16:uniqueId val="{00000002-B438-445A-9BF9-691040AF6DC2}"/>
            </c:ext>
          </c:extLst>
        </c:ser>
        <c:ser>
          <c:idx val="2"/>
          <c:order val="2"/>
          <c:tx>
            <c:strRef>
              <c:f>Sheet1!$D$1</c:f>
              <c:strCache>
                <c:ptCount val="1"/>
                <c:pt idx="0">
                  <c:v>Column4</c:v>
                </c:pt>
              </c:strCache>
            </c:strRef>
          </c:tx>
          <c:spPr>
            <a:solidFill>
              <a:srgbClr val="0CACDC"/>
            </a:solidFill>
            <a:ln>
              <a:noFill/>
            </a:ln>
            <a:effectLst/>
            <a:scene3d>
              <a:camera prst="orthographicFront">
                <a:rot lat="0" lon="0" rev="0"/>
              </a:camera>
              <a:lightRig rig="threePt" dir="t">
                <a:rot lat="0" lon="0" rev="1200000"/>
              </a:lightRig>
            </a:scene3d>
            <a:sp3d>
              <a:bevelT w="63500" h="25400"/>
            </a:sp3d>
          </c:spPr>
          <c:invertIfNegative val="0"/>
          <c:dLbls>
            <c:dLbl>
              <c:idx val="0"/>
              <c:layout>
                <c:manualLayout>
                  <c:x val="-8.2261671383010299E-2"/>
                  <c:y val="1.1438192582560874E-6"/>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B438-445A-9BF9-691040AF6DC2}"/>
                </c:ext>
              </c:extLst>
            </c:dLbl>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00\ "€"</c:formatCode>
                <c:ptCount val="1"/>
                <c:pt idx="0">
                  <c:v>161229138.5</c:v>
                </c:pt>
              </c:numCache>
            </c:numRef>
          </c:val>
          <c:extLst>
            <c:ext xmlns:c16="http://schemas.microsoft.com/office/drawing/2014/chart" uri="{C3380CC4-5D6E-409C-BE32-E72D297353CC}">
              <c16:uniqueId val="{00000004-B438-445A-9BF9-691040AF6DC2}"/>
            </c:ext>
          </c:extLst>
        </c:ser>
        <c:ser>
          <c:idx val="3"/>
          <c:order val="3"/>
          <c:tx>
            <c:strRef>
              <c:f>Sheet1!$E$1</c:f>
              <c:strCache>
                <c:ptCount val="1"/>
                <c:pt idx="0">
                  <c:v>Column5</c:v>
                </c:pt>
              </c:strCache>
            </c:strRef>
          </c:tx>
          <c:spPr>
            <a:solidFill>
              <a:srgbClr val="F4B183"/>
            </a:solidFill>
            <a:ln>
              <a:noFill/>
            </a:ln>
            <a:effectLst/>
            <a:scene3d>
              <a:camera prst="orthographicFront">
                <a:rot lat="0" lon="0" rev="0"/>
              </a:camera>
              <a:lightRig rig="threePt" dir="t">
                <a:rot lat="0" lon="0" rev="1200000"/>
              </a:lightRig>
            </a:scene3d>
            <a:sp3d>
              <a:bevelT w="63500" h="25400"/>
            </a:sp3d>
          </c:spPr>
          <c:invertIfNegative val="0"/>
          <c:dLbls>
            <c:dLbl>
              <c:idx val="0"/>
              <c:layout>
                <c:manualLayout>
                  <c:x val="-8.2348195737317081E-2"/>
                  <c:y val="3.4314577747682623E-6"/>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B438-445A-9BF9-691040AF6DC2}"/>
                </c:ext>
              </c:extLst>
            </c:dLbl>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00\ "€"</c:formatCode>
                <c:ptCount val="1"/>
                <c:pt idx="0">
                  <c:v>106701261.27000001</c:v>
                </c:pt>
              </c:numCache>
            </c:numRef>
          </c:val>
          <c:extLst>
            <c:ext xmlns:c16="http://schemas.microsoft.com/office/drawing/2014/chart" uri="{C3380CC4-5D6E-409C-BE32-E72D297353CC}">
              <c16:uniqueId val="{00000006-B438-445A-9BF9-691040AF6DC2}"/>
            </c:ext>
          </c:extLst>
        </c:ser>
        <c:dLbls>
          <c:dLblPos val="outEnd"/>
          <c:showLegendKey val="0"/>
          <c:showVal val="1"/>
          <c:showCatName val="0"/>
          <c:showSerName val="0"/>
          <c:showPercent val="0"/>
          <c:showBubbleSize val="0"/>
        </c:dLbls>
        <c:gapWidth val="110"/>
        <c:overlap val="100"/>
        <c:axId val="339029272"/>
        <c:axId val="339030056"/>
      </c:barChart>
      <c:catAx>
        <c:axId val="339029272"/>
        <c:scaling>
          <c:orientation val="maxMin"/>
        </c:scaling>
        <c:delete val="1"/>
        <c:axPos val="l"/>
        <c:numFmt formatCode="General" sourceLinked="1"/>
        <c:majorTickMark val="out"/>
        <c:minorTickMark val="none"/>
        <c:tickLblPos val="nextTo"/>
        <c:crossAx val="339030056"/>
        <c:crosses val="autoZero"/>
        <c:auto val="1"/>
        <c:lblAlgn val="ctr"/>
        <c:lblOffset val="100"/>
        <c:noMultiLvlLbl val="0"/>
      </c:catAx>
      <c:valAx>
        <c:axId val="339030056"/>
        <c:scaling>
          <c:orientation val="minMax"/>
        </c:scaling>
        <c:delete val="1"/>
        <c:axPos val="t"/>
        <c:numFmt formatCode="#,##0.00\ &quot;€&quot;" sourceLinked="1"/>
        <c:majorTickMark val="out"/>
        <c:minorTickMark val="none"/>
        <c:tickLblPos val="nextTo"/>
        <c:crossAx val="339029272"/>
        <c:crosses val="autoZero"/>
        <c:crossBetween val="between"/>
      </c:valAx>
      <c:spPr>
        <a:noFill/>
        <a:ln>
          <a:noFill/>
        </a:ln>
        <a:effectLst>
          <a:softEdge rad="63500"/>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softEdge rad="0"/>
    </a:effectLst>
  </c:spPr>
  <c:txPr>
    <a:bodyPr/>
    <a:lstStyle/>
    <a:p>
      <a:pPr>
        <a:defRPr/>
      </a:pPr>
      <a:endParaRPr lang="el-G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14305034926371E-5"/>
          <c:y val="3.2961439565165666E-2"/>
          <c:w val="0.72568121575930478"/>
          <c:h val="0.93049980238838814"/>
        </c:manualLayout>
      </c:layout>
      <c:barChart>
        <c:barDir val="bar"/>
        <c:grouping val="clustered"/>
        <c:varyColors val="0"/>
        <c:ser>
          <c:idx val="0"/>
          <c:order val="0"/>
          <c:tx>
            <c:strRef>
              <c:f>Sheet1!$B$1</c:f>
              <c:strCache>
                <c:ptCount val="1"/>
                <c:pt idx="0">
                  <c:v>Column1</c:v>
                </c:pt>
              </c:strCache>
            </c:strRef>
          </c:tx>
          <c:spPr>
            <a:solidFill>
              <a:srgbClr val="104D8C"/>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1.2422280589677759E-2"/>
                  <c:y val="7.1276715805141999E-2"/>
                </c:manualLayout>
              </c:layout>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1F497D"/>
                      </a:solidFill>
                      <a:latin typeface="Arial" panose="020B0604020202020204" pitchFamily="34" charset="0"/>
                      <a:ea typeface="+mn-ea"/>
                      <a:cs typeface="Arial" panose="020B0604020202020204" pitchFamily="34" charset="0"/>
                    </a:defRPr>
                  </a:pPr>
                  <a:endParaRPr lang="el-GR"/>
                </a:p>
              </c:txPr>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7439-4841-B2B3-9257BAFEA1B9}"/>
                </c:ext>
              </c:extLst>
            </c:dLbl>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B$2</c:f>
              <c:numCache>
                <c:formatCode>#,##0.00\ "€"</c:formatCode>
                <c:ptCount val="1"/>
                <c:pt idx="0">
                  <c:v>831119000</c:v>
                </c:pt>
              </c:numCache>
            </c:numRef>
          </c:val>
          <c:extLst>
            <c:ext xmlns:c16="http://schemas.microsoft.com/office/drawing/2014/chart" uri="{C3380CC4-5D6E-409C-BE32-E72D297353CC}">
              <c16:uniqueId val="{00000000-4801-4920-AC22-BCA8D91CE0B8}"/>
            </c:ext>
          </c:extLst>
        </c:ser>
        <c:ser>
          <c:idx val="1"/>
          <c:order val="1"/>
          <c:tx>
            <c:strRef>
              <c:f>Sheet1!$C$1</c:f>
              <c:strCache>
                <c:ptCount val="1"/>
                <c:pt idx="0">
                  <c:v>Column3</c:v>
                </c:pt>
              </c:strCache>
            </c:strRef>
          </c:tx>
          <c:spPr>
            <a:solidFill>
              <a:srgbClr val="97CA3F"/>
            </a:solidFill>
            <a:ln>
              <a:noFill/>
            </a:ln>
            <a:effectLst/>
            <a:scene3d>
              <a:camera prst="orthographicFront">
                <a:rot lat="0" lon="0" rev="0"/>
              </a:camera>
              <a:lightRig rig="threePt" dir="t">
                <a:rot lat="0" lon="0" rev="1200000"/>
              </a:lightRig>
            </a:scene3d>
            <a:sp3d>
              <a:bevelT w="63500" h="25400"/>
            </a:sp3d>
          </c:spPr>
          <c:invertIfNegative val="0"/>
          <c:dLbls>
            <c:dLbl>
              <c:idx val="0"/>
              <c:layout>
                <c:manualLayout>
                  <c:x val="-0.11841661330142715"/>
                  <c:y val="1.4526504579852309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7439-4841-B2B3-9257BAFEA1B9}"/>
                </c:ext>
              </c:extLst>
            </c:dLbl>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00\ "€"</c:formatCode>
                <c:ptCount val="1"/>
                <c:pt idx="0">
                  <c:v>805965000</c:v>
                </c:pt>
              </c:numCache>
            </c:numRef>
          </c:val>
          <c:extLst>
            <c:ext xmlns:c16="http://schemas.microsoft.com/office/drawing/2014/chart" uri="{C3380CC4-5D6E-409C-BE32-E72D297353CC}">
              <c16:uniqueId val="{00000001-4801-4920-AC22-BCA8D91CE0B8}"/>
            </c:ext>
          </c:extLst>
        </c:ser>
        <c:ser>
          <c:idx val="2"/>
          <c:order val="2"/>
          <c:tx>
            <c:strRef>
              <c:f>Sheet1!$D$1</c:f>
              <c:strCache>
                <c:ptCount val="1"/>
                <c:pt idx="0">
                  <c:v>Column4</c:v>
                </c:pt>
              </c:strCache>
            </c:strRef>
          </c:tx>
          <c:spPr>
            <a:solidFill>
              <a:srgbClr val="0CACDC"/>
            </a:solidFill>
            <a:ln>
              <a:noFill/>
            </a:ln>
            <a:effectLst/>
            <a:scene3d>
              <a:camera prst="orthographicFront">
                <a:rot lat="0" lon="0" rev="0"/>
              </a:camera>
              <a:lightRig rig="threePt" dir="t">
                <a:rot lat="0" lon="0" rev="1200000"/>
              </a:lightRig>
            </a:scene3d>
            <a:sp3d>
              <a:bevelT w="63500" h="25400"/>
            </a:sp3d>
          </c:spPr>
          <c:invertIfNegative val="0"/>
          <c:dLbls>
            <c:dLbl>
              <c:idx val="0"/>
              <c:layout>
                <c:manualLayout>
                  <c:x val="-5.8008621342544885E-2"/>
                  <c:y val="8.0067348078591901E-6"/>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4801-4920-AC22-BCA8D91CE0B8}"/>
                </c:ext>
              </c:extLst>
            </c:dLbl>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00\ "€"</c:formatCode>
                <c:ptCount val="1"/>
                <c:pt idx="0">
                  <c:v>562171820.26999998</c:v>
                </c:pt>
              </c:numCache>
            </c:numRef>
          </c:val>
          <c:extLst>
            <c:ext xmlns:c16="http://schemas.microsoft.com/office/drawing/2014/chart" uri="{C3380CC4-5D6E-409C-BE32-E72D297353CC}">
              <c16:uniqueId val="{00000003-4801-4920-AC22-BCA8D91CE0B8}"/>
            </c:ext>
          </c:extLst>
        </c:ser>
        <c:ser>
          <c:idx val="3"/>
          <c:order val="3"/>
          <c:tx>
            <c:strRef>
              <c:f>Sheet1!$E$1</c:f>
              <c:strCache>
                <c:ptCount val="1"/>
                <c:pt idx="0">
                  <c:v>Column5</c:v>
                </c:pt>
              </c:strCache>
            </c:strRef>
          </c:tx>
          <c:spPr>
            <a:solidFill>
              <a:srgbClr val="F4B183"/>
            </a:solidFill>
            <a:ln>
              <a:noFill/>
            </a:ln>
            <a:effectLst/>
            <a:scene3d>
              <a:camera prst="orthographicFront">
                <a:rot lat="0" lon="0" rev="0"/>
              </a:camera>
              <a:lightRig rig="threePt" dir="t">
                <a:rot lat="0" lon="0" rev="1200000"/>
              </a:lightRig>
            </a:scene3d>
            <a:sp3d>
              <a:bevelT w="63500" h="25400"/>
            </a:sp3d>
          </c:spPr>
          <c:invertIfNegative val="0"/>
          <c:dLbls>
            <c:dLbl>
              <c:idx val="0"/>
              <c:layout>
                <c:manualLayout>
                  <c:x val="-5.9093076749902211E-2"/>
                  <c:y val="6.6579043530864142E-17"/>
                </c:manualLayout>
              </c:layout>
              <c:tx>
                <c:rich>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r>
                      <a:rPr lang="en-US"/>
                      <a:t>413</a:t>
                    </a:r>
                  </a:p>
                </c:rich>
              </c:tx>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4801-4920-AC22-BCA8D91CE0B8}"/>
                </c:ext>
              </c:extLst>
            </c:dLbl>
            <c:numFmt formatCode="#,,\ &quot;€&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00\ "€"</c:formatCode>
                <c:ptCount val="1"/>
                <c:pt idx="0">
                  <c:v>356326342.89999998</c:v>
                </c:pt>
              </c:numCache>
            </c:numRef>
          </c:val>
          <c:extLst>
            <c:ext xmlns:c16="http://schemas.microsoft.com/office/drawing/2014/chart" uri="{C3380CC4-5D6E-409C-BE32-E72D297353CC}">
              <c16:uniqueId val="{00000005-4801-4920-AC22-BCA8D91CE0B8}"/>
            </c:ext>
          </c:extLst>
        </c:ser>
        <c:dLbls>
          <c:dLblPos val="outEnd"/>
          <c:showLegendKey val="0"/>
          <c:showVal val="1"/>
          <c:showCatName val="0"/>
          <c:showSerName val="0"/>
          <c:showPercent val="0"/>
          <c:showBubbleSize val="0"/>
        </c:dLbls>
        <c:gapWidth val="110"/>
        <c:overlap val="100"/>
        <c:axId val="339032800"/>
        <c:axId val="339026136"/>
      </c:barChart>
      <c:catAx>
        <c:axId val="339032800"/>
        <c:scaling>
          <c:orientation val="minMax"/>
        </c:scaling>
        <c:delete val="1"/>
        <c:axPos val="l"/>
        <c:numFmt formatCode="General" sourceLinked="1"/>
        <c:majorTickMark val="out"/>
        <c:minorTickMark val="none"/>
        <c:tickLblPos val="nextTo"/>
        <c:crossAx val="339026136"/>
        <c:crosses val="autoZero"/>
        <c:auto val="1"/>
        <c:lblAlgn val="ctr"/>
        <c:lblOffset val="100"/>
        <c:noMultiLvlLbl val="0"/>
      </c:catAx>
      <c:valAx>
        <c:axId val="339026136"/>
        <c:scaling>
          <c:orientation val="minMax"/>
        </c:scaling>
        <c:delete val="1"/>
        <c:axPos val="b"/>
        <c:numFmt formatCode="#,##0.00\ &quot;€&quot;" sourceLinked="1"/>
        <c:majorTickMark val="out"/>
        <c:minorTickMark val="none"/>
        <c:tickLblPos val="nextTo"/>
        <c:crossAx val="339032800"/>
        <c:crosses val="autoZero"/>
        <c:crossBetween val="between"/>
      </c:valAx>
      <c:spPr>
        <a:noFill/>
        <a:ln>
          <a:noFill/>
        </a:ln>
        <a:effectLst>
          <a:softEdge rad="63500"/>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softEdge rad="0"/>
    </a:effectLst>
  </c:spPr>
  <c:txPr>
    <a:bodyPr/>
    <a:lstStyle/>
    <a:p>
      <a:pPr>
        <a:defRPr/>
      </a:pPr>
      <a:endParaRPr lang="el-G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961439565165666E-2"/>
          <c:w val="1"/>
          <c:h val="0.93049980238838814"/>
        </c:manualLayout>
      </c:layout>
      <c:barChart>
        <c:barDir val="bar"/>
        <c:grouping val="clustered"/>
        <c:varyColors val="0"/>
        <c:ser>
          <c:idx val="0"/>
          <c:order val="0"/>
          <c:tx>
            <c:strRef>
              <c:f>Sheet1!$B$1</c:f>
              <c:strCache>
                <c:ptCount val="1"/>
                <c:pt idx="0">
                  <c:v>Column1</c:v>
                </c:pt>
              </c:strCache>
            </c:strRef>
          </c:tx>
          <c:spPr>
            <a:solidFill>
              <a:srgbClr val="104D8C"/>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c:spPr>
          <c:invertIfNegative val="0"/>
          <c:dLbls>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00\ "€"</c:formatCode>
                <c:ptCount val="1"/>
                <c:pt idx="0">
                  <c:v>62000000</c:v>
                </c:pt>
              </c:numCache>
            </c:numRef>
          </c:val>
          <c:extLst>
            <c:ext xmlns:c16="http://schemas.microsoft.com/office/drawing/2014/chart" uri="{C3380CC4-5D6E-409C-BE32-E72D297353CC}">
              <c16:uniqueId val="{00000000-E0D6-48EF-BB8B-F19AACA89348}"/>
            </c:ext>
          </c:extLst>
        </c:ser>
        <c:ser>
          <c:idx val="1"/>
          <c:order val="1"/>
          <c:tx>
            <c:strRef>
              <c:f>Sheet1!$C$1</c:f>
              <c:strCache>
                <c:ptCount val="1"/>
                <c:pt idx="0">
                  <c:v>Column3</c:v>
                </c:pt>
              </c:strCache>
            </c:strRef>
          </c:tx>
          <c:spPr>
            <a:solidFill>
              <a:srgbClr val="97CA3F"/>
            </a:solidFill>
            <a:ln>
              <a:noFill/>
            </a:ln>
            <a:effectLst/>
            <a:scene3d>
              <a:camera prst="orthographicFront">
                <a:rot lat="0" lon="0" rev="0"/>
              </a:camera>
              <a:lightRig rig="threePt" dir="t">
                <a:rot lat="0" lon="0" rev="1200000"/>
              </a:lightRig>
            </a:scene3d>
            <a:sp3d>
              <a:bevelT w="63500" h="25400"/>
            </a:sp3d>
          </c:spPr>
          <c:invertIfNegative val="0"/>
          <c:dLbls>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00\ "€"</c:formatCode>
                <c:ptCount val="1"/>
                <c:pt idx="0">
                  <c:v>30400000</c:v>
                </c:pt>
              </c:numCache>
            </c:numRef>
          </c:val>
          <c:extLst>
            <c:ext xmlns:c16="http://schemas.microsoft.com/office/drawing/2014/chart" uri="{C3380CC4-5D6E-409C-BE32-E72D297353CC}">
              <c16:uniqueId val="{00000001-E0D6-48EF-BB8B-F19AACA89348}"/>
            </c:ext>
          </c:extLst>
        </c:ser>
        <c:ser>
          <c:idx val="2"/>
          <c:order val="2"/>
          <c:tx>
            <c:strRef>
              <c:f>Sheet1!$D$1</c:f>
              <c:strCache>
                <c:ptCount val="1"/>
                <c:pt idx="0">
                  <c:v>Column4</c:v>
                </c:pt>
              </c:strCache>
            </c:strRef>
          </c:tx>
          <c:spPr>
            <a:solidFill>
              <a:srgbClr val="0CACDC"/>
            </a:solidFill>
            <a:ln>
              <a:noFill/>
            </a:ln>
            <a:effectLst/>
            <a:scene3d>
              <a:camera prst="orthographicFront">
                <a:rot lat="0" lon="0" rev="0"/>
              </a:camera>
              <a:lightRig rig="threePt" dir="t">
                <a:rot lat="0" lon="0" rev="1200000"/>
              </a:lightRig>
            </a:scene3d>
            <a:sp3d>
              <a:bevelT w="63500" h="25400"/>
            </a:sp3d>
          </c:spPr>
          <c:invertIfNegative val="0"/>
          <c:dLbls>
            <c:delete val="1"/>
          </c:dLbls>
          <c:cat>
            <c:numRef>
              <c:f>Sheet1!$A$2</c:f>
              <c:numCache>
                <c:formatCode>General</c:formatCode>
                <c:ptCount val="1"/>
              </c:numCache>
            </c:numRef>
          </c:cat>
          <c:val>
            <c:numRef>
              <c:f>Sheet1!$D$2</c:f>
              <c:numCache>
                <c:formatCode>#,##0.00\ "€"</c:formatCode>
                <c:ptCount val="1"/>
                <c:pt idx="0">
                  <c:v>0</c:v>
                </c:pt>
              </c:numCache>
            </c:numRef>
          </c:val>
          <c:extLst>
            <c:ext xmlns:c16="http://schemas.microsoft.com/office/drawing/2014/chart" uri="{C3380CC4-5D6E-409C-BE32-E72D297353CC}">
              <c16:uniqueId val="{00000002-E0D6-48EF-BB8B-F19AACA89348}"/>
            </c:ext>
          </c:extLst>
        </c:ser>
        <c:ser>
          <c:idx val="3"/>
          <c:order val="3"/>
          <c:tx>
            <c:strRef>
              <c:f>Sheet1!$E$1</c:f>
              <c:strCache>
                <c:ptCount val="1"/>
                <c:pt idx="0">
                  <c:v>Column5</c:v>
                </c:pt>
              </c:strCache>
            </c:strRef>
          </c:tx>
          <c:spPr>
            <a:solidFill>
              <a:srgbClr val="A5A5A5"/>
            </a:solidFill>
            <a:ln>
              <a:noFill/>
            </a:ln>
            <a:effectLst/>
            <a:scene3d>
              <a:camera prst="orthographicFront">
                <a:rot lat="0" lon="0" rev="0"/>
              </a:camera>
              <a:lightRig rig="threePt" dir="t">
                <a:rot lat="0" lon="0" rev="1200000"/>
              </a:lightRig>
            </a:scene3d>
            <a:sp3d>
              <a:bevelT w="63500" h="25400"/>
            </a:sp3d>
          </c:spPr>
          <c:invertIfNegative val="0"/>
          <c:dLbls>
            <c:delete val="1"/>
          </c:dLbls>
          <c:cat>
            <c:numRef>
              <c:f>Sheet1!$A$2</c:f>
              <c:numCache>
                <c:formatCode>General</c:formatCode>
                <c:ptCount val="1"/>
              </c:numCache>
            </c:numRef>
          </c:cat>
          <c:val>
            <c:numRef>
              <c:f>Sheet1!$E$2</c:f>
              <c:numCache>
                <c:formatCode>#,##0.00\ "€"</c:formatCode>
                <c:ptCount val="1"/>
                <c:pt idx="0">
                  <c:v>0</c:v>
                </c:pt>
              </c:numCache>
            </c:numRef>
          </c:val>
          <c:extLst>
            <c:ext xmlns:c16="http://schemas.microsoft.com/office/drawing/2014/chart" uri="{C3380CC4-5D6E-409C-BE32-E72D297353CC}">
              <c16:uniqueId val="{00000003-E0D6-48EF-BB8B-F19AACA89348}"/>
            </c:ext>
          </c:extLst>
        </c:ser>
        <c:dLbls>
          <c:dLblPos val="outEnd"/>
          <c:showLegendKey val="0"/>
          <c:showVal val="1"/>
          <c:showCatName val="0"/>
          <c:showSerName val="0"/>
          <c:showPercent val="0"/>
          <c:showBubbleSize val="0"/>
        </c:dLbls>
        <c:gapWidth val="110"/>
        <c:overlap val="100"/>
        <c:axId val="295663128"/>
        <c:axId val="295661560"/>
      </c:barChart>
      <c:catAx>
        <c:axId val="295663128"/>
        <c:scaling>
          <c:orientation val="maxMin"/>
        </c:scaling>
        <c:delete val="1"/>
        <c:axPos val="l"/>
        <c:numFmt formatCode="General" sourceLinked="1"/>
        <c:majorTickMark val="out"/>
        <c:minorTickMark val="none"/>
        <c:tickLblPos val="nextTo"/>
        <c:crossAx val="295661560"/>
        <c:crosses val="autoZero"/>
        <c:auto val="1"/>
        <c:lblAlgn val="ctr"/>
        <c:lblOffset val="100"/>
        <c:noMultiLvlLbl val="0"/>
      </c:catAx>
      <c:valAx>
        <c:axId val="295661560"/>
        <c:scaling>
          <c:orientation val="minMax"/>
        </c:scaling>
        <c:delete val="1"/>
        <c:axPos val="t"/>
        <c:numFmt formatCode="#,##0.00\ &quot;€&quot;" sourceLinked="1"/>
        <c:majorTickMark val="out"/>
        <c:minorTickMark val="none"/>
        <c:tickLblPos val="nextTo"/>
        <c:crossAx val="295663128"/>
        <c:crosses val="autoZero"/>
        <c:crossBetween val="between"/>
      </c:valAx>
      <c:spPr>
        <a:noFill/>
        <a:ln>
          <a:noFill/>
        </a:ln>
        <a:effectLst>
          <a:softEdge rad="63500"/>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softEdge rad="0"/>
    </a:effectLst>
  </c:spPr>
  <c:txPr>
    <a:bodyPr/>
    <a:lstStyle/>
    <a:p>
      <a:pPr>
        <a:defRPr/>
      </a:pPr>
      <a:endParaRPr lang="el-G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73418665482246E-4"/>
          <c:y val="3.2961439565165666E-2"/>
          <c:w val="0.98842464016272324"/>
          <c:h val="0.93049980238838814"/>
        </c:manualLayout>
      </c:layout>
      <c:barChart>
        <c:barDir val="bar"/>
        <c:grouping val="clustered"/>
        <c:varyColors val="0"/>
        <c:ser>
          <c:idx val="0"/>
          <c:order val="0"/>
          <c:tx>
            <c:strRef>
              <c:f>Sheet1!$B$1</c:f>
              <c:strCache>
                <c:ptCount val="1"/>
                <c:pt idx="0">
                  <c:v>Column1</c:v>
                </c:pt>
              </c:strCache>
            </c:strRef>
          </c:tx>
          <c:spPr>
            <a:solidFill>
              <a:srgbClr val="104D8C"/>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c:spPr>
          <c:invertIfNegative val="0"/>
          <c:dLbls>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00\ "€"</c:formatCode>
                <c:ptCount val="1"/>
                <c:pt idx="0">
                  <c:v>88746200</c:v>
                </c:pt>
              </c:numCache>
            </c:numRef>
          </c:val>
          <c:extLst>
            <c:ext xmlns:c16="http://schemas.microsoft.com/office/drawing/2014/chart" uri="{C3380CC4-5D6E-409C-BE32-E72D297353CC}">
              <c16:uniqueId val="{00000000-CCE9-474B-B7F5-0CFE4989ABCB}"/>
            </c:ext>
          </c:extLst>
        </c:ser>
        <c:ser>
          <c:idx val="1"/>
          <c:order val="1"/>
          <c:tx>
            <c:strRef>
              <c:f>Sheet1!$C$1</c:f>
              <c:strCache>
                <c:ptCount val="1"/>
                <c:pt idx="0">
                  <c:v>Column3</c:v>
                </c:pt>
              </c:strCache>
            </c:strRef>
          </c:tx>
          <c:spPr>
            <a:solidFill>
              <a:srgbClr val="97CA3F"/>
            </a:solidFill>
            <a:ln>
              <a:noFill/>
            </a:ln>
            <a:effectLst/>
            <a:scene3d>
              <a:camera prst="orthographicFront">
                <a:rot lat="0" lon="0" rev="0"/>
              </a:camera>
              <a:lightRig rig="threePt" dir="t">
                <a:rot lat="0" lon="0" rev="1200000"/>
              </a:lightRig>
            </a:scene3d>
            <a:sp3d>
              <a:bevelT w="63500" h="25400"/>
            </a:sp3d>
          </c:spPr>
          <c:invertIfNegative val="0"/>
          <c:dLbls>
            <c:delete val="1"/>
          </c:dLbls>
          <c:cat>
            <c:numRef>
              <c:f>Sheet1!$A$2</c:f>
              <c:numCache>
                <c:formatCode>General</c:formatCode>
                <c:ptCount val="1"/>
              </c:numCache>
            </c:numRef>
          </c:cat>
          <c:val>
            <c:numRef>
              <c:f>Sheet1!$C$2</c:f>
              <c:numCache>
                <c:formatCode>#,##0.00\ "€"</c:formatCode>
                <c:ptCount val="1"/>
                <c:pt idx="0">
                  <c:v>0</c:v>
                </c:pt>
              </c:numCache>
            </c:numRef>
          </c:val>
          <c:extLst>
            <c:ext xmlns:c16="http://schemas.microsoft.com/office/drawing/2014/chart" uri="{C3380CC4-5D6E-409C-BE32-E72D297353CC}">
              <c16:uniqueId val="{00000001-CCE9-474B-B7F5-0CFE4989ABCB}"/>
            </c:ext>
          </c:extLst>
        </c:ser>
        <c:ser>
          <c:idx val="2"/>
          <c:order val="2"/>
          <c:tx>
            <c:strRef>
              <c:f>Sheet1!$D$1</c:f>
              <c:strCache>
                <c:ptCount val="1"/>
                <c:pt idx="0">
                  <c:v>Column4</c:v>
                </c:pt>
              </c:strCache>
            </c:strRef>
          </c:tx>
          <c:spPr>
            <a:solidFill>
              <a:srgbClr val="0CACDC"/>
            </a:solidFill>
            <a:ln>
              <a:noFill/>
            </a:ln>
            <a:effectLst/>
            <a:scene3d>
              <a:camera prst="orthographicFront">
                <a:rot lat="0" lon="0" rev="0"/>
              </a:camera>
              <a:lightRig rig="threePt" dir="t">
                <a:rot lat="0" lon="0" rev="1200000"/>
              </a:lightRig>
            </a:scene3d>
            <a:sp3d>
              <a:bevelT w="63500" h="25400"/>
            </a:sp3d>
          </c:spPr>
          <c:invertIfNegative val="0"/>
          <c:dLbls>
            <c:dLbl>
              <c:idx val="0"/>
              <c:layout>
                <c:manualLayout>
                  <c:x val="-9.28787428567453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CE9-474B-B7F5-0CFE4989ABCB}"/>
                </c:ext>
              </c:extLst>
            </c:dLbl>
            <c:numFmt formatCode="#,,\ &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00\ "€"</c:formatCode>
                <c:ptCount val="1"/>
              </c:numCache>
            </c:numRef>
          </c:val>
          <c:extLst>
            <c:ext xmlns:c16="http://schemas.microsoft.com/office/drawing/2014/chart" uri="{C3380CC4-5D6E-409C-BE32-E72D297353CC}">
              <c16:uniqueId val="{00000003-CCE9-474B-B7F5-0CFE4989ABCB}"/>
            </c:ext>
          </c:extLst>
        </c:ser>
        <c:ser>
          <c:idx val="3"/>
          <c:order val="3"/>
          <c:tx>
            <c:strRef>
              <c:f>Sheet1!$E$1</c:f>
              <c:strCache>
                <c:ptCount val="1"/>
                <c:pt idx="0">
                  <c:v>Column5</c:v>
                </c:pt>
              </c:strCache>
            </c:strRef>
          </c:tx>
          <c:spPr>
            <a:solidFill>
              <a:srgbClr val="A5A5A5"/>
            </a:solidFill>
            <a:ln>
              <a:noFill/>
            </a:ln>
            <a:effectLst/>
            <a:scene3d>
              <a:camera prst="orthographicFront">
                <a:rot lat="0" lon="0" rev="0"/>
              </a:camera>
              <a:lightRig rig="threePt" dir="t">
                <a:rot lat="0" lon="0" rev="1200000"/>
              </a:lightRig>
            </a:scene3d>
            <a:sp3d>
              <a:bevelT w="63500" h="25400"/>
            </a:sp3d>
          </c:spPr>
          <c:invertIfNegative val="0"/>
          <c:dLbls>
            <c:numFmt formatCode="#,,\ &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00\ "€"</c:formatCode>
                <c:ptCount val="1"/>
              </c:numCache>
            </c:numRef>
          </c:val>
          <c:extLst>
            <c:ext xmlns:c16="http://schemas.microsoft.com/office/drawing/2014/chart" uri="{C3380CC4-5D6E-409C-BE32-E72D297353CC}">
              <c16:uniqueId val="{00000004-CCE9-474B-B7F5-0CFE4989ABCB}"/>
            </c:ext>
          </c:extLst>
        </c:ser>
        <c:dLbls>
          <c:dLblPos val="outEnd"/>
          <c:showLegendKey val="0"/>
          <c:showVal val="1"/>
          <c:showCatName val="0"/>
          <c:showSerName val="0"/>
          <c:showPercent val="0"/>
          <c:showBubbleSize val="0"/>
        </c:dLbls>
        <c:gapWidth val="110"/>
        <c:overlap val="100"/>
        <c:axId val="295665088"/>
        <c:axId val="342897384"/>
      </c:barChart>
      <c:catAx>
        <c:axId val="295665088"/>
        <c:scaling>
          <c:orientation val="maxMin"/>
        </c:scaling>
        <c:delete val="1"/>
        <c:axPos val="l"/>
        <c:numFmt formatCode="General" sourceLinked="1"/>
        <c:majorTickMark val="out"/>
        <c:minorTickMark val="none"/>
        <c:tickLblPos val="nextTo"/>
        <c:crossAx val="342897384"/>
        <c:crosses val="autoZero"/>
        <c:auto val="1"/>
        <c:lblAlgn val="ctr"/>
        <c:lblOffset val="100"/>
        <c:noMultiLvlLbl val="0"/>
      </c:catAx>
      <c:valAx>
        <c:axId val="342897384"/>
        <c:scaling>
          <c:orientation val="minMax"/>
        </c:scaling>
        <c:delete val="1"/>
        <c:axPos val="t"/>
        <c:numFmt formatCode="#,##0.00\ &quot;€&quot;" sourceLinked="1"/>
        <c:majorTickMark val="out"/>
        <c:minorTickMark val="none"/>
        <c:tickLblPos val="nextTo"/>
        <c:crossAx val="295665088"/>
        <c:crosses val="autoZero"/>
        <c:crossBetween val="between"/>
      </c:valAx>
      <c:spPr>
        <a:noFill/>
        <a:ln>
          <a:noFill/>
        </a:ln>
        <a:effectLst>
          <a:softEdge rad="63500"/>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softEdge rad="0"/>
    </a:effectLst>
  </c:spPr>
  <c:txPr>
    <a:bodyPr/>
    <a:lstStyle/>
    <a:p>
      <a:pPr>
        <a:defRPr/>
      </a:pPr>
      <a:endParaRPr lang="el-G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94757338796851E-3"/>
          <c:y val="0"/>
          <c:w val="0.99505671810881835"/>
          <c:h val="1"/>
        </c:manualLayout>
      </c:layout>
      <c:barChart>
        <c:barDir val="bar"/>
        <c:grouping val="clustered"/>
        <c:varyColors val="0"/>
        <c:ser>
          <c:idx val="0"/>
          <c:order val="0"/>
          <c:tx>
            <c:strRef>
              <c:f>Sheet1!$B$1</c:f>
              <c:strCache>
                <c:ptCount val="1"/>
                <c:pt idx="0">
                  <c:v>Column1</c:v>
                </c:pt>
              </c:strCache>
            </c:strRef>
          </c:tx>
          <c:spPr>
            <a:solidFill>
              <a:srgbClr val="104D8C"/>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c:spPr>
          <c:invertIfNegative val="0"/>
          <c:dLbls>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00\ "€"</c:formatCode>
                <c:ptCount val="1"/>
                <c:pt idx="0">
                  <c:v>64632343</c:v>
                </c:pt>
              </c:numCache>
            </c:numRef>
          </c:val>
          <c:extLst>
            <c:ext xmlns:c16="http://schemas.microsoft.com/office/drawing/2014/chart" uri="{C3380CC4-5D6E-409C-BE32-E72D297353CC}">
              <c16:uniqueId val="{00000000-77EC-47A2-8418-7706C7CC9498}"/>
            </c:ext>
          </c:extLst>
        </c:ser>
        <c:ser>
          <c:idx val="1"/>
          <c:order val="1"/>
          <c:tx>
            <c:strRef>
              <c:f>Sheet1!$C$1</c:f>
              <c:strCache>
                <c:ptCount val="1"/>
                <c:pt idx="0">
                  <c:v>Column3</c:v>
                </c:pt>
              </c:strCache>
            </c:strRef>
          </c:tx>
          <c:spPr>
            <a:solidFill>
              <a:srgbClr val="97CA3F"/>
            </a:solidFill>
            <a:ln>
              <a:noFill/>
            </a:ln>
            <a:effectLst/>
            <a:scene3d>
              <a:camera prst="orthographicFront">
                <a:rot lat="0" lon="0" rev="0"/>
              </a:camera>
              <a:lightRig rig="threePt" dir="t">
                <a:rot lat="0" lon="0" rev="1200000"/>
              </a:lightRig>
            </a:scene3d>
            <a:sp3d>
              <a:bevelT w="63500" h="25400"/>
            </a:sp3d>
          </c:spPr>
          <c:invertIfNegative val="0"/>
          <c:dLbls>
            <c:dLbl>
              <c:idx val="0"/>
              <c:layout>
                <c:manualLayout>
                  <c:x val="1.3676741597082653E-2"/>
                  <c:y val="0.37769369435319311"/>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77EC-47A2-8418-7706C7CC9498}"/>
                </c:ext>
              </c:extLst>
            </c:dLbl>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A2D647"/>
                    </a:solidFill>
                    <a:latin typeface="Arial" panose="020B0604020202020204" pitchFamily="34" charset="0"/>
                    <a:ea typeface="+mn-ea"/>
                    <a:cs typeface="Arial" panose="020B0604020202020204" pitchFamily="34" charset="0"/>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C$2</c:f>
              <c:numCache>
                <c:formatCode>#,##0.00\ "€"</c:formatCode>
                <c:ptCount val="1"/>
                <c:pt idx="0">
                  <c:v>44500000</c:v>
                </c:pt>
              </c:numCache>
            </c:numRef>
          </c:val>
          <c:extLst>
            <c:ext xmlns:c16="http://schemas.microsoft.com/office/drawing/2014/chart" uri="{C3380CC4-5D6E-409C-BE32-E72D297353CC}">
              <c16:uniqueId val="{00000002-77EC-47A2-8418-7706C7CC9498}"/>
            </c:ext>
          </c:extLst>
        </c:ser>
        <c:ser>
          <c:idx val="2"/>
          <c:order val="2"/>
          <c:tx>
            <c:strRef>
              <c:f>Sheet1!$D$1</c:f>
              <c:strCache>
                <c:ptCount val="1"/>
                <c:pt idx="0">
                  <c:v>Column4</c:v>
                </c:pt>
              </c:strCache>
            </c:strRef>
          </c:tx>
          <c:spPr>
            <a:solidFill>
              <a:srgbClr val="0CACDC"/>
            </a:solidFill>
            <a:ln>
              <a:noFill/>
            </a:ln>
            <a:effectLst/>
            <a:scene3d>
              <a:camera prst="orthographicFront">
                <a:rot lat="0" lon="0" rev="0"/>
              </a:camera>
              <a:lightRig rig="threePt" dir="t">
                <a:rot lat="0" lon="0" rev="1200000"/>
              </a:lightRig>
            </a:scene3d>
            <a:sp3d>
              <a:bevelT w="63500" h="25400"/>
            </a:sp3d>
          </c:spPr>
          <c:invertIfNegative val="0"/>
          <c:dLbls>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00\ "€"</c:formatCode>
                <c:ptCount val="1"/>
                <c:pt idx="0">
                  <c:v>43400000</c:v>
                </c:pt>
              </c:numCache>
            </c:numRef>
          </c:val>
          <c:extLst>
            <c:ext xmlns:c16="http://schemas.microsoft.com/office/drawing/2014/chart" uri="{C3380CC4-5D6E-409C-BE32-E72D297353CC}">
              <c16:uniqueId val="{00000003-77EC-47A2-8418-7706C7CC9498}"/>
            </c:ext>
          </c:extLst>
        </c:ser>
        <c:ser>
          <c:idx val="3"/>
          <c:order val="3"/>
          <c:tx>
            <c:strRef>
              <c:f>Sheet1!$E$1</c:f>
              <c:strCache>
                <c:ptCount val="1"/>
                <c:pt idx="0">
                  <c:v>Column5</c:v>
                </c:pt>
              </c:strCache>
            </c:strRef>
          </c:tx>
          <c:spPr>
            <a:solidFill>
              <a:srgbClr val="F4B183"/>
            </a:solidFill>
            <a:ln>
              <a:noFill/>
            </a:ln>
            <a:effectLst/>
            <a:scene3d>
              <a:camera prst="orthographicFront">
                <a:rot lat="0" lon="0" rev="0"/>
              </a:camera>
              <a:lightRig rig="threePt" dir="t">
                <a:rot lat="0" lon="0" rev="1200000"/>
              </a:lightRig>
            </a:scene3d>
            <a:sp3d>
              <a:bevelT w="63500" h="25400"/>
            </a:sp3d>
          </c:spPr>
          <c:invertIfNegative val="0"/>
          <c:dLbls>
            <c:dLbl>
              <c:idx val="0"/>
              <c:layout>
                <c:manualLayout>
                  <c:x val="-0.1107038002764963"/>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77EC-47A2-8418-7706C7CC9498}"/>
                </c:ext>
              </c:extLst>
            </c:dLbl>
            <c:numFmt formatCode="#,,\ "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l-G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00\ "€"</c:formatCode>
                <c:ptCount val="1"/>
                <c:pt idx="0">
                  <c:v>29242434.460000001</c:v>
                </c:pt>
              </c:numCache>
            </c:numRef>
          </c:val>
          <c:extLst>
            <c:ext xmlns:c16="http://schemas.microsoft.com/office/drawing/2014/chart" uri="{C3380CC4-5D6E-409C-BE32-E72D297353CC}">
              <c16:uniqueId val="{00000005-77EC-47A2-8418-7706C7CC9498}"/>
            </c:ext>
          </c:extLst>
        </c:ser>
        <c:dLbls>
          <c:dLblPos val="outEnd"/>
          <c:showLegendKey val="0"/>
          <c:showVal val="1"/>
          <c:showCatName val="0"/>
          <c:showSerName val="0"/>
          <c:showPercent val="0"/>
          <c:showBubbleSize val="0"/>
        </c:dLbls>
        <c:gapWidth val="110"/>
        <c:overlap val="100"/>
        <c:axId val="342898560"/>
        <c:axId val="342899736"/>
      </c:barChart>
      <c:catAx>
        <c:axId val="342898560"/>
        <c:scaling>
          <c:orientation val="maxMin"/>
        </c:scaling>
        <c:delete val="1"/>
        <c:axPos val="l"/>
        <c:numFmt formatCode="General" sourceLinked="1"/>
        <c:majorTickMark val="out"/>
        <c:minorTickMark val="none"/>
        <c:tickLblPos val="nextTo"/>
        <c:crossAx val="342899736"/>
        <c:crosses val="autoZero"/>
        <c:auto val="1"/>
        <c:lblAlgn val="ctr"/>
        <c:lblOffset val="100"/>
        <c:noMultiLvlLbl val="0"/>
      </c:catAx>
      <c:valAx>
        <c:axId val="342899736"/>
        <c:scaling>
          <c:orientation val="minMax"/>
        </c:scaling>
        <c:delete val="1"/>
        <c:axPos val="t"/>
        <c:numFmt formatCode="#,##0.00\ &quot;€&quot;" sourceLinked="1"/>
        <c:majorTickMark val="out"/>
        <c:minorTickMark val="none"/>
        <c:tickLblPos val="nextTo"/>
        <c:crossAx val="342898560"/>
        <c:crosses val="autoZero"/>
        <c:crossBetween val="between"/>
      </c:valAx>
      <c:spPr>
        <a:noFill/>
        <a:ln>
          <a:noFill/>
        </a:ln>
        <a:effectLst>
          <a:softEdge rad="63500"/>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softEdge rad="0"/>
    </a:effectLst>
  </c:spPr>
  <c:txPr>
    <a:bodyPr/>
    <a:lstStyle/>
    <a:p>
      <a:pPr>
        <a:defRPr/>
      </a:pPr>
      <a:endParaRPr lang="el-GR"/>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53202966958867E-2"/>
          <c:y val="0"/>
          <c:w val="0.96493594066082267"/>
          <c:h val="0.94291197398567572"/>
        </c:manualLayout>
      </c:layout>
      <c:barChart>
        <c:barDir val="col"/>
        <c:grouping val="clustered"/>
        <c:varyColors val="0"/>
        <c:ser>
          <c:idx val="0"/>
          <c:order val="0"/>
          <c:spPr>
            <a:solidFill>
              <a:srgbClr val="104D8C"/>
            </a:solidFill>
            <a:ln w="9525" cmpd="sng" algn="ctr">
              <a:solidFill>
                <a:srgbClr val="FFFFFF"/>
              </a:solidFill>
              <a:prstDash val="solid"/>
            </a:ln>
          </c:spPr>
          <c:invertIfNegative val="0"/>
          <c:dLbls>
            <c:numFmt formatCode="#,##0,,\ &quot;εκ.&quot;\ &quot;€&quot;" sourceLinked="0"/>
            <c:spPr>
              <a:noFill/>
              <a:ln>
                <a:noFill/>
              </a:ln>
              <a:effectLst/>
            </c:spPr>
            <c:txPr>
              <a:bodyPr wrap="square" lIns="38100" tIns="19050" rIns="38100" bIns="19050" anchor="ctr">
                <a:spAutoFit/>
              </a:bodyPr>
              <a:lstStyle/>
              <a:p>
                <a:pPr>
                  <a:defRPr sz="1100" b="1">
                    <a:latin typeface="Arial" panose="020B0604020202020204" pitchFamily="34" charset="0"/>
                    <a:cs typeface="Arial" panose="020B0604020202020204" pitchFamily="34" charset="0"/>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val>
            <c:numRef>
              <c:f>Sheet1!$A$1</c:f>
              <c:numCache>
                <c:formatCode>"€"#,##0.00_);[Red]\("€"#,##0.00\)</c:formatCode>
                <c:ptCount val="1"/>
                <c:pt idx="0">
                  <c:v>1026688743</c:v>
                </c:pt>
              </c:numCache>
            </c:numRef>
          </c:val>
          <c:extLst>
            <c:ext xmlns:c16="http://schemas.microsoft.com/office/drawing/2014/chart" uri="{C3380CC4-5D6E-409C-BE32-E72D297353CC}">
              <c16:uniqueId val="{00000001-DAFD-4725-B9AB-448C371E79D6}"/>
            </c:ext>
          </c:extLst>
        </c:ser>
        <c:ser>
          <c:idx val="1"/>
          <c:order val="1"/>
          <c:spPr>
            <a:solidFill>
              <a:schemeClr val="bg1">
                <a:lumMod val="65000"/>
              </a:schemeClr>
            </a:solidFill>
            <a:ln w="9525" cmpd="sng" algn="ctr">
              <a:solidFill>
                <a:srgbClr val="FFFFFF"/>
              </a:solidFill>
              <a:prstDash val="solid"/>
            </a:ln>
          </c:spPr>
          <c:invertIfNegative val="0"/>
          <c:dLbls>
            <c:numFmt formatCode="#,##0,,\ &quot;εκ.&quot;\ &quot;€&quot;" sourceLinked="0"/>
            <c:spPr>
              <a:noFill/>
              <a:ln>
                <a:noFill/>
              </a:ln>
              <a:effectLst/>
            </c:spPr>
            <c:txPr>
              <a:bodyPr wrap="square" lIns="38100" tIns="19050" rIns="38100" bIns="19050" anchor="ctr" anchorCtr="0">
                <a:spAutoFit/>
              </a:bodyPr>
              <a:lstStyle/>
              <a:p>
                <a:pPr algn="ctr">
                  <a:defRPr lang="en-US"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val>
            <c:numRef>
              <c:f>Sheet1!$A$2</c:f>
              <c:numCache>
                <c:formatCode>"€"#,##0.00_);[Red]\("€"#,##0.00\)</c:formatCode>
                <c:ptCount val="1"/>
                <c:pt idx="0">
                  <c:v>685073514.04999995</c:v>
                </c:pt>
              </c:numCache>
            </c:numRef>
          </c:val>
          <c:extLst>
            <c:ext xmlns:c16="http://schemas.microsoft.com/office/drawing/2014/chart" uri="{C3380CC4-5D6E-409C-BE32-E72D297353CC}">
              <c16:uniqueId val="{00000003-DAFD-4725-B9AB-448C371E79D6}"/>
            </c:ext>
          </c:extLst>
        </c:ser>
        <c:ser>
          <c:idx val="2"/>
          <c:order val="2"/>
          <c:spPr>
            <a:solidFill>
              <a:srgbClr val="92D050"/>
            </a:solidFill>
            <a:ln w="9525" cmpd="sng" algn="ctr">
              <a:solidFill>
                <a:srgbClr val="FFFFFF"/>
              </a:solidFill>
              <a:prstDash val="solid"/>
            </a:ln>
          </c:spPr>
          <c:invertIfNegative val="0"/>
          <c:dLbls>
            <c:dLbl>
              <c:idx val="0"/>
              <c:layout>
                <c:manualLayout>
                  <c:x val="-5.7750235733779071E-17"/>
                  <c:y val="2.2567072627177449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6D13-46C8-88AB-F1ABC6528556}"/>
                </c:ext>
              </c:extLst>
            </c:dLbl>
            <c:numFmt formatCode="#,##0,,\ &quot;εκ.&quot;\ &quot;€&quot;" sourceLinked="0"/>
            <c:spPr>
              <a:noFill/>
              <a:ln>
                <a:noFill/>
              </a:ln>
              <a:effectLst/>
            </c:spPr>
            <c:txPr>
              <a:bodyPr wrap="square" lIns="38100" tIns="19050" rIns="38100" bIns="19050" anchor="ctr">
                <a:spAutoFit/>
              </a:bodyPr>
              <a:lstStyle/>
              <a:p>
                <a:pPr>
                  <a:defRPr sz="1100" b="1">
                    <a:latin typeface="Arial" panose="020B0604020202020204" pitchFamily="34" charset="0"/>
                    <a:cs typeface="Arial" panose="020B0604020202020204" pitchFamily="34" charset="0"/>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c:f>
              <c:numCache>
                <c:formatCode>"€"#,##0.00_);[Red]\("€"#,##0.00\)</c:formatCode>
                <c:ptCount val="1"/>
                <c:pt idx="0">
                  <c:v>651419517</c:v>
                </c:pt>
              </c:numCache>
            </c:numRef>
          </c:val>
          <c:extLst>
            <c:ext xmlns:c16="http://schemas.microsoft.com/office/drawing/2014/chart" uri="{C3380CC4-5D6E-409C-BE32-E72D297353CC}">
              <c16:uniqueId val="{00000005-DAFD-4725-B9AB-448C371E79D6}"/>
            </c:ext>
          </c:extLst>
        </c:ser>
        <c:ser>
          <c:idx val="3"/>
          <c:order val="3"/>
          <c:spPr>
            <a:solidFill>
              <a:srgbClr val="0CACDC"/>
            </a:solidFill>
            <a:ln w="9525" cmpd="sng" algn="ctr">
              <a:solidFill>
                <a:srgbClr val="FFFFFF"/>
              </a:solidFill>
              <a:prstDash val="solid"/>
            </a:ln>
          </c:spPr>
          <c:invertIfNegative val="0"/>
          <c:dLbls>
            <c:dLbl>
              <c:idx val="0"/>
              <c:layout>
                <c:manualLayout>
                  <c:x val="1.5750246237117294E-2"/>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6D13-46C8-88AB-F1ABC6528556}"/>
                </c:ext>
              </c:extLst>
            </c:dLbl>
            <c:numFmt formatCode="#,##0,,\ &quot;εκ.&quot;\ &quot;€&quot;" sourceLinked="0"/>
            <c:spPr>
              <a:noFill/>
              <a:ln>
                <a:noFill/>
              </a:ln>
              <a:effectLst/>
            </c:spPr>
            <c:txPr>
              <a:bodyPr wrap="square" lIns="38100" tIns="19050" rIns="38100" bIns="19050" anchor="ctr">
                <a:spAutoFit/>
              </a:bodyPr>
              <a:lstStyle/>
              <a:p>
                <a:pPr>
                  <a:defRPr sz="1100" b="1">
                    <a:latin typeface="Arial" panose="020B0604020202020204" pitchFamily="34" charset="0"/>
                    <a:cs typeface="Arial" panose="020B0604020202020204" pitchFamily="34" charset="0"/>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c:f>
              <c:numCache>
                <c:formatCode>"€"#,##0.00_);[Red]\("€"#,##0.00\)</c:formatCode>
                <c:ptCount val="1"/>
                <c:pt idx="0">
                  <c:v>575887590.17999995</c:v>
                </c:pt>
              </c:numCache>
            </c:numRef>
          </c:val>
          <c:extLst>
            <c:ext xmlns:c16="http://schemas.microsoft.com/office/drawing/2014/chart" uri="{C3380CC4-5D6E-409C-BE32-E72D297353CC}">
              <c16:uniqueId val="{00000007-DAFD-4725-B9AB-448C371E79D6}"/>
            </c:ext>
          </c:extLst>
        </c:ser>
        <c:ser>
          <c:idx val="4"/>
          <c:order val="4"/>
          <c:spPr>
            <a:solidFill>
              <a:srgbClr val="F4B183"/>
            </a:solidFill>
          </c:spPr>
          <c:invertIfNegative val="0"/>
          <c:dLbls>
            <c:dLbl>
              <c:idx val="0"/>
              <c:layout>
                <c:manualLayout>
                  <c:x val="2.205034473196418E-2"/>
                  <c:y val="3.7611787711962414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6D13-46C8-88AB-F1ABC6528556}"/>
                </c:ext>
              </c:extLst>
            </c:dLbl>
            <c:numFmt formatCode="#,##0,,\ &quot;εκ.&quot;\ &quot;€&quot;" sourceLinked="0"/>
            <c:spPr>
              <a:noFill/>
              <a:ln>
                <a:noFill/>
              </a:ln>
              <a:effectLst/>
            </c:spPr>
            <c:txPr>
              <a:bodyPr wrap="square" lIns="38100" tIns="19050" rIns="38100" bIns="19050" anchor="ctr">
                <a:spAutoFit/>
              </a:bodyPr>
              <a:lstStyle/>
              <a:p>
                <a:pPr>
                  <a:defRPr sz="1100" b="1">
                    <a:latin typeface="Arial" panose="020B0604020202020204" pitchFamily="34" charset="0"/>
                    <a:cs typeface="Arial" panose="020B0604020202020204" pitchFamily="34" charset="0"/>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c:f>
              <c:numCache>
                <c:formatCode>"€"#,##0.00_);[Red]\("€"#,##0.00\)</c:formatCode>
                <c:ptCount val="1"/>
                <c:pt idx="0">
                  <c:v>417563119.56999999</c:v>
                </c:pt>
              </c:numCache>
            </c:numRef>
          </c:val>
          <c:extLst>
            <c:ext xmlns:c16="http://schemas.microsoft.com/office/drawing/2014/chart" uri="{C3380CC4-5D6E-409C-BE32-E72D297353CC}">
              <c16:uniqueId val="{00000000-A160-4B09-9BA9-41CA3501BD65}"/>
            </c:ext>
          </c:extLst>
        </c:ser>
        <c:ser>
          <c:idx val="5"/>
          <c:order val="5"/>
          <c:spPr>
            <a:solidFill>
              <a:srgbClr val="5089BC"/>
            </a:solidFill>
          </c:spPr>
          <c:invertIfNegative val="0"/>
          <c:dLbls>
            <c:dLbl>
              <c:idx val="0"/>
              <c:layout>
                <c:manualLayout>
                  <c:x val="1.5750246237117353E-2"/>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6D13-46C8-88AB-F1ABC6528556}"/>
                </c:ext>
              </c:extLst>
            </c:dLbl>
            <c:numFmt formatCode="#,##0,,\ &quot;εκ.&quot;\ &quot;€&quot;" sourceLinked="0"/>
            <c:spPr>
              <a:noFill/>
              <a:ln>
                <a:noFill/>
              </a:ln>
              <a:effectLst/>
            </c:spPr>
            <c:txPr>
              <a:bodyPr wrap="square" lIns="38100" tIns="19050" rIns="38100" bIns="19050" anchor="ctr">
                <a:spAutoFit/>
              </a:bodyPr>
              <a:lstStyle/>
              <a:p>
                <a:pPr>
                  <a:defRPr sz="1100" b="1">
                    <a:latin typeface="Arial" panose="020B0604020202020204" pitchFamily="34" charset="0"/>
                    <a:cs typeface="Arial" panose="020B0604020202020204" pitchFamily="34" charset="0"/>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6</c:f>
              <c:numCache>
                <c:formatCode>"€"#,##0.00_);[Red]\("€"#,##0.00\)</c:formatCode>
                <c:ptCount val="1"/>
                <c:pt idx="0">
                  <c:v>49006344.460000001</c:v>
                </c:pt>
              </c:numCache>
            </c:numRef>
          </c:val>
          <c:extLst>
            <c:ext xmlns:c16="http://schemas.microsoft.com/office/drawing/2014/chart" uri="{C3380CC4-5D6E-409C-BE32-E72D297353CC}">
              <c16:uniqueId val="{00000001-A160-4B09-9BA9-41CA3501BD65}"/>
            </c:ext>
          </c:extLst>
        </c:ser>
        <c:dLbls>
          <c:dLblPos val="outEnd"/>
          <c:showLegendKey val="0"/>
          <c:showVal val="1"/>
          <c:showCatName val="0"/>
          <c:showSerName val="0"/>
          <c:showPercent val="0"/>
          <c:showBubbleSize val="0"/>
        </c:dLbls>
        <c:gapWidth val="80"/>
        <c:axId val="967933791"/>
        <c:axId val="1"/>
      </c:barChart>
      <c:catAx>
        <c:axId val="967933791"/>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scaling>
        <c:delete val="1"/>
        <c:axPos val="l"/>
        <c:numFmt formatCode="&quot;€&quot;#,##0.00_);[Red]\(&quot;€&quot;#,##0.00\)" sourceLinked="1"/>
        <c:majorTickMark val="out"/>
        <c:minorTickMark val="none"/>
        <c:tickLblPos val="nextTo"/>
        <c:crossAx val="967933791"/>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rgbClr val="A6A6A6"/>
                </a:solidFill>
                <a:latin typeface="Arial" panose="020B0604020202020204" pitchFamily="34" charset="0"/>
                <a:ea typeface="+mn-ea"/>
                <a:cs typeface="Arial" panose="020B0604020202020204" pitchFamily="34" charset="0"/>
              </a:defRPr>
            </a:pPr>
            <a:r>
              <a:rPr lang="el-GR" sz="1800" b="1">
                <a:solidFill>
                  <a:srgbClr val="A6A6A6"/>
                </a:solidFill>
                <a:latin typeface="Arial" panose="020B0604020202020204" pitchFamily="34" charset="0"/>
                <a:cs typeface="Arial" panose="020B0604020202020204" pitchFamily="34" charset="0"/>
              </a:rPr>
              <a:t>Εξειδικεύσεις</a:t>
            </a:r>
            <a:endParaRPr lang="en-US" sz="1800" b="1">
              <a:solidFill>
                <a:srgbClr val="A6A6A6"/>
              </a:solidFill>
              <a:latin typeface="Arial" panose="020B0604020202020204" pitchFamily="34" charset="0"/>
              <a:cs typeface="Arial" panose="020B0604020202020204" pitchFamily="34" charset="0"/>
            </a:endParaRPr>
          </a:p>
        </c:rich>
      </c:tx>
      <c:layout>
        <c:manualLayout>
          <c:xMode val="edge"/>
          <c:yMode val="edge"/>
          <c:x val="0.28074103265159855"/>
          <c:y val="2.4203958691910499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rgbClr val="A6A6A6"/>
              </a:solidFill>
              <a:latin typeface="Arial" panose="020B0604020202020204" pitchFamily="34" charset="0"/>
              <a:ea typeface="+mn-ea"/>
              <a:cs typeface="Arial" panose="020B0604020202020204" pitchFamily="34" charset="0"/>
            </a:defRPr>
          </a:pPr>
          <a:endParaRPr lang="el-GR"/>
        </a:p>
      </c:txPr>
    </c:title>
    <c:autoTitleDeleted val="0"/>
    <c:plotArea>
      <c:layout/>
      <c:doughnutChart>
        <c:varyColors val="1"/>
        <c:ser>
          <c:idx val="0"/>
          <c:order val="0"/>
          <c:tx>
            <c:strRef>
              <c:f>Sheet1!$B$1</c:f>
              <c:strCache>
                <c:ptCount val="1"/>
                <c:pt idx="0">
                  <c:v>Sales</c:v>
                </c:pt>
              </c:strCache>
            </c:strRef>
          </c:tx>
          <c:spPr>
            <a:solidFill>
              <a:schemeClr val="bg1"/>
            </a:solidFill>
            <a:ln>
              <a:noFill/>
            </a:ln>
          </c:spPr>
          <c:dPt>
            <c:idx val="0"/>
            <c:bubble3D val="0"/>
            <c:spPr>
              <a:noFill/>
              <a:ln w="19050">
                <a:noFill/>
              </a:ln>
              <a:effectLst/>
            </c:spPr>
            <c:extLst>
              <c:ext xmlns:c16="http://schemas.microsoft.com/office/drawing/2014/chart" uri="{C3380CC4-5D6E-409C-BE32-E72D297353CC}">
                <c16:uniqueId val="{00000001-ADF9-4510-B0BF-B576F04F0A61}"/>
              </c:ext>
            </c:extLst>
          </c:dPt>
          <c:dPt>
            <c:idx val="1"/>
            <c:bubble3D val="0"/>
            <c:spPr>
              <a:solidFill>
                <a:srgbClr val="A6A6A6"/>
              </a:solidFill>
              <a:ln w="19050">
                <a:solidFill>
                  <a:srgbClr val="A6A6A6"/>
                </a:solidFill>
              </a:ln>
              <a:effectLst/>
            </c:spPr>
            <c:extLst>
              <c:ext xmlns:c16="http://schemas.microsoft.com/office/drawing/2014/chart" uri="{C3380CC4-5D6E-409C-BE32-E72D297353CC}">
                <c16:uniqueId val="{00000003-ADF9-4510-B0BF-B576F04F0A61}"/>
              </c:ext>
            </c:extLst>
          </c:dPt>
          <c:dPt>
            <c:idx val="2"/>
            <c:bubble3D val="0"/>
            <c:spPr>
              <a:solidFill>
                <a:schemeClr val="bg1"/>
              </a:solidFill>
              <a:ln w="19050">
                <a:solidFill>
                  <a:srgbClr val="A6A6A6"/>
                </a:solidFill>
              </a:ln>
              <a:effectLst/>
            </c:spPr>
            <c:extLst>
              <c:ext xmlns:c16="http://schemas.microsoft.com/office/drawing/2014/chart" uri="{C3380CC4-5D6E-409C-BE32-E72D297353CC}">
                <c16:uniqueId val="{00000005-ADF9-4510-B0BF-B576F04F0A61}"/>
              </c:ext>
            </c:extLst>
          </c:dPt>
          <c:cat>
            <c:strRef>
              <c:f>Sheet1!$A$2:$A$4</c:f>
              <c:strCache>
                <c:ptCount val="3"/>
                <c:pt idx="0">
                  <c:v>1st Qtr</c:v>
                </c:pt>
                <c:pt idx="1">
                  <c:v>2nd Qtr</c:v>
                </c:pt>
                <c:pt idx="2">
                  <c:v>3rd Qtr</c:v>
                </c:pt>
              </c:strCache>
            </c:strRef>
          </c:cat>
          <c:val>
            <c:numRef>
              <c:f>Sheet1!$B$2:$B$4</c:f>
              <c:numCache>
                <c:formatCode>General</c:formatCode>
                <c:ptCount val="3"/>
                <c:pt idx="0">
                  <c:v>1</c:v>
                </c:pt>
                <c:pt idx="1">
                  <c:v>0.67</c:v>
                </c:pt>
                <c:pt idx="2">
                  <c:v>0.33</c:v>
                </c:pt>
              </c:numCache>
            </c:numRef>
          </c:val>
          <c:extLst>
            <c:ext xmlns:c16="http://schemas.microsoft.com/office/drawing/2014/chart" uri="{C3380CC4-5D6E-409C-BE32-E72D297353CC}">
              <c16:uniqueId val="{00000006-ADF9-4510-B0BF-B576F04F0A61}"/>
            </c:ext>
          </c:extLst>
        </c:ser>
        <c:dLbls>
          <c:showLegendKey val="0"/>
          <c:showVal val="0"/>
          <c:showCatName val="0"/>
          <c:showSerName val="0"/>
          <c:showPercent val="0"/>
          <c:showBubbleSize val="0"/>
          <c:showLeaderLines val="1"/>
        </c:dLbls>
        <c:firstSliceAng val="9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l-G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rgbClr val="92D050"/>
                </a:solidFill>
                <a:latin typeface="Arial" panose="020B0604020202020204" pitchFamily="34" charset="0"/>
                <a:ea typeface="+mn-ea"/>
                <a:cs typeface="Arial" panose="020B0604020202020204" pitchFamily="34" charset="0"/>
              </a:defRPr>
            </a:pPr>
            <a:r>
              <a:rPr lang="el-GR" sz="1800" b="1">
                <a:solidFill>
                  <a:srgbClr val="92D050"/>
                </a:solidFill>
                <a:latin typeface="Arial" panose="020B0604020202020204" pitchFamily="34" charset="0"/>
                <a:cs typeface="Arial" panose="020B0604020202020204" pitchFamily="34" charset="0"/>
              </a:rPr>
              <a:t>Προσκλήσεις</a:t>
            </a:r>
            <a:endParaRPr lang="en-US" sz="1800" b="1">
              <a:solidFill>
                <a:srgbClr val="92D050"/>
              </a:solidFill>
              <a:latin typeface="Arial" panose="020B0604020202020204" pitchFamily="34" charset="0"/>
              <a:cs typeface="Arial" panose="020B0604020202020204" pitchFamily="34" charset="0"/>
            </a:endParaRPr>
          </a:p>
        </c:rich>
      </c:tx>
      <c:layout>
        <c:manualLayout>
          <c:xMode val="edge"/>
          <c:yMode val="edge"/>
          <c:x val="0.28555226446463783"/>
          <c:y val="1.0686217603213649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rgbClr val="92D050"/>
              </a:solidFill>
              <a:latin typeface="Arial" panose="020B0604020202020204" pitchFamily="34" charset="0"/>
              <a:ea typeface="+mn-ea"/>
              <a:cs typeface="Arial" panose="020B0604020202020204" pitchFamily="34" charset="0"/>
            </a:defRPr>
          </a:pPr>
          <a:endParaRPr lang="el-GR"/>
        </a:p>
      </c:txPr>
    </c:title>
    <c:autoTitleDeleted val="0"/>
    <c:plotArea>
      <c:layout/>
      <c:doughnutChart>
        <c:varyColors val="1"/>
        <c:ser>
          <c:idx val="0"/>
          <c:order val="0"/>
          <c:tx>
            <c:strRef>
              <c:f>Sheet1!$B$1</c:f>
              <c:strCache>
                <c:ptCount val="1"/>
                <c:pt idx="0">
                  <c:v>Sales</c:v>
                </c:pt>
              </c:strCache>
            </c:strRef>
          </c:tx>
          <c:spPr>
            <a:solidFill>
              <a:schemeClr val="bg1"/>
            </a:solidFill>
            <a:ln>
              <a:solidFill>
                <a:srgbClr val="92D050"/>
              </a:solidFill>
            </a:ln>
          </c:spPr>
          <c:dPt>
            <c:idx val="0"/>
            <c:bubble3D val="0"/>
            <c:spPr>
              <a:noFill/>
              <a:ln w="19050">
                <a:noFill/>
              </a:ln>
              <a:effectLst/>
            </c:spPr>
            <c:extLst>
              <c:ext xmlns:c16="http://schemas.microsoft.com/office/drawing/2014/chart" uri="{C3380CC4-5D6E-409C-BE32-E72D297353CC}">
                <c16:uniqueId val="{00000001-A98E-4084-8F75-531C09DBBA49}"/>
              </c:ext>
            </c:extLst>
          </c:dPt>
          <c:dPt>
            <c:idx val="1"/>
            <c:bubble3D val="0"/>
            <c:spPr>
              <a:solidFill>
                <a:srgbClr val="92D050"/>
              </a:solidFill>
              <a:ln w="19050">
                <a:solidFill>
                  <a:srgbClr val="92D050"/>
                </a:solidFill>
              </a:ln>
              <a:effectLst/>
            </c:spPr>
            <c:extLst>
              <c:ext xmlns:c16="http://schemas.microsoft.com/office/drawing/2014/chart" uri="{C3380CC4-5D6E-409C-BE32-E72D297353CC}">
                <c16:uniqueId val="{00000003-A98E-4084-8F75-531C09DBBA49}"/>
              </c:ext>
            </c:extLst>
          </c:dPt>
          <c:dPt>
            <c:idx val="2"/>
            <c:bubble3D val="0"/>
            <c:spPr>
              <a:solidFill>
                <a:schemeClr val="bg1"/>
              </a:solidFill>
              <a:ln w="19050">
                <a:solidFill>
                  <a:srgbClr val="92D050"/>
                </a:solidFill>
              </a:ln>
              <a:effectLst/>
            </c:spPr>
            <c:extLst>
              <c:ext xmlns:c16="http://schemas.microsoft.com/office/drawing/2014/chart" uri="{C3380CC4-5D6E-409C-BE32-E72D297353CC}">
                <c16:uniqueId val="{00000005-A98E-4084-8F75-531C09DBBA49}"/>
              </c:ext>
            </c:extLst>
          </c:dPt>
          <c:cat>
            <c:strRef>
              <c:f>Sheet1!$A$2:$A$4</c:f>
              <c:strCache>
                <c:ptCount val="3"/>
                <c:pt idx="0">
                  <c:v>1st Qtr</c:v>
                </c:pt>
                <c:pt idx="1">
                  <c:v>2nd Qtr</c:v>
                </c:pt>
                <c:pt idx="2">
                  <c:v>3rd Qtr</c:v>
                </c:pt>
              </c:strCache>
            </c:strRef>
          </c:cat>
          <c:val>
            <c:numRef>
              <c:f>Sheet1!$B$2:$B$4</c:f>
              <c:numCache>
                <c:formatCode>General</c:formatCode>
                <c:ptCount val="3"/>
                <c:pt idx="0">
                  <c:v>1</c:v>
                </c:pt>
                <c:pt idx="1">
                  <c:v>0.62</c:v>
                </c:pt>
                <c:pt idx="2">
                  <c:v>0.38</c:v>
                </c:pt>
              </c:numCache>
            </c:numRef>
          </c:val>
          <c:extLst>
            <c:ext xmlns:c16="http://schemas.microsoft.com/office/drawing/2014/chart" uri="{C3380CC4-5D6E-409C-BE32-E72D297353CC}">
              <c16:uniqueId val="{00000006-A98E-4084-8F75-531C09DBBA49}"/>
            </c:ext>
          </c:extLst>
        </c:ser>
        <c:dLbls>
          <c:showLegendKey val="0"/>
          <c:showVal val="0"/>
          <c:showCatName val="0"/>
          <c:showSerName val="0"/>
          <c:showPercent val="0"/>
          <c:showBubbleSize val="0"/>
          <c:showLeaderLines val="1"/>
        </c:dLbls>
        <c:firstSliceAng val="9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l-G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drawings/drawing1.xml><?xml version="1.0" encoding="utf-8"?>
<c:userShapes xmlns:c="http://schemas.openxmlformats.org/drawingml/2006/chart">
  <cdr:relSizeAnchor xmlns:cdr="http://schemas.openxmlformats.org/drawingml/2006/chartDrawing">
    <cdr:from>
      <cdr:x>0.54916</cdr:x>
      <cdr:y>0.13032</cdr:y>
    </cdr:from>
    <cdr:to>
      <cdr:x>0.59718</cdr:x>
      <cdr:y>0.24221</cdr:y>
    </cdr:to>
    <cdr:grpSp>
      <cdr:nvGrpSpPr>
        <cdr:cNvPr id="9" name="Group 8">
          <a:extLst xmlns:a="http://schemas.openxmlformats.org/drawingml/2006/main">
            <a:ext uri="{FF2B5EF4-FFF2-40B4-BE49-F238E27FC236}">
              <a16:creationId xmlns:a16="http://schemas.microsoft.com/office/drawing/2014/main" id="{AE465541-C4B2-7E24-98EF-59B8394531D6}"/>
            </a:ext>
          </a:extLst>
        </cdr:cNvPr>
        <cdr:cNvGrpSpPr/>
      </cdr:nvGrpSpPr>
      <cdr:grpSpPr>
        <a:xfrm xmlns:a="http://schemas.openxmlformats.org/drawingml/2006/main">
          <a:off x="1890931" y="113934"/>
          <a:ext cx="165348" cy="97821"/>
          <a:chOff x="1684723" y="161985"/>
          <a:chExt cx="228600" cy="82308"/>
        </a:xfrm>
      </cdr:grpSpPr>
      <cdr:cxnSp macro="">
        <cdr:nvCxnSpPr>
          <cdr:cNvPr id="5" name="Straight Connector 4">
            <a:extLst xmlns:a="http://schemas.openxmlformats.org/drawingml/2006/main">
              <a:ext uri="{FF2B5EF4-FFF2-40B4-BE49-F238E27FC236}">
                <a16:creationId xmlns:a16="http://schemas.microsoft.com/office/drawing/2014/main" id="{7722B5ED-FC10-5689-5312-B3F17D5C385E}"/>
              </a:ext>
            </a:extLst>
          </cdr:cNvPr>
          <cdr:cNvCxnSpPr/>
        </cdr:nvCxnSpPr>
        <cdr:spPr>
          <a:xfrm xmlns:a="http://schemas.openxmlformats.org/drawingml/2006/main" flipV="1">
            <a:off x="1684726" y="161985"/>
            <a:ext cx="0" cy="82308"/>
          </a:xfrm>
          <a:prstGeom xmlns:a="http://schemas.openxmlformats.org/drawingml/2006/main" prst="line">
            <a:avLst/>
          </a:prstGeom>
          <a:ln xmlns:a="http://schemas.openxmlformats.org/drawingml/2006/main">
            <a:solidFill>
              <a:srgbClr val="8BB939"/>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7" name="Straight Connector 6">
            <a:extLst xmlns:a="http://schemas.openxmlformats.org/drawingml/2006/main">
              <a:ext uri="{FF2B5EF4-FFF2-40B4-BE49-F238E27FC236}">
                <a16:creationId xmlns:a16="http://schemas.microsoft.com/office/drawing/2014/main" id="{31F01E09-C77C-6CF8-EF24-84F4C2C502EF}"/>
              </a:ext>
            </a:extLst>
          </cdr:cNvPr>
          <cdr:cNvCxnSpPr/>
        </cdr:nvCxnSpPr>
        <cdr:spPr>
          <a:xfrm xmlns:a="http://schemas.openxmlformats.org/drawingml/2006/main">
            <a:off x="1684723" y="161985"/>
            <a:ext cx="228600" cy="0"/>
          </a:xfrm>
          <a:prstGeom xmlns:a="http://schemas.openxmlformats.org/drawingml/2006/main" prst="line">
            <a:avLst/>
          </a:prstGeom>
          <a:ln xmlns:a="http://schemas.openxmlformats.org/drawingml/2006/main">
            <a:solidFill>
              <a:srgbClr val="8BB939"/>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κεφαλίδας 1"/>
          <p:cNvSpPr>
            <a:spLocks noGrp="1"/>
          </p:cNvSpPr>
          <p:nvPr>
            <p:ph type="hdr" sz="quarter"/>
          </p:nvPr>
        </p:nvSpPr>
        <p:spPr>
          <a:xfrm>
            <a:off x="0" y="1"/>
            <a:ext cx="4304001" cy="341111"/>
          </a:xfrm>
          <a:prstGeom prst="rect">
            <a:avLst/>
          </a:prstGeom>
        </p:spPr>
        <p:txBody>
          <a:bodyPr vert="horz" lIns="91750" tIns="45875" rIns="91750" bIns="45875" rtlCol="0"/>
          <a:lstStyle>
            <a:lvl1pPr algn="l">
              <a:defRPr sz="1200"/>
            </a:lvl1pPr>
          </a:lstStyle>
          <a:p>
            <a:endParaRPr lang="en-US"/>
          </a:p>
        </p:txBody>
      </p:sp>
      <p:sp>
        <p:nvSpPr>
          <p:cNvPr id="3" name="Θέση ημερομηνίας 2"/>
          <p:cNvSpPr>
            <a:spLocks noGrp="1"/>
          </p:cNvSpPr>
          <p:nvPr>
            <p:ph type="dt" sz="quarter" idx="1"/>
          </p:nvPr>
        </p:nvSpPr>
        <p:spPr>
          <a:xfrm>
            <a:off x="5623495" y="1"/>
            <a:ext cx="4304001" cy="341111"/>
          </a:xfrm>
          <a:prstGeom prst="rect">
            <a:avLst/>
          </a:prstGeom>
        </p:spPr>
        <p:txBody>
          <a:bodyPr vert="horz" lIns="91750" tIns="45875" rIns="91750" bIns="45875" rtlCol="0"/>
          <a:lstStyle>
            <a:lvl1pPr algn="r">
              <a:defRPr sz="1200"/>
            </a:lvl1pPr>
          </a:lstStyle>
          <a:p>
            <a:fld id="{47776BEC-56E1-4368-AA11-633F2DA1B9BD}" type="datetimeFigureOut">
              <a:rPr lang="en-US" smtClean="0"/>
              <a:pPr/>
              <a:t>7/23/2025</a:t>
            </a:fld>
            <a:endParaRPr lang="en-US"/>
          </a:p>
        </p:txBody>
      </p:sp>
      <p:sp>
        <p:nvSpPr>
          <p:cNvPr id="4" name="Θέση υποσέλιδου 3"/>
          <p:cNvSpPr>
            <a:spLocks noGrp="1"/>
          </p:cNvSpPr>
          <p:nvPr>
            <p:ph type="ftr" sz="quarter" idx="2"/>
          </p:nvPr>
        </p:nvSpPr>
        <p:spPr>
          <a:xfrm>
            <a:off x="0" y="6458155"/>
            <a:ext cx="4304001" cy="341111"/>
          </a:xfrm>
          <a:prstGeom prst="rect">
            <a:avLst/>
          </a:prstGeom>
        </p:spPr>
        <p:txBody>
          <a:bodyPr vert="horz" lIns="91750" tIns="45875" rIns="91750" bIns="45875" rtlCol="0" anchor="b"/>
          <a:lstStyle>
            <a:lvl1pPr algn="l">
              <a:defRPr sz="1200"/>
            </a:lvl1pPr>
          </a:lstStyle>
          <a:p>
            <a:endParaRPr lang="en-US"/>
          </a:p>
        </p:txBody>
      </p:sp>
      <p:sp>
        <p:nvSpPr>
          <p:cNvPr id="5" name="Θέση αριθμού διαφάνειας 4"/>
          <p:cNvSpPr>
            <a:spLocks noGrp="1"/>
          </p:cNvSpPr>
          <p:nvPr>
            <p:ph type="sldNum" sz="quarter" idx="3"/>
          </p:nvPr>
        </p:nvSpPr>
        <p:spPr>
          <a:xfrm>
            <a:off x="5623495" y="6458155"/>
            <a:ext cx="4304001" cy="341111"/>
          </a:xfrm>
          <a:prstGeom prst="rect">
            <a:avLst/>
          </a:prstGeom>
        </p:spPr>
        <p:txBody>
          <a:bodyPr vert="horz" lIns="91750" tIns="45875" rIns="91750" bIns="45875" rtlCol="0" anchor="b"/>
          <a:lstStyle>
            <a:lvl1pPr algn="r">
              <a:defRPr sz="1200"/>
            </a:lvl1pPr>
          </a:lstStyle>
          <a:p>
            <a:fld id="{BE8CF810-EC03-4057-975B-A76CBB1D9031}"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κεφαλίδας 1"/>
          <p:cNvSpPr>
            <a:spLocks noGrp="1"/>
          </p:cNvSpPr>
          <p:nvPr>
            <p:ph type="hdr" sz="quarter"/>
          </p:nvPr>
        </p:nvSpPr>
        <p:spPr>
          <a:xfrm>
            <a:off x="1" y="0"/>
            <a:ext cx="4302919" cy="341144"/>
          </a:xfrm>
          <a:prstGeom prst="rect">
            <a:avLst/>
          </a:prstGeom>
        </p:spPr>
        <p:txBody>
          <a:bodyPr vert="horz" lIns="91750" tIns="45875" rIns="91750" bIns="45875" rtlCol="0"/>
          <a:lstStyle>
            <a:lvl1pPr algn="l">
              <a:defRPr sz="1200"/>
            </a:lvl1pPr>
          </a:lstStyle>
          <a:p>
            <a:endParaRPr lang="el-GR"/>
          </a:p>
        </p:txBody>
      </p:sp>
      <p:sp>
        <p:nvSpPr>
          <p:cNvPr id="3" name="Θέση ημερομηνίας 2"/>
          <p:cNvSpPr>
            <a:spLocks noGrp="1"/>
          </p:cNvSpPr>
          <p:nvPr>
            <p:ph type="dt" idx="1"/>
          </p:nvPr>
        </p:nvSpPr>
        <p:spPr>
          <a:xfrm>
            <a:off x="5624598" y="0"/>
            <a:ext cx="4302919" cy="341144"/>
          </a:xfrm>
          <a:prstGeom prst="rect">
            <a:avLst/>
          </a:prstGeom>
        </p:spPr>
        <p:txBody>
          <a:bodyPr vert="horz" lIns="91750" tIns="45875" rIns="91750" bIns="45875" rtlCol="0"/>
          <a:lstStyle>
            <a:lvl1pPr algn="r">
              <a:defRPr sz="1200"/>
            </a:lvl1pPr>
          </a:lstStyle>
          <a:p>
            <a:fld id="{972A7146-199A-4577-90BF-92DCF336C4DF}" type="datetimeFigureOut">
              <a:rPr lang="el-GR" smtClean="0"/>
              <a:pPr/>
              <a:t>23/7/2025</a:t>
            </a:fld>
            <a:endParaRPr lang="el-GR"/>
          </a:p>
        </p:txBody>
      </p:sp>
      <p:sp>
        <p:nvSpPr>
          <p:cNvPr id="4" name="Θέση εικόνας διαφάνειας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750" tIns="45875" rIns="91750" bIns="45875" rtlCol="0" anchor="ctr"/>
          <a:lstStyle/>
          <a:p>
            <a:endParaRPr lang="el-GR"/>
          </a:p>
        </p:txBody>
      </p:sp>
      <p:sp>
        <p:nvSpPr>
          <p:cNvPr id="5" name="Θέση σημειώσεων 4"/>
          <p:cNvSpPr>
            <a:spLocks noGrp="1"/>
          </p:cNvSpPr>
          <p:nvPr>
            <p:ph type="body" sz="quarter" idx="3"/>
          </p:nvPr>
        </p:nvSpPr>
        <p:spPr>
          <a:xfrm>
            <a:off x="992982" y="3272146"/>
            <a:ext cx="7943850" cy="2677209"/>
          </a:xfrm>
          <a:prstGeom prst="rect">
            <a:avLst/>
          </a:prstGeom>
        </p:spPr>
        <p:txBody>
          <a:bodyPr vert="horz" lIns="91750" tIns="45875" rIns="91750" bIns="45875" rtlCol="0"/>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6" name="Θέση υποσέλιδου 5"/>
          <p:cNvSpPr>
            <a:spLocks noGrp="1"/>
          </p:cNvSpPr>
          <p:nvPr>
            <p:ph type="ftr" sz="quarter" idx="4"/>
          </p:nvPr>
        </p:nvSpPr>
        <p:spPr>
          <a:xfrm>
            <a:off x="1" y="6458120"/>
            <a:ext cx="4302919" cy="341144"/>
          </a:xfrm>
          <a:prstGeom prst="rect">
            <a:avLst/>
          </a:prstGeom>
        </p:spPr>
        <p:txBody>
          <a:bodyPr vert="horz" lIns="91750" tIns="45875" rIns="91750" bIns="45875" rtlCol="0" anchor="b"/>
          <a:lstStyle>
            <a:lvl1pPr algn="l">
              <a:defRPr sz="1200"/>
            </a:lvl1pPr>
          </a:lstStyle>
          <a:p>
            <a:endParaRPr lang="el-GR"/>
          </a:p>
        </p:txBody>
      </p:sp>
      <p:sp>
        <p:nvSpPr>
          <p:cNvPr id="7" name="Θέση αριθμού διαφάνειας 6"/>
          <p:cNvSpPr>
            <a:spLocks noGrp="1"/>
          </p:cNvSpPr>
          <p:nvPr>
            <p:ph type="sldNum" sz="quarter" idx="5"/>
          </p:nvPr>
        </p:nvSpPr>
        <p:spPr>
          <a:xfrm>
            <a:off x="5624598" y="6458120"/>
            <a:ext cx="4302919" cy="341144"/>
          </a:xfrm>
          <a:prstGeom prst="rect">
            <a:avLst/>
          </a:prstGeom>
        </p:spPr>
        <p:txBody>
          <a:bodyPr vert="horz" lIns="91750" tIns="45875" rIns="91750" bIns="45875" rtlCol="0" anchor="b"/>
          <a:lstStyle>
            <a:lvl1pPr algn="r">
              <a:defRPr sz="1200"/>
            </a:lvl1pPr>
          </a:lstStyle>
          <a:p>
            <a:fld id="{102834EC-EC5B-401B-B0B6-26725002B175}" type="slidenum">
              <a:rPr lang="el-GR" smtClean="0"/>
              <a:pPr/>
              <a:t>‹#›</a:t>
            </a:fld>
            <a:endParaRPr lang="el-GR"/>
          </a:p>
        </p:txBody>
      </p:sp>
    </p:spTree>
    <p:extLst>
      <p:ext uri="{BB962C8B-B14F-4D97-AF65-F5344CB8AC3E}">
        <p14:creationId xmlns:p14="http://schemas.microsoft.com/office/powerpoint/2010/main" val="31439928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9C46C-B805-36DE-6DB9-7DA48138A7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34A7C6-3B5F-CE35-AC84-EE2C5A212C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2AB9CF-FC56-C76D-6715-9EC6D2162C9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BE8A40D-8702-E06E-BB94-807BC95CA236}"/>
              </a:ext>
            </a:extLst>
          </p:cNvPr>
          <p:cNvSpPr>
            <a:spLocks noGrp="1"/>
          </p:cNvSpPr>
          <p:nvPr>
            <p:ph type="sldNum" sz="quarter" idx="10"/>
          </p:nvPr>
        </p:nvSpPr>
        <p:spPr/>
        <p:txBody>
          <a:bodyPr/>
          <a:lstStyle/>
          <a:p>
            <a:pPr>
              <a:defRPr/>
            </a:pPr>
            <a:fld id="{B68D2766-C49B-4C1A-9FEE-6F146754B02B}" type="slidenum">
              <a:rPr lang="en-US" smtClean="0">
                <a:solidFill>
                  <a:prstClr val="black"/>
                </a:solidFill>
              </a:rPr>
              <a:pPr>
                <a:defRPr/>
              </a:pPr>
              <a:t>2</a:t>
            </a:fld>
            <a:endParaRPr lang="en-US">
              <a:solidFill>
                <a:prstClr val="black"/>
              </a:solidFill>
            </a:endParaRPr>
          </a:p>
        </p:txBody>
      </p:sp>
    </p:spTree>
    <p:extLst>
      <p:ext uri="{BB962C8B-B14F-4D97-AF65-F5344CB8AC3E}">
        <p14:creationId xmlns:p14="http://schemas.microsoft.com/office/powerpoint/2010/main" val="42038461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3">
          <a:extLst>
            <a:ext uri="{FF2B5EF4-FFF2-40B4-BE49-F238E27FC236}">
              <a16:creationId xmlns:a16="http://schemas.microsoft.com/office/drawing/2014/main" id="{D6C8321A-41BD-2BB9-7952-EB485407151E}"/>
            </a:ext>
          </a:extLst>
        </p:cNvPr>
        <p:cNvGrpSpPr/>
        <p:nvPr/>
      </p:nvGrpSpPr>
      <p:grpSpPr>
        <a:xfrm>
          <a:off x="0" y="0"/>
          <a:ext cx="0" cy="0"/>
          <a:chOff x="0" y="0"/>
          <a:chExt cx="0" cy="0"/>
        </a:xfrm>
      </p:grpSpPr>
      <p:sp>
        <p:nvSpPr>
          <p:cNvPr id="404" name="Google Shape;404;p5:notes">
            <a:extLst>
              <a:ext uri="{FF2B5EF4-FFF2-40B4-BE49-F238E27FC236}">
                <a16:creationId xmlns:a16="http://schemas.microsoft.com/office/drawing/2014/main" id="{A3ABC1D9-5DE1-1E85-26FF-5640AD9AE4DE}"/>
              </a:ext>
            </a:extLst>
          </p:cNvPr>
          <p:cNvSpPr txBox="1">
            <a:spLocks noGrp="1"/>
          </p:cNvSpPr>
          <p:nvPr>
            <p:ph type="body" idx="1"/>
          </p:nvPr>
        </p:nvSpPr>
        <p:spPr>
          <a:xfrm>
            <a:off x="561607" y="4401578"/>
            <a:ext cx="4492845" cy="3601291"/>
          </a:xfrm>
          <a:prstGeom prst="rect">
            <a:avLst/>
          </a:prstGeom>
        </p:spPr>
        <p:txBody>
          <a:bodyPr spcFirstLastPara="1" wrap="square" lIns="91735" tIns="45855" rIns="91735" bIns="45855" anchor="t" anchorCtr="0">
            <a:noAutofit/>
          </a:bodyPr>
          <a:lstStyle/>
          <a:p>
            <a:endParaRPr/>
          </a:p>
        </p:txBody>
      </p:sp>
      <p:sp>
        <p:nvSpPr>
          <p:cNvPr id="405" name="Google Shape;405;p5:notes">
            <a:extLst>
              <a:ext uri="{FF2B5EF4-FFF2-40B4-BE49-F238E27FC236}">
                <a16:creationId xmlns:a16="http://schemas.microsoft.com/office/drawing/2014/main" id="{F6EC4F14-C532-B6F0-8F6B-62312606988C}"/>
              </a:ext>
            </a:extLst>
          </p:cNvPr>
          <p:cNvSpPr>
            <a:spLocks noGrp="1" noRot="1" noChangeAspect="1"/>
          </p:cNvSpPr>
          <p:nvPr>
            <p:ph type="sldImg" idx="2"/>
          </p:nvPr>
        </p:nvSpPr>
        <p:spPr>
          <a:xfrm>
            <a:off x="63500" y="1143000"/>
            <a:ext cx="5489575" cy="308768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26041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0"/>
        <p:cNvGrpSpPr/>
        <p:nvPr/>
      </p:nvGrpSpPr>
      <p:grpSpPr>
        <a:xfrm>
          <a:off x="0" y="0"/>
          <a:ext cx="0" cy="0"/>
          <a:chOff x="0" y="0"/>
          <a:chExt cx="0" cy="0"/>
        </a:xfrm>
      </p:grpSpPr>
      <p:sp>
        <p:nvSpPr>
          <p:cNvPr id="1471" name="Google Shape;1471;g89dc37d3e0_0_163:notes"/>
          <p:cNvSpPr>
            <a:spLocks noGrp="1" noRot="1" noChangeAspect="1"/>
          </p:cNvSpPr>
          <p:nvPr>
            <p:ph type="sldImg" idx="2"/>
          </p:nvPr>
        </p:nvSpPr>
        <p:spPr>
          <a:xfrm>
            <a:off x="400050" y="685800"/>
            <a:ext cx="6097588" cy="34305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2" name="Google Shape;1472;g89dc37d3e0_0_163:notes"/>
          <p:cNvSpPr txBox="1">
            <a:spLocks noGrp="1"/>
          </p:cNvSpPr>
          <p:nvPr>
            <p:ph type="body" idx="1"/>
          </p:nvPr>
        </p:nvSpPr>
        <p:spPr>
          <a:xfrm>
            <a:off x="689771" y="4344416"/>
            <a:ext cx="5518159" cy="4115761"/>
          </a:xfrm>
          <a:prstGeom prst="rect">
            <a:avLst/>
          </a:prstGeom>
        </p:spPr>
        <p:txBody>
          <a:bodyPr spcFirstLastPara="1" wrap="square" lIns="91735" tIns="91735" rIns="91735" bIns="91735" anchor="t" anchorCtr="0">
            <a:noAutofit/>
          </a:bodyPr>
          <a:lstStyle/>
          <a:p>
            <a:pPr defTabSz="917497">
              <a:buClr>
                <a:srgbClr val="000000"/>
              </a:buClr>
              <a:buSzPts val="1100"/>
              <a:defRPr/>
            </a:pPr>
            <a:r>
              <a:rPr lang="el-GR" sz="1100">
                <a:solidFill>
                  <a:srgbClr val="629DD1"/>
                </a:solidFill>
                <a:latin typeface="Fira Sans Extra Condensed Medium"/>
                <a:ea typeface="Fira Sans Extra Condensed Medium"/>
                <a:cs typeface="Fira Sans Extra Condensed Medium"/>
                <a:sym typeface="Fira Sans Extra Condensed Medium"/>
              </a:rPr>
              <a:t>Έργα ύδρευσης, άρδευσης και αποχέτευσης</a:t>
            </a:r>
          </a:p>
          <a:p>
            <a:endParaRPr lang="el-GR" b="0"/>
          </a:p>
        </p:txBody>
      </p:sp>
    </p:spTree>
    <p:extLst>
      <p:ext uri="{BB962C8B-B14F-4D97-AF65-F5344CB8AC3E}">
        <p14:creationId xmlns:p14="http://schemas.microsoft.com/office/powerpoint/2010/main" val="3248969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0">
          <a:extLst>
            <a:ext uri="{FF2B5EF4-FFF2-40B4-BE49-F238E27FC236}">
              <a16:creationId xmlns:a16="http://schemas.microsoft.com/office/drawing/2014/main" id="{FC922A50-BEC2-5925-A408-C9147A6520B2}"/>
            </a:ext>
          </a:extLst>
        </p:cNvPr>
        <p:cNvGrpSpPr/>
        <p:nvPr/>
      </p:nvGrpSpPr>
      <p:grpSpPr>
        <a:xfrm>
          <a:off x="0" y="0"/>
          <a:ext cx="0" cy="0"/>
          <a:chOff x="0" y="0"/>
          <a:chExt cx="0" cy="0"/>
        </a:xfrm>
      </p:grpSpPr>
      <p:sp>
        <p:nvSpPr>
          <p:cNvPr id="1471" name="Google Shape;1471;g89dc37d3e0_0_163:notes">
            <a:extLst>
              <a:ext uri="{FF2B5EF4-FFF2-40B4-BE49-F238E27FC236}">
                <a16:creationId xmlns:a16="http://schemas.microsoft.com/office/drawing/2014/main" id="{49E7F646-9ED1-D65B-F319-054769B4B8D8}"/>
              </a:ext>
            </a:extLst>
          </p:cNvPr>
          <p:cNvSpPr>
            <a:spLocks noGrp="1" noRot="1" noChangeAspect="1"/>
          </p:cNvSpPr>
          <p:nvPr>
            <p:ph type="sldImg" idx="2"/>
          </p:nvPr>
        </p:nvSpPr>
        <p:spPr>
          <a:xfrm>
            <a:off x="400050" y="685800"/>
            <a:ext cx="6097588" cy="34305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2" name="Google Shape;1472;g89dc37d3e0_0_163:notes">
            <a:extLst>
              <a:ext uri="{FF2B5EF4-FFF2-40B4-BE49-F238E27FC236}">
                <a16:creationId xmlns:a16="http://schemas.microsoft.com/office/drawing/2014/main" id="{4F7566A2-A88A-88D0-1FF4-7BEA7ABFD216}"/>
              </a:ext>
            </a:extLst>
          </p:cNvPr>
          <p:cNvSpPr txBox="1">
            <a:spLocks noGrp="1"/>
          </p:cNvSpPr>
          <p:nvPr>
            <p:ph type="body" idx="1"/>
          </p:nvPr>
        </p:nvSpPr>
        <p:spPr>
          <a:xfrm>
            <a:off x="689771" y="4344416"/>
            <a:ext cx="5518159" cy="4115761"/>
          </a:xfrm>
          <a:prstGeom prst="rect">
            <a:avLst/>
          </a:prstGeom>
        </p:spPr>
        <p:txBody>
          <a:bodyPr spcFirstLastPara="1" wrap="square" lIns="91735" tIns="91735" rIns="91735" bIns="91735" anchor="t" anchorCtr="0">
            <a:noAutofit/>
          </a:bodyPr>
          <a:lstStyle/>
          <a:p>
            <a:endParaRPr lang="el-GR" b="0"/>
          </a:p>
        </p:txBody>
      </p:sp>
    </p:spTree>
    <p:extLst>
      <p:ext uri="{BB962C8B-B14F-4D97-AF65-F5344CB8AC3E}">
        <p14:creationId xmlns:p14="http://schemas.microsoft.com/office/powerpoint/2010/main" val="6751222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0">
          <a:extLst>
            <a:ext uri="{FF2B5EF4-FFF2-40B4-BE49-F238E27FC236}">
              <a16:creationId xmlns:a16="http://schemas.microsoft.com/office/drawing/2014/main" id="{567D0FB5-6CBF-B8C9-F773-C6C704A69080}"/>
            </a:ext>
          </a:extLst>
        </p:cNvPr>
        <p:cNvGrpSpPr/>
        <p:nvPr/>
      </p:nvGrpSpPr>
      <p:grpSpPr>
        <a:xfrm>
          <a:off x="0" y="0"/>
          <a:ext cx="0" cy="0"/>
          <a:chOff x="0" y="0"/>
          <a:chExt cx="0" cy="0"/>
        </a:xfrm>
      </p:grpSpPr>
      <p:sp>
        <p:nvSpPr>
          <p:cNvPr id="1471" name="Google Shape;1471;g89dc37d3e0_0_163:notes">
            <a:extLst>
              <a:ext uri="{FF2B5EF4-FFF2-40B4-BE49-F238E27FC236}">
                <a16:creationId xmlns:a16="http://schemas.microsoft.com/office/drawing/2014/main" id="{46113209-8792-8751-1845-E62B697CEBC5}"/>
              </a:ext>
            </a:extLst>
          </p:cNvPr>
          <p:cNvSpPr>
            <a:spLocks noGrp="1" noRot="1" noChangeAspect="1"/>
          </p:cNvSpPr>
          <p:nvPr>
            <p:ph type="sldImg" idx="2"/>
          </p:nvPr>
        </p:nvSpPr>
        <p:spPr>
          <a:xfrm>
            <a:off x="400050" y="685800"/>
            <a:ext cx="6097588" cy="34305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2" name="Google Shape;1472;g89dc37d3e0_0_163:notes">
            <a:extLst>
              <a:ext uri="{FF2B5EF4-FFF2-40B4-BE49-F238E27FC236}">
                <a16:creationId xmlns:a16="http://schemas.microsoft.com/office/drawing/2014/main" id="{050C5423-1B13-CCAC-583E-B78469BCD9F8}"/>
              </a:ext>
            </a:extLst>
          </p:cNvPr>
          <p:cNvSpPr txBox="1">
            <a:spLocks noGrp="1"/>
          </p:cNvSpPr>
          <p:nvPr>
            <p:ph type="body" idx="1"/>
          </p:nvPr>
        </p:nvSpPr>
        <p:spPr>
          <a:xfrm>
            <a:off x="689771" y="4344416"/>
            <a:ext cx="5518159" cy="4115761"/>
          </a:xfrm>
          <a:prstGeom prst="rect">
            <a:avLst/>
          </a:prstGeom>
        </p:spPr>
        <p:txBody>
          <a:bodyPr spcFirstLastPara="1" wrap="square" lIns="91735" tIns="91735" rIns="91735" bIns="91735" anchor="t" anchorCtr="0">
            <a:noAutofit/>
          </a:bodyPr>
          <a:lstStyle/>
          <a:p>
            <a:endParaRPr/>
          </a:p>
        </p:txBody>
      </p:sp>
    </p:spTree>
    <p:extLst>
      <p:ext uri="{BB962C8B-B14F-4D97-AF65-F5344CB8AC3E}">
        <p14:creationId xmlns:p14="http://schemas.microsoft.com/office/powerpoint/2010/main" val="27224369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0"/>
        <p:cNvGrpSpPr/>
        <p:nvPr/>
      </p:nvGrpSpPr>
      <p:grpSpPr>
        <a:xfrm>
          <a:off x="0" y="0"/>
          <a:ext cx="0" cy="0"/>
          <a:chOff x="0" y="0"/>
          <a:chExt cx="0" cy="0"/>
        </a:xfrm>
      </p:grpSpPr>
      <p:sp>
        <p:nvSpPr>
          <p:cNvPr id="1471" name="Google Shape;1471;g89dc37d3e0_0_163:notes"/>
          <p:cNvSpPr>
            <a:spLocks noGrp="1" noRot="1" noChangeAspect="1"/>
          </p:cNvSpPr>
          <p:nvPr>
            <p:ph type="sldImg" idx="2"/>
          </p:nvPr>
        </p:nvSpPr>
        <p:spPr>
          <a:xfrm>
            <a:off x="400050" y="685800"/>
            <a:ext cx="6097588" cy="34305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2" name="Google Shape;1472;g89dc37d3e0_0_163:notes"/>
          <p:cNvSpPr txBox="1">
            <a:spLocks noGrp="1"/>
          </p:cNvSpPr>
          <p:nvPr>
            <p:ph type="body" idx="1"/>
          </p:nvPr>
        </p:nvSpPr>
        <p:spPr>
          <a:xfrm>
            <a:off x="689771" y="4344416"/>
            <a:ext cx="5518159" cy="4115761"/>
          </a:xfrm>
          <a:prstGeom prst="rect">
            <a:avLst/>
          </a:prstGeom>
        </p:spPr>
        <p:txBody>
          <a:bodyPr spcFirstLastPara="1" wrap="square" lIns="91735" tIns="91735" rIns="91735" bIns="91735" anchor="t" anchorCtr="0">
            <a:noAutofit/>
          </a:bodyPr>
          <a:lstStyle/>
          <a:p>
            <a:pPr defTabSz="917497">
              <a:buClr>
                <a:srgbClr val="000000"/>
              </a:buClr>
              <a:buSzPts val="1100"/>
              <a:defRPr/>
            </a:pPr>
            <a:endParaRPr lang="el-GR" b="0" dirty="0"/>
          </a:p>
        </p:txBody>
      </p:sp>
    </p:spTree>
    <p:extLst>
      <p:ext uri="{BB962C8B-B14F-4D97-AF65-F5344CB8AC3E}">
        <p14:creationId xmlns:p14="http://schemas.microsoft.com/office/powerpoint/2010/main" val="2700467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0">
          <a:extLst>
            <a:ext uri="{FF2B5EF4-FFF2-40B4-BE49-F238E27FC236}">
              <a16:creationId xmlns:a16="http://schemas.microsoft.com/office/drawing/2014/main" id="{FC922A50-BEC2-5925-A408-C9147A6520B2}"/>
            </a:ext>
          </a:extLst>
        </p:cNvPr>
        <p:cNvGrpSpPr/>
        <p:nvPr/>
      </p:nvGrpSpPr>
      <p:grpSpPr>
        <a:xfrm>
          <a:off x="0" y="0"/>
          <a:ext cx="0" cy="0"/>
          <a:chOff x="0" y="0"/>
          <a:chExt cx="0" cy="0"/>
        </a:xfrm>
      </p:grpSpPr>
      <p:sp>
        <p:nvSpPr>
          <p:cNvPr id="1471" name="Google Shape;1471;g89dc37d3e0_0_163:notes">
            <a:extLst>
              <a:ext uri="{FF2B5EF4-FFF2-40B4-BE49-F238E27FC236}">
                <a16:creationId xmlns:a16="http://schemas.microsoft.com/office/drawing/2014/main" id="{49E7F646-9ED1-D65B-F319-054769B4B8D8}"/>
              </a:ext>
            </a:extLst>
          </p:cNvPr>
          <p:cNvSpPr>
            <a:spLocks noGrp="1" noRot="1" noChangeAspect="1"/>
          </p:cNvSpPr>
          <p:nvPr>
            <p:ph type="sldImg" idx="2"/>
          </p:nvPr>
        </p:nvSpPr>
        <p:spPr>
          <a:xfrm>
            <a:off x="400050" y="685800"/>
            <a:ext cx="6097588" cy="34305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2" name="Google Shape;1472;g89dc37d3e0_0_163:notes">
            <a:extLst>
              <a:ext uri="{FF2B5EF4-FFF2-40B4-BE49-F238E27FC236}">
                <a16:creationId xmlns:a16="http://schemas.microsoft.com/office/drawing/2014/main" id="{4F7566A2-A88A-88D0-1FF4-7BEA7ABFD216}"/>
              </a:ext>
            </a:extLst>
          </p:cNvPr>
          <p:cNvSpPr txBox="1">
            <a:spLocks noGrp="1"/>
          </p:cNvSpPr>
          <p:nvPr>
            <p:ph type="body" idx="1"/>
          </p:nvPr>
        </p:nvSpPr>
        <p:spPr>
          <a:xfrm>
            <a:off x="689771" y="4344416"/>
            <a:ext cx="5518159" cy="4115761"/>
          </a:xfrm>
          <a:prstGeom prst="rect">
            <a:avLst/>
          </a:prstGeom>
        </p:spPr>
        <p:txBody>
          <a:bodyPr spcFirstLastPara="1" wrap="square" lIns="91735" tIns="91735" rIns="91735" bIns="91735" anchor="t" anchorCtr="0">
            <a:noAutofit/>
          </a:bodyPr>
          <a:lstStyle/>
          <a:p>
            <a:endParaRPr lang="el-GR" b="0"/>
          </a:p>
        </p:txBody>
      </p:sp>
    </p:spTree>
    <p:extLst>
      <p:ext uri="{BB962C8B-B14F-4D97-AF65-F5344CB8AC3E}">
        <p14:creationId xmlns:p14="http://schemas.microsoft.com/office/powerpoint/2010/main" val="2626651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400050" y="685800"/>
            <a:ext cx="6097588" cy="3430588"/>
          </a:xfrm>
        </p:spPr>
      </p:sp>
      <p:sp>
        <p:nvSpPr>
          <p:cNvPr id="3" name="Θέση σημειώσεων 2"/>
          <p:cNvSpPr>
            <a:spLocks noGrp="1"/>
          </p:cNvSpPr>
          <p:nvPr>
            <p:ph type="body" idx="1"/>
          </p:nvPr>
        </p:nvSpPr>
        <p:spPr/>
        <p:txBody>
          <a:bodyPr/>
          <a:lstStyle/>
          <a:p>
            <a:pPr marL="159288"/>
            <a:endParaRPr lang="el-GR"/>
          </a:p>
        </p:txBody>
      </p:sp>
    </p:spTree>
    <p:extLst>
      <p:ext uri="{BB962C8B-B14F-4D97-AF65-F5344CB8AC3E}">
        <p14:creationId xmlns:p14="http://schemas.microsoft.com/office/powerpoint/2010/main" val="3542190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a:extLst>
            <a:ext uri="{FF2B5EF4-FFF2-40B4-BE49-F238E27FC236}">
              <a16:creationId xmlns:a16="http://schemas.microsoft.com/office/drawing/2014/main" id="{947AB615-D0B2-01D3-F190-2D66B579A9AA}"/>
            </a:ext>
          </a:extLst>
        </p:cNvPr>
        <p:cNvGrpSpPr/>
        <p:nvPr/>
      </p:nvGrpSpPr>
      <p:grpSpPr>
        <a:xfrm>
          <a:off x="0" y="0"/>
          <a:ext cx="0" cy="0"/>
          <a:chOff x="0" y="0"/>
          <a:chExt cx="0" cy="0"/>
        </a:xfrm>
      </p:grpSpPr>
      <p:sp>
        <p:nvSpPr>
          <p:cNvPr id="126" name="Google Shape;126;g255952ba17f_0_1:notes">
            <a:extLst>
              <a:ext uri="{FF2B5EF4-FFF2-40B4-BE49-F238E27FC236}">
                <a16:creationId xmlns:a16="http://schemas.microsoft.com/office/drawing/2014/main" id="{0371E8D6-C793-4982-87BB-6ECB2E3927A5}"/>
              </a:ext>
            </a:extLst>
          </p:cNvPr>
          <p:cNvSpPr>
            <a:spLocks noGrp="1" noRot="1" noChangeAspect="1"/>
          </p:cNvSpPr>
          <p:nvPr>
            <p:ph type="sldImg" idx="2"/>
          </p:nvPr>
        </p:nvSpPr>
        <p:spPr>
          <a:xfrm>
            <a:off x="106363" y="744538"/>
            <a:ext cx="6624637" cy="37258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 name="Google Shape;127;g255952ba17f_0_1:notes">
            <a:extLst>
              <a:ext uri="{FF2B5EF4-FFF2-40B4-BE49-F238E27FC236}">
                <a16:creationId xmlns:a16="http://schemas.microsoft.com/office/drawing/2014/main" id="{981B5C6E-3243-8F84-5B64-B49047FD1A57}"/>
              </a:ext>
            </a:extLst>
          </p:cNvPr>
          <p:cNvSpPr txBox="1">
            <a:spLocks noGrp="1"/>
          </p:cNvSpPr>
          <p:nvPr>
            <p:ph type="body" idx="1"/>
          </p:nvPr>
        </p:nvSpPr>
        <p:spPr>
          <a:xfrm>
            <a:off x="683864" y="4717763"/>
            <a:ext cx="5470897" cy="4469460"/>
          </a:xfrm>
          <a:prstGeom prst="rect">
            <a:avLst/>
          </a:prstGeom>
        </p:spPr>
        <p:txBody>
          <a:bodyPr spcFirstLastPara="1" wrap="square" lIns="91726" tIns="91726" rIns="91726" bIns="91726" anchor="t" anchorCtr="0">
            <a:noAutofit/>
          </a:bodyPr>
          <a:lstStyle/>
          <a:p>
            <a:endParaRPr/>
          </a:p>
        </p:txBody>
      </p:sp>
    </p:spTree>
    <p:extLst>
      <p:ext uri="{BB962C8B-B14F-4D97-AF65-F5344CB8AC3E}">
        <p14:creationId xmlns:p14="http://schemas.microsoft.com/office/powerpoint/2010/main" val="27820078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01A48F5A-9F4A-435E-991D-E8AFAE680631}" type="slidenum">
              <a:rPr lang="en-US" smtClean="0"/>
              <a:pPr/>
              <a:t>10</a:t>
            </a:fld>
            <a:endParaRPr lang="en-US"/>
          </a:p>
        </p:txBody>
      </p:sp>
    </p:spTree>
    <p:extLst>
      <p:ext uri="{BB962C8B-B14F-4D97-AF65-F5344CB8AC3E}">
        <p14:creationId xmlns:p14="http://schemas.microsoft.com/office/powerpoint/2010/main" val="26794456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p:cNvSpPr>
            <a:spLocks noGrp="1"/>
          </p:cNvSpPr>
          <p:nvPr>
            <p:ph type="ctrTitle" hasCustomPrompt="1"/>
          </p:nvPr>
        </p:nvSpPr>
        <p:spPr>
          <a:xfrm>
            <a:off x="1524000" y="1122363"/>
            <a:ext cx="9144000" cy="2387600"/>
          </a:xfrm>
        </p:spPr>
        <p:txBody>
          <a:bodyPr anchor="b"/>
          <a:lstStyle>
            <a:lvl1pPr algn="ctr">
              <a:defRPr sz="6000"/>
            </a:lvl1pPr>
          </a:lstStyle>
          <a:p>
            <a:r>
              <a:rPr lang="el-GR"/>
              <a:t>Στυλ κύριου τίτλου</a:t>
            </a:r>
          </a:p>
        </p:txBody>
      </p:sp>
      <p:sp>
        <p:nvSpPr>
          <p:cNvPr id="3" name="Υπότιτλος 2"/>
          <p:cNvSpPr>
            <a:spLocks noGrp="1"/>
          </p:cNvSpPr>
          <p:nvPr>
            <p:ph type="subTitle" idx="1" hasCustomPrompt="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l-GR"/>
              <a:t>Κάντε κλικ για να επεξεργαστείτε τον υπότιτλο του υποδείγματος</a:t>
            </a:r>
          </a:p>
        </p:txBody>
      </p:sp>
      <p:sp>
        <p:nvSpPr>
          <p:cNvPr id="4" name="Θέση ημερομηνίας 3"/>
          <p:cNvSpPr>
            <a:spLocks noGrp="1"/>
          </p:cNvSpPr>
          <p:nvPr>
            <p:ph type="dt" sz="half" idx="10"/>
          </p:nvPr>
        </p:nvSpPr>
        <p:spPr/>
        <p:txBody>
          <a:bodyPr/>
          <a:lstStyle/>
          <a:p>
            <a:fld id="{52B69728-13CB-4FA4-904D-CF5C4C899BE6}" type="datetimeFigureOut">
              <a:rPr lang="el-GR" smtClean="0"/>
              <a:pPr/>
              <a:t>23/7/2025</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492F0BFE-09C8-4C53-B8F5-44730026CF66}" type="slidenum">
              <a:rPr lang="el-GR" smtClean="0"/>
              <a:pPr/>
              <a:t>‹#›</a:t>
            </a:fld>
            <a:endParaRPr lang="el-G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Στυλ κύριου τίτλου</a:t>
            </a:r>
          </a:p>
        </p:txBody>
      </p:sp>
      <p:sp>
        <p:nvSpPr>
          <p:cNvPr id="3" name="Θέση κατακόρυφου κειμένου 2"/>
          <p:cNvSpPr>
            <a:spLocks noGrp="1"/>
          </p:cNvSpPr>
          <p:nvPr>
            <p:ph type="body" orient="vert" idx="1" hasCustomPrompt="1"/>
          </p:nvPr>
        </p:nvSpPr>
        <p:spPr/>
        <p:txBody>
          <a:bodyPr vert="eaVert"/>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10"/>
          </p:nvPr>
        </p:nvSpPr>
        <p:spPr/>
        <p:txBody>
          <a:bodyPr/>
          <a:lstStyle/>
          <a:p>
            <a:fld id="{52B69728-13CB-4FA4-904D-CF5C4C899BE6}" type="datetimeFigureOut">
              <a:rPr lang="el-GR" smtClean="0"/>
              <a:pPr/>
              <a:t>23/7/2025</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492F0BFE-09C8-4C53-B8F5-44730026CF66}" type="slidenum">
              <a:rPr lang="el-GR" smtClean="0"/>
              <a:pPr/>
              <a:t>‹#›</a:t>
            </a:fld>
            <a:endParaRPr lang="el-G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73167" y="2213684"/>
            <a:ext cx="9045600" cy="27840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8400"/>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0" name="Google Shape;10;p2"/>
          <p:cNvSpPr txBox="1">
            <a:spLocks noGrp="1"/>
          </p:cNvSpPr>
          <p:nvPr>
            <p:ph type="subTitle" idx="1"/>
          </p:nvPr>
        </p:nvSpPr>
        <p:spPr>
          <a:xfrm>
            <a:off x="1573167" y="5224917"/>
            <a:ext cx="9045600" cy="6344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1200"/>
              <a:buNone/>
              <a:defRPr sz="2133"/>
            </a:lvl1pPr>
            <a:lvl2pPr lvl="1" algn="ctr">
              <a:lnSpc>
                <a:spcPct val="100000"/>
              </a:lnSpc>
              <a:spcBef>
                <a:spcPts val="0"/>
              </a:spcBef>
              <a:spcAft>
                <a:spcPts val="0"/>
              </a:spcAft>
              <a:buSzPts val="1800"/>
              <a:buNone/>
              <a:defRPr sz="2400"/>
            </a:lvl2pPr>
            <a:lvl3pPr lvl="2" algn="ctr">
              <a:lnSpc>
                <a:spcPct val="100000"/>
              </a:lnSpc>
              <a:spcBef>
                <a:spcPts val="0"/>
              </a:spcBef>
              <a:spcAft>
                <a:spcPts val="0"/>
              </a:spcAft>
              <a:buSzPts val="1800"/>
              <a:buNone/>
              <a:defRPr sz="2400"/>
            </a:lvl3pPr>
            <a:lvl4pPr lvl="3" algn="ctr">
              <a:lnSpc>
                <a:spcPct val="100000"/>
              </a:lnSpc>
              <a:spcBef>
                <a:spcPts val="0"/>
              </a:spcBef>
              <a:spcAft>
                <a:spcPts val="0"/>
              </a:spcAft>
              <a:buSzPts val="1800"/>
              <a:buNone/>
              <a:defRPr sz="2400"/>
            </a:lvl4pPr>
            <a:lvl5pPr lvl="4" algn="ctr">
              <a:lnSpc>
                <a:spcPct val="100000"/>
              </a:lnSpc>
              <a:spcBef>
                <a:spcPts val="0"/>
              </a:spcBef>
              <a:spcAft>
                <a:spcPts val="0"/>
              </a:spcAft>
              <a:buSzPts val="1800"/>
              <a:buNone/>
              <a:defRPr sz="2400"/>
            </a:lvl5pPr>
            <a:lvl6pPr lvl="5" algn="ctr">
              <a:lnSpc>
                <a:spcPct val="100000"/>
              </a:lnSpc>
              <a:spcBef>
                <a:spcPts val="0"/>
              </a:spcBef>
              <a:spcAft>
                <a:spcPts val="0"/>
              </a:spcAft>
              <a:buSzPts val="1800"/>
              <a:buNone/>
              <a:defRPr sz="2400"/>
            </a:lvl6pPr>
            <a:lvl7pPr lvl="6" algn="ctr">
              <a:lnSpc>
                <a:spcPct val="100000"/>
              </a:lnSpc>
              <a:spcBef>
                <a:spcPts val="0"/>
              </a:spcBef>
              <a:spcAft>
                <a:spcPts val="0"/>
              </a:spcAft>
              <a:buSzPts val="1800"/>
              <a:buNone/>
              <a:defRPr sz="2400"/>
            </a:lvl7pPr>
            <a:lvl8pPr lvl="7" algn="ctr">
              <a:lnSpc>
                <a:spcPct val="100000"/>
              </a:lnSpc>
              <a:spcBef>
                <a:spcPts val="0"/>
              </a:spcBef>
              <a:spcAft>
                <a:spcPts val="0"/>
              </a:spcAft>
              <a:buSzPts val="1800"/>
              <a:buNone/>
              <a:defRPr sz="2400"/>
            </a:lvl8pPr>
            <a:lvl9pPr lvl="8" algn="ctr">
              <a:lnSpc>
                <a:spcPct val="100000"/>
              </a:lnSpc>
              <a:spcBef>
                <a:spcPts val="0"/>
              </a:spcBef>
              <a:spcAft>
                <a:spcPts val="0"/>
              </a:spcAft>
              <a:buSzPts val="1800"/>
              <a:buNone/>
              <a:defRPr sz="2400"/>
            </a:lvl9pPr>
          </a:lstStyle>
          <a:p>
            <a:endParaRPr/>
          </a:p>
        </p:txBody>
      </p:sp>
    </p:spTree>
    <p:extLst>
      <p:ext uri="{BB962C8B-B14F-4D97-AF65-F5344CB8AC3E}">
        <p14:creationId xmlns:p14="http://schemas.microsoft.com/office/powerpoint/2010/main" val="26440273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0"/>
        <p:cNvGrpSpPr/>
        <p:nvPr/>
      </p:nvGrpSpPr>
      <p:grpSpPr>
        <a:xfrm>
          <a:off x="0" y="0"/>
          <a:ext cx="0" cy="0"/>
          <a:chOff x="0" y="0"/>
          <a:chExt cx="0" cy="0"/>
        </a:xfrm>
      </p:grpSpPr>
      <p:sp>
        <p:nvSpPr>
          <p:cNvPr id="31" name="Google Shape;31;p8"/>
          <p:cNvSpPr txBox="1">
            <a:spLocks noGrp="1"/>
          </p:cNvSpPr>
          <p:nvPr>
            <p:ph type="title"/>
          </p:nvPr>
        </p:nvSpPr>
        <p:spPr>
          <a:xfrm>
            <a:off x="3090600" y="1742800"/>
            <a:ext cx="6010800" cy="3372400"/>
          </a:xfrm>
          <a:prstGeom prst="rect">
            <a:avLst/>
          </a:prstGeom>
        </p:spPr>
        <p:txBody>
          <a:bodyPr spcFirstLastPara="1" wrap="square" lIns="91425" tIns="91425" rIns="91425" bIns="91425" anchor="ctr" anchorCtr="0">
            <a:noAutofit/>
          </a:bodyPr>
          <a:lstStyle>
            <a:lvl1pPr lvl="0" algn="ctr">
              <a:lnSpc>
                <a:spcPct val="80000"/>
              </a:lnSpc>
              <a:spcBef>
                <a:spcPts val="0"/>
              </a:spcBef>
              <a:spcAft>
                <a:spcPts val="0"/>
              </a:spcAft>
              <a:buSzPts val="4800"/>
              <a:buNone/>
              <a:defRPr sz="13333"/>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cxnSp>
        <p:nvCxnSpPr>
          <p:cNvPr id="32" name="Google Shape;32;p8"/>
          <p:cNvCxnSpPr/>
          <p:nvPr/>
        </p:nvCxnSpPr>
        <p:spPr>
          <a:xfrm>
            <a:off x="0" y="3428984"/>
            <a:ext cx="1650400" cy="0"/>
          </a:xfrm>
          <a:prstGeom prst="straightConnector1">
            <a:avLst/>
          </a:prstGeom>
          <a:noFill/>
          <a:ln w="28575" cap="flat" cmpd="sng">
            <a:solidFill>
              <a:schemeClr val="dk1"/>
            </a:solidFill>
            <a:prstDash val="solid"/>
            <a:round/>
            <a:headEnd type="none" w="med" len="med"/>
            <a:tailEnd type="none" w="med" len="med"/>
          </a:ln>
        </p:spPr>
      </p:cxnSp>
      <p:cxnSp>
        <p:nvCxnSpPr>
          <p:cNvPr id="33" name="Google Shape;33;p8"/>
          <p:cNvCxnSpPr/>
          <p:nvPr/>
        </p:nvCxnSpPr>
        <p:spPr>
          <a:xfrm>
            <a:off x="10541600" y="3428984"/>
            <a:ext cx="1650400" cy="0"/>
          </a:xfrm>
          <a:prstGeom prst="straightConnector1">
            <a:avLst/>
          </a:prstGeom>
          <a:noFill/>
          <a:ln w="28575" cap="flat" cmpd="sng">
            <a:solidFill>
              <a:schemeClr val="dk1"/>
            </a:solidFill>
            <a:prstDash val="solid"/>
            <a:round/>
            <a:headEnd type="none" w="med" len="med"/>
            <a:tailEnd type="none" w="med" len="med"/>
          </a:ln>
        </p:spPr>
      </p:cxnSp>
    </p:spTree>
    <p:extLst>
      <p:ext uri="{BB962C8B-B14F-4D97-AF65-F5344CB8AC3E}">
        <p14:creationId xmlns:p14="http://schemas.microsoft.com/office/powerpoint/2010/main" val="39958063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4"/>
        <p:cNvGrpSpPr/>
        <p:nvPr/>
      </p:nvGrpSpPr>
      <p:grpSpPr>
        <a:xfrm>
          <a:off x="0" y="0"/>
          <a:ext cx="0" cy="0"/>
          <a:chOff x="0" y="0"/>
          <a:chExt cx="0" cy="0"/>
        </a:xfrm>
      </p:grpSpPr>
      <p:sp>
        <p:nvSpPr>
          <p:cNvPr id="35" name="Google Shape;35;p9"/>
          <p:cNvSpPr txBox="1">
            <a:spLocks noGrp="1"/>
          </p:cNvSpPr>
          <p:nvPr>
            <p:ph type="title"/>
          </p:nvPr>
        </p:nvSpPr>
        <p:spPr>
          <a:xfrm>
            <a:off x="2847400" y="1585467"/>
            <a:ext cx="6497200" cy="2619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0000"/>
            </a:lvl1pPr>
            <a:lvl2pPr lvl="1" algn="ctr" rtl="0">
              <a:spcBef>
                <a:spcPts val="0"/>
              </a:spcBef>
              <a:spcAft>
                <a:spcPts val="0"/>
              </a:spcAft>
              <a:buSzPts val="3000"/>
              <a:buNone/>
              <a:defRPr/>
            </a:lvl2pPr>
            <a:lvl3pPr lvl="2" algn="ctr" rtl="0">
              <a:spcBef>
                <a:spcPts val="0"/>
              </a:spcBef>
              <a:spcAft>
                <a:spcPts val="0"/>
              </a:spcAft>
              <a:buSzPts val="3000"/>
              <a:buNone/>
              <a:defRPr/>
            </a:lvl3pPr>
            <a:lvl4pPr lvl="3" algn="ctr" rtl="0">
              <a:spcBef>
                <a:spcPts val="0"/>
              </a:spcBef>
              <a:spcAft>
                <a:spcPts val="0"/>
              </a:spcAft>
              <a:buSzPts val="3000"/>
              <a:buNone/>
              <a:defRPr/>
            </a:lvl4pPr>
            <a:lvl5pPr lvl="4" algn="ctr" rtl="0">
              <a:spcBef>
                <a:spcPts val="0"/>
              </a:spcBef>
              <a:spcAft>
                <a:spcPts val="0"/>
              </a:spcAft>
              <a:buSzPts val="3000"/>
              <a:buNone/>
              <a:defRPr/>
            </a:lvl5pPr>
            <a:lvl6pPr lvl="5" algn="ctr" rtl="0">
              <a:spcBef>
                <a:spcPts val="0"/>
              </a:spcBef>
              <a:spcAft>
                <a:spcPts val="0"/>
              </a:spcAft>
              <a:buSzPts val="3000"/>
              <a:buNone/>
              <a:defRPr/>
            </a:lvl6pPr>
            <a:lvl7pPr lvl="6" algn="ctr" rtl="0">
              <a:spcBef>
                <a:spcPts val="0"/>
              </a:spcBef>
              <a:spcAft>
                <a:spcPts val="0"/>
              </a:spcAft>
              <a:buSzPts val="3000"/>
              <a:buNone/>
              <a:defRPr/>
            </a:lvl7pPr>
            <a:lvl8pPr lvl="7" algn="ctr" rtl="0">
              <a:spcBef>
                <a:spcPts val="0"/>
              </a:spcBef>
              <a:spcAft>
                <a:spcPts val="0"/>
              </a:spcAft>
              <a:buSzPts val="3000"/>
              <a:buNone/>
              <a:defRPr/>
            </a:lvl8pPr>
            <a:lvl9pPr lvl="8" algn="ctr" rtl="0">
              <a:spcBef>
                <a:spcPts val="0"/>
              </a:spcBef>
              <a:spcAft>
                <a:spcPts val="0"/>
              </a:spcAft>
              <a:buSzPts val="3000"/>
              <a:buNone/>
              <a:defRPr/>
            </a:lvl9pPr>
          </a:lstStyle>
          <a:p>
            <a:endParaRPr/>
          </a:p>
        </p:txBody>
      </p:sp>
      <p:sp>
        <p:nvSpPr>
          <p:cNvPr id="36" name="Google Shape;36;p9"/>
          <p:cNvSpPr txBox="1">
            <a:spLocks noGrp="1"/>
          </p:cNvSpPr>
          <p:nvPr>
            <p:ph type="subTitle" idx="1"/>
          </p:nvPr>
        </p:nvSpPr>
        <p:spPr>
          <a:xfrm>
            <a:off x="2847400" y="4204667"/>
            <a:ext cx="6497200" cy="894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sz="2133"/>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cxnSp>
        <p:nvCxnSpPr>
          <p:cNvPr id="37" name="Google Shape;37;p9"/>
          <p:cNvCxnSpPr/>
          <p:nvPr/>
        </p:nvCxnSpPr>
        <p:spPr>
          <a:xfrm>
            <a:off x="6095967" y="-16"/>
            <a:ext cx="0" cy="1208000"/>
          </a:xfrm>
          <a:prstGeom prst="straightConnector1">
            <a:avLst/>
          </a:prstGeom>
          <a:noFill/>
          <a:ln w="28575" cap="flat" cmpd="sng">
            <a:solidFill>
              <a:schemeClr val="dk1"/>
            </a:solidFill>
            <a:prstDash val="solid"/>
            <a:round/>
            <a:headEnd type="none" w="med" len="med"/>
            <a:tailEnd type="none" w="med" len="med"/>
          </a:ln>
        </p:spPr>
      </p:cxnSp>
      <p:cxnSp>
        <p:nvCxnSpPr>
          <p:cNvPr id="38" name="Google Shape;38;p9"/>
          <p:cNvCxnSpPr/>
          <p:nvPr/>
        </p:nvCxnSpPr>
        <p:spPr>
          <a:xfrm>
            <a:off x="6095967" y="5649984"/>
            <a:ext cx="0" cy="1208000"/>
          </a:xfrm>
          <a:prstGeom prst="straightConnector1">
            <a:avLst/>
          </a:prstGeom>
          <a:noFill/>
          <a:ln w="28575" cap="flat" cmpd="sng">
            <a:solidFill>
              <a:schemeClr val="dk1"/>
            </a:solidFill>
            <a:prstDash val="solid"/>
            <a:round/>
            <a:headEnd type="none" w="med" len="med"/>
            <a:tailEnd type="none" w="med" len="med"/>
          </a:ln>
        </p:spPr>
      </p:cxnSp>
    </p:spTree>
    <p:extLst>
      <p:ext uri="{BB962C8B-B14F-4D97-AF65-F5344CB8AC3E}">
        <p14:creationId xmlns:p14="http://schemas.microsoft.com/office/powerpoint/2010/main" val="23123116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39"/>
        <p:cNvGrpSpPr/>
        <p:nvPr/>
      </p:nvGrpSpPr>
      <p:grpSpPr>
        <a:xfrm>
          <a:off x="0" y="0"/>
          <a:ext cx="0" cy="0"/>
          <a:chOff x="0" y="0"/>
          <a:chExt cx="0" cy="0"/>
        </a:xfrm>
      </p:grpSpPr>
      <p:sp>
        <p:nvSpPr>
          <p:cNvPr id="40" name="Google Shape;40;p10"/>
          <p:cNvSpPr>
            <a:spLocks noGrp="1"/>
          </p:cNvSpPr>
          <p:nvPr>
            <p:ph type="pic" idx="2"/>
          </p:nvPr>
        </p:nvSpPr>
        <p:spPr>
          <a:xfrm>
            <a:off x="0" y="0"/>
            <a:ext cx="12192000" cy="6858000"/>
          </a:xfrm>
          <a:prstGeom prst="rect">
            <a:avLst/>
          </a:prstGeom>
          <a:noFill/>
          <a:ln>
            <a:noFill/>
          </a:ln>
        </p:spPr>
      </p:sp>
      <p:sp>
        <p:nvSpPr>
          <p:cNvPr id="41" name="Google Shape;41;p10"/>
          <p:cNvSpPr txBox="1">
            <a:spLocks noGrp="1"/>
          </p:cNvSpPr>
          <p:nvPr>
            <p:ph type="title"/>
          </p:nvPr>
        </p:nvSpPr>
        <p:spPr>
          <a:xfrm>
            <a:off x="960000" y="5352600"/>
            <a:ext cx="10272000" cy="763600"/>
          </a:xfrm>
          <a:prstGeom prst="rect">
            <a:avLst/>
          </a:prstGeom>
          <a:solidFill>
            <a:schemeClr val="dk1"/>
          </a:solidFill>
        </p:spPr>
        <p:txBody>
          <a:bodyPr spcFirstLastPara="1" wrap="square" lIns="91425" tIns="91425" rIns="91425" bIns="91425" anchor="t" anchorCtr="0">
            <a:noAutofit/>
          </a:bodyPr>
          <a:lstStyle>
            <a:lvl1pPr lvl="0" algn="ctr" rtl="0">
              <a:spcBef>
                <a:spcPts val="0"/>
              </a:spcBef>
              <a:spcAft>
                <a:spcPts val="0"/>
              </a:spcAft>
              <a:buSzPts val="3000"/>
              <a:buNone/>
              <a:defRPr>
                <a:solidFill>
                  <a:schemeClr val="lt1"/>
                </a:solidFill>
              </a:defRPr>
            </a:lvl1pPr>
            <a:lvl2pPr lvl="1" algn="ctr" rtl="0">
              <a:spcBef>
                <a:spcPts val="0"/>
              </a:spcBef>
              <a:spcAft>
                <a:spcPts val="0"/>
              </a:spcAft>
              <a:buSzPts val="3000"/>
              <a:buNone/>
              <a:defRPr/>
            </a:lvl2pPr>
            <a:lvl3pPr lvl="2" algn="ctr" rtl="0">
              <a:spcBef>
                <a:spcPts val="0"/>
              </a:spcBef>
              <a:spcAft>
                <a:spcPts val="0"/>
              </a:spcAft>
              <a:buSzPts val="3000"/>
              <a:buNone/>
              <a:defRPr/>
            </a:lvl3pPr>
            <a:lvl4pPr lvl="3" algn="ctr" rtl="0">
              <a:spcBef>
                <a:spcPts val="0"/>
              </a:spcBef>
              <a:spcAft>
                <a:spcPts val="0"/>
              </a:spcAft>
              <a:buSzPts val="3000"/>
              <a:buNone/>
              <a:defRPr/>
            </a:lvl4pPr>
            <a:lvl5pPr lvl="4" algn="ctr" rtl="0">
              <a:spcBef>
                <a:spcPts val="0"/>
              </a:spcBef>
              <a:spcAft>
                <a:spcPts val="0"/>
              </a:spcAft>
              <a:buSzPts val="3000"/>
              <a:buNone/>
              <a:defRPr/>
            </a:lvl5pPr>
            <a:lvl6pPr lvl="5" algn="ctr" rtl="0">
              <a:spcBef>
                <a:spcPts val="0"/>
              </a:spcBef>
              <a:spcAft>
                <a:spcPts val="0"/>
              </a:spcAft>
              <a:buSzPts val="3000"/>
              <a:buNone/>
              <a:defRPr/>
            </a:lvl6pPr>
            <a:lvl7pPr lvl="6" algn="ctr" rtl="0">
              <a:spcBef>
                <a:spcPts val="0"/>
              </a:spcBef>
              <a:spcAft>
                <a:spcPts val="0"/>
              </a:spcAft>
              <a:buSzPts val="3000"/>
              <a:buNone/>
              <a:defRPr/>
            </a:lvl7pPr>
            <a:lvl8pPr lvl="7" algn="ctr" rtl="0">
              <a:spcBef>
                <a:spcPts val="0"/>
              </a:spcBef>
              <a:spcAft>
                <a:spcPts val="0"/>
              </a:spcAft>
              <a:buSzPts val="3000"/>
              <a:buNone/>
              <a:defRPr/>
            </a:lvl8pPr>
            <a:lvl9pPr lvl="8" algn="ctr" rtl="0">
              <a:spcBef>
                <a:spcPts val="0"/>
              </a:spcBef>
              <a:spcAft>
                <a:spcPts val="0"/>
              </a:spcAft>
              <a:buSzPts val="3000"/>
              <a:buNone/>
              <a:defRPr/>
            </a:lvl9pPr>
          </a:lstStyle>
          <a:p>
            <a:endParaRPr/>
          </a:p>
        </p:txBody>
      </p:sp>
    </p:spTree>
    <p:extLst>
      <p:ext uri="{BB962C8B-B14F-4D97-AF65-F5344CB8AC3E}">
        <p14:creationId xmlns:p14="http://schemas.microsoft.com/office/powerpoint/2010/main" val="4679834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6"/>
        <p:cNvGrpSpPr/>
        <p:nvPr/>
      </p:nvGrpSpPr>
      <p:grpSpPr>
        <a:xfrm>
          <a:off x="0" y="0"/>
          <a:ext cx="0" cy="0"/>
          <a:chOff x="0" y="0"/>
          <a:chExt cx="0" cy="0"/>
        </a:xfrm>
      </p:grpSpPr>
    </p:spTree>
    <p:extLst>
      <p:ext uri="{BB962C8B-B14F-4D97-AF65-F5344CB8AC3E}">
        <p14:creationId xmlns:p14="http://schemas.microsoft.com/office/powerpoint/2010/main" val="31470549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Background">
  <p:cSld name="Background">
    <p:spTree>
      <p:nvGrpSpPr>
        <p:cNvPr id="1" name="Shape 113"/>
        <p:cNvGrpSpPr/>
        <p:nvPr/>
      </p:nvGrpSpPr>
      <p:grpSpPr>
        <a:xfrm>
          <a:off x="0" y="0"/>
          <a:ext cx="0" cy="0"/>
          <a:chOff x="0" y="0"/>
          <a:chExt cx="0" cy="0"/>
        </a:xfrm>
      </p:grpSpPr>
      <p:cxnSp>
        <p:nvCxnSpPr>
          <p:cNvPr id="114" name="Google Shape;114;p21"/>
          <p:cNvCxnSpPr/>
          <p:nvPr/>
        </p:nvCxnSpPr>
        <p:spPr>
          <a:xfrm>
            <a:off x="950967" y="-16"/>
            <a:ext cx="0" cy="6101200"/>
          </a:xfrm>
          <a:prstGeom prst="straightConnector1">
            <a:avLst/>
          </a:prstGeom>
          <a:noFill/>
          <a:ln w="28575" cap="flat" cmpd="sng">
            <a:solidFill>
              <a:schemeClr val="dk1"/>
            </a:solidFill>
            <a:prstDash val="solid"/>
            <a:round/>
            <a:headEnd type="none" w="med" len="med"/>
            <a:tailEnd type="none" w="med" len="med"/>
          </a:ln>
        </p:spPr>
      </p:cxnSp>
      <p:cxnSp>
        <p:nvCxnSpPr>
          <p:cNvPr id="115" name="Google Shape;115;p21"/>
          <p:cNvCxnSpPr/>
          <p:nvPr/>
        </p:nvCxnSpPr>
        <p:spPr>
          <a:xfrm>
            <a:off x="11241033" y="756784"/>
            <a:ext cx="0" cy="6101200"/>
          </a:xfrm>
          <a:prstGeom prst="straightConnector1">
            <a:avLst/>
          </a:prstGeom>
          <a:noFill/>
          <a:ln w="28575" cap="flat" cmpd="sng">
            <a:solidFill>
              <a:schemeClr val="dk1"/>
            </a:solidFill>
            <a:prstDash val="solid"/>
            <a:round/>
            <a:headEnd type="none" w="med" len="med"/>
            <a:tailEnd type="none" w="med" len="med"/>
          </a:ln>
        </p:spPr>
      </p:cxnSp>
    </p:spTree>
    <p:extLst>
      <p:ext uri="{BB962C8B-B14F-4D97-AF65-F5344CB8AC3E}">
        <p14:creationId xmlns:p14="http://schemas.microsoft.com/office/powerpoint/2010/main" val="66925249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Background 1">
  <p:cSld name="Background 1">
    <p:spTree>
      <p:nvGrpSpPr>
        <p:cNvPr id="1" name="Shape 116"/>
        <p:cNvGrpSpPr/>
        <p:nvPr/>
      </p:nvGrpSpPr>
      <p:grpSpPr>
        <a:xfrm>
          <a:off x="0" y="0"/>
          <a:ext cx="0" cy="0"/>
          <a:chOff x="0" y="0"/>
          <a:chExt cx="0" cy="0"/>
        </a:xfrm>
      </p:grpSpPr>
      <p:cxnSp>
        <p:nvCxnSpPr>
          <p:cNvPr id="117" name="Google Shape;117;p22"/>
          <p:cNvCxnSpPr/>
          <p:nvPr/>
        </p:nvCxnSpPr>
        <p:spPr>
          <a:xfrm>
            <a:off x="0" y="6138651"/>
            <a:ext cx="8189200" cy="0"/>
          </a:xfrm>
          <a:prstGeom prst="straightConnector1">
            <a:avLst/>
          </a:prstGeom>
          <a:noFill/>
          <a:ln w="28575" cap="flat" cmpd="sng">
            <a:solidFill>
              <a:schemeClr val="dk1"/>
            </a:solidFill>
            <a:prstDash val="solid"/>
            <a:round/>
            <a:headEnd type="none" w="med" len="med"/>
            <a:tailEnd type="none" w="med" len="med"/>
          </a:ln>
        </p:spPr>
      </p:cxnSp>
      <p:cxnSp>
        <p:nvCxnSpPr>
          <p:cNvPr id="118" name="Google Shape;118;p22"/>
          <p:cNvCxnSpPr/>
          <p:nvPr/>
        </p:nvCxnSpPr>
        <p:spPr>
          <a:xfrm>
            <a:off x="4002800" y="719317"/>
            <a:ext cx="8189200" cy="0"/>
          </a:xfrm>
          <a:prstGeom prst="straightConnector1">
            <a:avLst/>
          </a:prstGeom>
          <a:noFill/>
          <a:ln w="28575" cap="flat" cmpd="sng">
            <a:solidFill>
              <a:schemeClr val="dk1"/>
            </a:solidFill>
            <a:prstDash val="solid"/>
            <a:round/>
            <a:headEnd type="none" w="med" len="med"/>
            <a:tailEnd type="none" w="med" len="med"/>
          </a:ln>
        </p:spPr>
      </p:cxnSp>
    </p:spTree>
    <p:extLst>
      <p:ext uri="{BB962C8B-B14F-4D97-AF65-F5344CB8AC3E}">
        <p14:creationId xmlns:p14="http://schemas.microsoft.com/office/powerpoint/2010/main" val="5433440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Τίτλος και περιεχό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0E6AFDC7-F407-3BAC-4E9B-E5A7435DD93B}"/>
              </a:ext>
            </a:extLst>
          </p:cNvPr>
          <p:cNvSpPr>
            <a:spLocks noGrp="1"/>
          </p:cNvSpPr>
          <p:nvPr>
            <p:ph type="title"/>
          </p:nvPr>
        </p:nvSpPr>
        <p:spPr/>
        <p:txBody>
          <a:bodyPr/>
          <a:lstStyle/>
          <a:p>
            <a:r>
              <a:rPr lang="el-GR"/>
              <a:t>Κάντε κλικ για να επεξεργαστείτε τον τίτλο υποδείγματος</a:t>
            </a:r>
            <a:endParaRPr lang="en-US"/>
          </a:p>
        </p:txBody>
      </p:sp>
      <p:sp>
        <p:nvSpPr>
          <p:cNvPr id="3" name="Θέση περιεχομένου 2">
            <a:extLst>
              <a:ext uri="{FF2B5EF4-FFF2-40B4-BE49-F238E27FC236}">
                <a16:creationId xmlns:a16="http://schemas.microsoft.com/office/drawing/2014/main" id="{BBD320C2-91DD-EE43-C976-B1BF457FC512}"/>
              </a:ext>
            </a:extLst>
          </p:cNvPr>
          <p:cNvSpPr>
            <a:spLocks noGrp="1"/>
          </p:cNvSpPr>
          <p:nvPr>
            <p:ph idx="1"/>
          </p:nvPr>
        </p:nvSpPr>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endParaRPr lang="en-US"/>
          </a:p>
        </p:txBody>
      </p:sp>
      <p:sp>
        <p:nvSpPr>
          <p:cNvPr id="4" name="Θέση ημερομηνίας 3">
            <a:extLst>
              <a:ext uri="{FF2B5EF4-FFF2-40B4-BE49-F238E27FC236}">
                <a16:creationId xmlns:a16="http://schemas.microsoft.com/office/drawing/2014/main" id="{776281D1-503D-EE04-95D3-8002A457D74C}"/>
              </a:ext>
            </a:extLst>
          </p:cNvPr>
          <p:cNvSpPr>
            <a:spLocks noGrp="1"/>
          </p:cNvSpPr>
          <p:nvPr>
            <p:ph type="dt" sz="half" idx="10"/>
          </p:nvPr>
        </p:nvSpPr>
        <p:spPr>
          <a:xfrm>
            <a:off x="838200" y="6356351"/>
            <a:ext cx="2743200" cy="365125"/>
          </a:xfrm>
          <a:prstGeom prst="rect">
            <a:avLst/>
          </a:prstGeom>
        </p:spPr>
        <p:txBody>
          <a:bodyPr/>
          <a:lstStyle/>
          <a:p>
            <a:endParaRPr lang="en-US"/>
          </a:p>
        </p:txBody>
      </p:sp>
      <p:sp>
        <p:nvSpPr>
          <p:cNvPr id="5" name="Θέση υποσέλιδου 4">
            <a:extLst>
              <a:ext uri="{FF2B5EF4-FFF2-40B4-BE49-F238E27FC236}">
                <a16:creationId xmlns:a16="http://schemas.microsoft.com/office/drawing/2014/main" id="{948F72BC-B3B4-D8DC-6011-89CFB93C5809}"/>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Θέση αριθμού διαφάνειας 5">
            <a:extLst>
              <a:ext uri="{FF2B5EF4-FFF2-40B4-BE49-F238E27FC236}">
                <a16:creationId xmlns:a16="http://schemas.microsoft.com/office/drawing/2014/main" id="{C2A2511E-9474-5DC2-B7AD-A0F2575B5967}"/>
              </a:ext>
            </a:extLst>
          </p:cNvPr>
          <p:cNvSpPr>
            <a:spLocks noGrp="1"/>
          </p:cNvSpPr>
          <p:nvPr>
            <p:ph type="sldNum" sz="quarter" idx="12"/>
          </p:nvPr>
        </p:nvSpPr>
        <p:spPr/>
        <p:txBody>
          <a:bodyPr/>
          <a:lstStyle/>
          <a:p>
            <a:fld id="{3705D503-D1B6-4A67-8FF5-CE1B15326FC5}" type="slidenum">
              <a:rPr lang="en-US" smtClean="0"/>
              <a:pPr/>
              <a:t>‹#›</a:t>
            </a:fld>
            <a:endParaRPr lang="en-US"/>
          </a:p>
        </p:txBody>
      </p:sp>
    </p:spTree>
    <p:extLst>
      <p:ext uri="{BB962C8B-B14F-4D97-AF65-F5344CB8AC3E}">
        <p14:creationId xmlns:p14="http://schemas.microsoft.com/office/powerpoint/2010/main" val="251150090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1"/>
        <p:cNvGrpSpPr/>
        <p:nvPr/>
      </p:nvGrpSpPr>
      <p:grpSpPr>
        <a:xfrm>
          <a:off x="0" y="0"/>
          <a:ext cx="0" cy="0"/>
          <a:chOff x="0" y="0"/>
          <a:chExt cx="0" cy="0"/>
        </a:xfrm>
      </p:grpSpPr>
      <p:sp>
        <p:nvSpPr>
          <p:cNvPr id="12" name="Google Shape;12;p3"/>
          <p:cNvSpPr txBox="1">
            <a:spLocks noGrp="1"/>
          </p:cNvSpPr>
          <p:nvPr>
            <p:ph type="title"/>
          </p:nvPr>
        </p:nvSpPr>
        <p:spPr>
          <a:xfrm>
            <a:off x="3030167" y="5016400"/>
            <a:ext cx="8210800" cy="1122400"/>
          </a:xfrm>
          <a:prstGeom prst="rect">
            <a:avLst/>
          </a:prstGeom>
        </p:spPr>
        <p:txBody>
          <a:bodyPr spcFirstLastPara="1" wrap="square" lIns="91425" tIns="91425" rIns="91425" bIns="91425" anchor="ctr" anchorCtr="0">
            <a:noAutofit/>
          </a:bodyPr>
          <a:lstStyle>
            <a:lvl1pPr lvl="0">
              <a:spcBef>
                <a:spcPts val="0"/>
              </a:spcBef>
              <a:spcAft>
                <a:spcPts val="0"/>
              </a:spcAft>
              <a:buSzPts val="3600"/>
              <a:buNone/>
              <a:defRPr sz="5467"/>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3" name="Google Shape;13;p3"/>
          <p:cNvSpPr txBox="1">
            <a:spLocks noGrp="1"/>
          </p:cNvSpPr>
          <p:nvPr>
            <p:ph type="title" idx="2" hasCustomPrompt="1"/>
          </p:nvPr>
        </p:nvSpPr>
        <p:spPr>
          <a:xfrm>
            <a:off x="1214233" y="5016267"/>
            <a:ext cx="1592000" cy="1122400"/>
          </a:xfrm>
          <a:prstGeom prst="rect">
            <a:avLst/>
          </a:prstGeom>
          <a:noFill/>
        </p:spPr>
        <p:txBody>
          <a:bodyPr spcFirstLastPara="1" wrap="square" lIns="91425" tIns="91425" rIns="91425" bIns="91425" anchor="ctr" anchorCtr="0">
            <a:noAutofit/>
          </a:bodyPr>
          <a:lstStyle>
            <a:lvl1pPr lvl="0" algn="ctr" rtl="0">
              <a:spcBef>
                <a:spcPts val="0"/>
              </a:spcBef>
              <a:spcAft>
                <a:spcPts val="0"/>
              </a:spcAft>
              <a:buSzPts val="6000"/>
              <a:buNone/>
              <a:defRPr sz="8000"/>
            </a:lvl1pPr>
            <a:lvl2pPr lvl="1" algn="ctr" rtl="0">
              <a:spcBef>
                <a:spcPts val="0"/>
              </a:spcBef>
              <a:spcAft>
                <a:spcPts val="0"/>
              </a:spcAft>
              <a:buSzPts val="6000"/>
              <a:buNone/>
              <a:defRPr sz="8000"/>
            </a:lvl2pPr>
            <a:lvl3pPr lvl="2" algn="ctr" rtl="0">
              <a:spcBef>
                <a:spcPts val="0"/>
              </a:spcBef>
              <a:spcAft>
                <a:spcPts val="0"/>
              </a:spcAft>
              <a:buSzPts val="6000"/>
              <a:buNone/>
              <a:defRPr sz="8000"/>
            </a:lvl3pPr>
            <a:lvl4pPr lvl="3" algn="ctr" rtl="0">
              <a:spcBef>
                <a:spcPts val="0"/>
              </a:spcBef>
              <a:spcAft>
                <a:spcPts val="0"/>
              </a:spcAft>
              <a:buSzPts val="6000"/>
              <a:buNone/>
              <a:defRPr sz="8000"/>
            </a:lvl4pPr>
            <a:lvl5pPr lvl="4" algn="ctr" rtl="0">
              <a:spcBef>
                <a:spcPts val="0"/>
              </a:spcBef>
              <a:spcAft>
                <a:spcPts val="0"/>
              </a:spcAft>
              <a:buSzPts val="6000"/>
              <a:buNone/>
              <a:defRPr sz="8000"/>
            </a:lvl5pPr>
            <a:lvl6pPr lvl="5" algn="ctr" rtl="0">
              <a:spcBef>
                <a:spcPts val="0"/>
              </a:spcBef>
              <a:spcAft>
                <a:spcPts val="0"/>
              </a:spcAft>
              <a:buSzPts val="6000"/>
              <a:buNone/>
              <a:defRPr sz="8000"/>
            </a:lvl6pPr>
            <a:lvl7pPr lvl="6" algn="ctr" rtl="0">
              <a:spcBef>
                <a:spcPts val="0"/>
              </a:spcBef>
              <a:spcAft>
                <a:spcPts val="0"/>
              </a:spcAft>
              <a:buSzPts val="6000"/>
              <a:buNone/>
              <a:defRPr sz="8000"/>
            </a:lvl7pPr>
            <a:lvl8pPr lvl="7" algn="ctr" rtl="0">
              <a:spcBef>
                <a:spcPts val="0"/>
              </a:spcBef>
              <a:spcAft>
                <a:spcPts val="0"/>
              </a:spcAft>
              <a:buSzPts val="6000"/>
              <a:buNone/>
              <a:defRPr sz="8000"/>
            </a:lvl8pPr>
            <a:lvl9pPr lvl="8" algn="ctr" rtl="0">
              <a:spcBef>
                <a:spcPts val="0"/>
              </a:spcBef>
              <a:spcAft>
                <a:spcPts val="0"/>
              </a:spcAft>
              <a:buSzPts val="6000"/>
              <a:buNone/>
              <a:defRPr sz="8000"/>
            </a:lvl9pPr>
          </a:lstStyle>
          <a:p>
            <a:r>
              <a:t>xx%</a:t>
            </a:r>
          </a:p>
        </p:txBody>
      </p:sp>
      <p:sp>
        <p:nvSpPr>
          <p:cNvPr id="14" name="Google Shape;14;p3"/>
          <p:cNvSpPr>
            <a:spLocks noGrp="1"/>
          </p:cNvSpPr>
          <p:nvPr>
            <p:ph type="pic" idx="3"/>
          </p:nvPr>
        </p:nvSpPr>
        <p:spPr>
          <a:xfrm>
            <a:off x="950967" y="719333"/>
            <a:ext cx="10290000" cy="3706000"/>
          </a:xfrm>
          <a:prstGeom prst="rect">
            <a:avLst/>
          </a:prstGeom>
          <a:noFill/>
          <a:ln>
            <a:noFill/>
          </a:ln>
        </p:spPr>
      </p:sp>
    </p:spTree>
    <p:extLst>
      <p:ext uri="{BB962C8B-B14F-4D97-AF65-F5344CB8AC3E}">
        <p14:creationId xmlns:p14="http://schemas.microsoft.com/office/powerpoint/2010/main" val="168352746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bg1"/>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05281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p:cNvSpPr>
            <a:spLocks noGrp="1"/>
          </p:cNvSpPr>
          <p:nvPr>
            <p:ph type="title" orient="vert" hasCustomPrompt="1"/>
          </p:nvPr>
        </p:nvSpPr>
        <p:spPr>
          <a:xfrm>
            <a:off x="8724900" y="365125"/>
            <a:ext cx="2628900" cy="5811838"/>
          </a:xfrm>
        </p:spPr>
        <p:txBody>
          <a:bodyPr vert="eaVert"/>
          <a:lstStyle/>
          <a:p>
            <a:r>
              <a:rPr lang="el-GR"/>
              <a:t>Στυλ κύριου τίτλου</a:t>
            </a:r>
          </a:p>
        </p:txBody>
      </p:sp>
      <p:sp>
        <p:nvSpPr>
          <p:cNvPr id="3" name="Θέση κατακόρυφου κειμένου 2"/>
          <p:cNvSpPr>
            <a:spLocks noGrp="1"/>
          </p:cNvSpPr>
          <p:nvPr>
            <p:ph type="body" orient="vert" idx="1" hasCustomPrompt="1"/>
          </p:nvPr>
        </p:nvSpPr>
        <p:spPr>
          <a:xfrm>
            <a:off x="838200" y="365125"/>
            <a:ext cx="7734300" cy="5811838"/>
          </a:xfrm>
        </p:spPr>
        <p:txBody>
          <a:bodyPr vert="eaVert"/>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10"/>
          </p:nvPr>
        </p:nvSpPr>
        <p:spPr/>
        <p:txBody>
          <a:bodyPr/>
          <a:lstStyle/>
          <a:p>
            <a:fld id="{52B69728-13CB-4FA4-904D-CF5C4C899BE6}" type="datetimeFigureOut">
              <a:rPr lang="el-GR" smtClean="0"/>
              <a:pPr/>
              <a:t>23/7/2025</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492F0BFE-09C8-4C53-B8F5-44730026CF66}" type="slidenum">
              <a:rPr lang="el-GR" smtClean="0"/>
              <a:pPr/>
              <a:t>‹#›</a:t>
            </a:fld>
            <a:endParaRPr lang="el-G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114"/>
        <p:cNvGrpSpPr/>
        <p:nvPr/>
      </p:nvGrpSpPr>
      <p:grpSpPr>
        <a:xfrm>
          <a:off x="0" y="0"/>
          <a:ext cx="0" cy="0"/>
          <a:chOff x="0" y="0"/>
          <a:chExt cx="0" cy="0"/>
        </a:xfrm>
      </p:grpSpPr>
      <p:pic>
        <p:nvPicPr>
          <p:cNvPr id="2" name="Εικόνα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951133"/>
          </a:xfrm>
          <a:prstGeom prst="rect">
            <a:avLst/>
          </a:prstGeom>
        </p:spPr>
      </p:pic>
      <p:sp>
        <p:nvSpPr>
          <p:cNvPr id="3" name="TextBox 2"/>
          <p:cNvSpPr txBox="1"/>
          <p:nvPr userDrawn="1"/>
        </p:nvSpPr>
        <p:spPr>
          <a:xfrm>
            <a:off x="1524000" y="671690"/>
            <a:ext cx="5994400" cy="707886"/>
          </a:xfrm>
          <a:prstGeom prst="rect">
            <a:avLst/>
          </a:prstGeom>
          <a:noFill/>
        </p:spPr>
        <p:txBody>
          <a:bodyPr wrap="square" rtlCol="0">
            <a:spAutoFit/>
          </a:bodyPr>
          <a:lstStyle/>
          <a:p>
            <a:r>
              <a:rPr lang="el-GR" sz="2000" b="1">
                <a:solidFill>
                  <a:schemeClr val="bg1"/>
                </a:solidFill>
                <a:latin typeface="Calibri" panose="020F0502020204030204" pitchFamily="34" charset="0"/>
                <a:cs typeface="Calibri" panose="020F0502020204030204" pitchFamily="34" charset="0"/>
              </a:rPr>
              <a:t>Ελληνική Δημοκρατία</a:t>
            </a:r>
            <a:endParaRPr lang="en-US" sz="2000" b="1" baseline="0">
              <a:solidFill>
                <a:schemeClr val="bg1"/>
              </a:solidFill>
              <a:latin typeface="Calibri" panose="020F0502020204030204" pitchFamily="34" charset="0"/>
              <a:cs typeface="Calibri" panose="020F0502020204030204" pitchFamily="34" charset="0"/>
            </a:endParaRPr>
          </a:p>
          <a:p>
            <a:r>
              <a:rPr lang="el-GR" sz="2000" b="1" baseline="0">
                <a:solidFill>
                  <a:schemeClr val="bg1"/>
                </a:solidFill>
                <a:latin typeface="Calibri" panose="020F0502020204030204" pitchFamily="34" charset="0"/>
                <a:cs typeface="Calibri" panose="020F0502020204030204" pitchFamily="34" charset="0"/>
              </a:rPr>
              <a:t>Προεδρία της Κυβέρνησης</a:t>
            </a:r>
            <a:endParaRPr lang="el-GR" sz="2000" b="1">
              <a:solidFill>
                <a:schemeClr val="bg1"/>
              </a:solidFill>
              <a:latin typeface="Calibri" panose="020F0502020204030204" pitchFamily="34" charset="0"/>
              <a:cs typeface="Calibri" panose="020F0502020204030204"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Content" userDrawn="1">
  <p:cSld name="Title and Content">
    <p:spTree>
      <p:nvGrpSpPr>
        <p:cNvPr id="1" name="Shape 50"/>
        <p:cNvGrpSpPr/>
        <p:nvPr/>
      </p:nvGrpSpPr>
      <p:grpSpPr>
        <a:xfrm>
          <a:off x="0" y="0"/>
          <a:ext cx="0" cy="0"/>
          <a:chOff x="0" y="0"/>
          <a:chExt cx="0" cy="0"/>
        </a:xfrm>
      </p:grpSpPr>
      <p:sp>
        <p:nvSpPr>
          <p:cNvPr id="51" name="Google Shape;51;p57"/>
          <p:cNvSpPr txBox="1">
            <a:spLocks noGrp="1"/>
          </p:cNvSpPr>
          <p:nvPr>
            <p:ph type="title"/>
          </p:nvPr>
        </p:nvSpPr>
        <p:spPr>
          <a:xfrm>
            <a:off x="344311" y="263525"/>
            <a:ext cx="11503378" cy="605719"/>
          </a:xfrm>
          <a:prstGeom prst="rect">
            <a:avLst/>
          </a:prstGeom>
          <a:solidFill>
            <a:schemeClr val="accent3">
              <a:lumMod val="50000"/>
            </a:schemeClr>
          </a:solid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53356"/>
              </a:buClr>
              <a:buSzPts val="3200"/>
              <a:buFont typeface="Helvetica Neue"/>
              <a:buNone/>
              <a:defRPr b="1">
                <a:solidFill>
                  <a:schemeClr val="bg1"/>
                </a:solidFill>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152213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90"/>
        <p:cNvGrpSpPr/>
        <p:nvPr/>
      </p:nvGrpSpPr>
      <p:grpSpPr>
        <a:xfrm>
          <a:off x="0" y="0"/>
          <a:ext cx="0" cy="0"/>
          <a:chOff x="0" y="0"/>
          <a:chExt cx="0" cy="0"/>
        </a:xfrm>
      </p:grpSpPr>
      <p:sp>
        <p:nvSpPr>
          <p:cNvPr id="91" name="Google Shape;91;p125"/>
          <p:cNvSpPr/>
          <p:nvPr/>
        </p:nvSpPr>
        <p:spPr>
          <a:xfrm>
            <a:off x="3176" y="2608637"/>
            <a:ext cx="6858000" cy="4249363"/>
          </a:xfrm>
          <a:prstGeom prst="rtTriangle">
            <a:avLst/>
          </a:prstGeom>
          <a:solidFill>
            <a:srgbClr val="0134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panose="020B0604020202020204"/>
              <a:ea typeface="Arial" panose="020B0604020202020204"/>
              <a:cs typeface="Arial" panose="020B0604020202020204"/>
              <a:sym typeface="Arial" panose="020B0604020202020204"/>
            </a:endParaRPr>
          </a:p>
        </p:txBody>
      </p:sp>
      <p:pic>
        <p:nvPicPr>
          <p:cNvPr id="92" name="Google Shape;92;p125" descr="A close up of a logo&#10;&#10;Description automatically generated"/>
          <p:cNvPicPr preferRelativeResize="0"/>
          <p:nvPr/>
        </p:nvPicPr>
        <p:blipFill rotWithShape="1">
          <a:blip r:embed="rId2"/>
          <a:srcRect l="2185" t="6084" r="87330" b="75016"/>
          <a:stretch>
            <a:fillRect/>
          </a:stretch>
        </p:blipFill>
        <p:spPr>
          <a:xfrm>
            <a:off x="869970" y="5228949"/>
            <a:ext cx="1157601" cy="1173678"/>
          </a:xfrm>
          <a:prstGeom prst="rect">
            <a:avLst/>
          </a:prstGeom>
          <a:noFill/>
          <a:ln>
            <a:noFill/>
          </a:ln>
        </p:spPr>
      </p:pic>
    </p:spTree>
    <p:extLst>
      <p:ext uri="{BB962C8B-B14F-4D97-AF65-F5344CB8AC3E}">
        <p14:creationId xmlns:p14="http://schemas.microsoft.com/office/powerpoint/2010/main" val="42410391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1"/>
        <p:cNvGrpSpPr/>
        <p:nvPr/>
      </p:nvGrpSpPr>
      <p:grpSpPr>
        <a:xfrm>
          <a:off x="0" y="0"/>
          <a:ext cx="0" cy="0"/>
          <a:chOff x="0" y="0"/>
          <a:chExt cx="0" cy="0"/>
        </a:xfrm>
      </p:grpSpPr>
      <p:sp>
        <p:nvSpPr>
          <p:cNvPr id="12" name="Google Shape;12;p3"/>
          <p:cNvSpPr txBox="1">
            <a:spLocks noGrp="1"/>
          </p:cNvSpPr>
          <p:nvPr>
            <p:ph type="title"/>
          </p:nvPr>
        </p:nvSpPr>
        <p:spPr>
          <a:xfrm>
            <a:off x="3030167" y="5016400"/>
            <a:ext cx="8210800" cy="1122400"/>
          </a:xfrm>
          <a:prstGeom prst="rect">
            <a:avLst/>
          </a:prstGeom>
        </p:spPr>
        <p:txBody>
          <a:bodyPr spcFirstLastPara="1" wrap="square" lIns="91425" tIns="91425" rIns="91425" bIns="91425" anchor="ctr" anchorCtr="0">
            <a:noAutofit/>
          </a:bodyPr>
          <a:lstStyle>
            <a:lvl1pPr lvl="0">
              <a:spcBef>
                <a:spcPts val="0"/>
              </a:spcBef>
              <a:spcAft>
                <a:spcPts val="0"/>
              </a:spcAft>
              <a:buSzPts val="3600"/>
              <a:buNone/>
              <a:defRPr sz="5467"/>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3" name="Google Shape;13;p3"/>
          <p:cNvSpPr txBox="1">
            <a:spLocks noGrp="1"/>
          </p:cNvSpPr>
          <p:nvPr>
            <p:ph type="title" idx="2" hasCustomPrompt="1"/>
          </p:nvPr>
        </p:nvSpPr>
        <p:spPr>
          <a:xfrm>
            <a:off x="1214233" y="5016267"/>
            <a:ext cx="1592000" cy="1122400"/>
          </a:xfrm>
          <a:prstGeom prst="rect">
            <a:avLst/>
          </a:prstGeom>
          <a:noFill/>
        </p:spPr>
        <p:txBody>
          <a:bodyPr spcFirstLastPara="1" wrap="square" lIns="91425" tIns="91425" rIns="91425" bIns="91425" anchor="ctr" anchorCtr="0">
            <a:noAutofit/>
          </a:bodyPr>
          <a:lstStyle>
            <a:lvl1pPr lvl="0" algn="ctr" rtl="0">
              <a:spcBef>
                <a:spcPts val="0"/>
              </a:spcBef>
              <a:spcAft>
                <a:spcPts val="0"/>
              </a:spcAft>
              <a:buSzPts val="6000"/>
              <a:buNone/>
              <a:defRPr sz="8000"/>
            </a:lvl1pPr>
            <a:lvl2pPr lvl="1" algn="ctr" rtl="0">
              <a:spcBef>
                <a:spcPts val="0"/>
              </a:spcBef>
              <a:spcAft>
                <a:spcPts val="0"/>
              </a:spcAft>
              <a:buSzPts val="6000"/>
              <a:buNone/>
              <a:defRPr sz="8000"/>
            </a:lvl2pPr>
            <a:lvl3pPr lvl="2" algn="ctr" rtl="0">
              <a:spcBef>
                <a:spcPts val="0"/>
              </a:spcBef>
              <a:spcAft>
                <a:spcPts val="0"/>
              </a:spcAft>
              <a:buSzPts val="6000"/>
              <a:buNone/>
              <a:defRPr sz="8000"/>
            </a:lvl3pPr>
            <a:lvl4pPr lvl="3" algn="ctr" rtl="0">
              <a:spcBef>
                <a:spcPts val="0"/>
              </a:spcBef>
              <a:spcAft>
                <a:spcPts val="0"/>
              </a:spcAft>
              <a:buSzPts val="6000"/>
              <a:buNone/>
              <a:defRPr sz="8000"/>
            </a:lvl4pPr>
            <a:lvl5pPr lvl="4" algn="ctr" rtl="0">
              <a:spcBef>
                <a:spcPts val="0"/>
              </a:spcBef>
              <a:spcAft>
                <a:spcPts val="0"/>
              </a:spcAft>
              <a:buSzPts val="6000"/>
              <a:buNone/>
              <a:defRPr sz="8000"/>
            </a:lvl5pPr>
            <a:lvl6pPr lvl="5" algn="ctr" rtl="0">
              <a:spcBef>
                <a:spcPts val="0"/>
              </a:spcBef>
              <a:spcAft>
                <a:spcPts val="0"/>
              </a:spcAft>
              <a:buSzPts val="6000"/>
              <a:buNone/>
              <a:defRPr sz="8000"/>
            </a:lvl6pPr>
            <a:lvl7pPr lvl="6" algn="ctr" rtl="0">
              <a:spcBef>
                <a:spcPts val="0"/>
              </a:spcBef>
              <a:spcAft>
                <a:spcPts val="0"/>
              </a:spcAft>
              <a:buSzPts val="6000"/>
              <a:buNone/>
              <a:defRPr sz="8000"/>
            </a:lvl7pPr>
            <a:lvl8pPr lvl="7" algn="ctr" rtl="0">
              <a:spcBef>
                <a:spcPts val="0"/>
              </a:spcBef>
              <a:spcAft>
                <a:spcPts val="0"/>
              </a:spcAft>
              <a:buSzPts val="6000"/>
              <a:buNone/>
              <a:defRPr sz="8000"/>
            </a:lvl8pPr>
            <a:lvl9pPr lvl="8" algn="ctr" rtl="0">
              <a:spcBef>
                <a:spcPts val="0"/>
              </a:spcBef>
              <a:spcAft>
                <a:spcPts val="0"/>
              </a:spcAft>
              <a:buSzPts val="6000"/>
              <a:buNone/>
              <a:defRPr sz="8000"/>
            </a:lvl9pPr>
          </a:lstStyle>
          <a:p>
            <a:r>
              <a:t>xx%</a:t>
            </a:r>
          </a:p>
        </p:txBody>
      </p:sp>
      <p:sp>
        <p:nvSpPr>
          <p:cNvPr id="14" name="Google Shape;14;p3"/>
          <p:cNvSpPr>
            <a:spLocks noGrp="1"/>
          </p:cNvSpPr>
          <p:nvPr>
            <p:ph type="pic" idx="3"/>
          </p:nvPr>
        </p:nvSpPr>
        <p:spPr>
          <a:xfrm>
            <a:off x="950967" y="719333"/>
            <a:ext cx="10290000" cy="3706000"/>
          </a:xfrm>
          <a:prstGeom prst="rect">
            <a:avLst/>
          </a:prstGeom>
          <a:noFill/>
          <a:ln>
            <a:noFill/>
          </a:ln>
        </p:spPr>
      </p:sp>
    </p:spTree>
    <p:extLst>
      <p:ext uri="{BB962C8B-B14F-4D97-AF65-F5344CB8AC3E}">
        <p14:creationId xmlns:p14="http://schemas.microsoft.com/office/powerpoint/2010/main" val="24700009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bg1"/>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975313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Shape 50"/>
        <p:cNvGrpSpPr/>
        <p:nvPr/>
      </p:nvGrpSpPr>
      <p:grpSpPr>
        <a:xfrm>
          <a:off x="0" y="0"/>
          <a:ext cx="0" cy="0"/>
          <a:chOff x="0" y="0"/>
          <a:chExt cx="0" cy="0"/>
        </a:xfrm>
      </p:grpSpPr>
      <p:sp>
        <p:nvSpPr>
          <p:cNvPr id="51" name="Google Shape;51;p57"/>
          <p:cNvSpPr txBox="1">
            <a:spLocks noGrp="1"/>
          </p:cNvSpPr>
          <p:nvPr>
            <p:ph type="title"/>
          </p:nvPr>
        </p:nvSpPr>
        <p:spPr>
          <a:xfrm>
            <a:off x="344311" y="263525"/>
            <a:ext cx="11503378" cy="605719"/>
          </a:xfrm>
          <a:prstGeom prst="rect">
            <a:avLst/>
          </a:prstGeom>
          <a:solidFill>
            <a:schemeClr val="accent3">
              <a:lumMod val="50000"/>
            </a:schemeClr>
          </a:solid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53356"/>
              </a:buClr>
              <a:buSzPts val="3200"/>
              <a:buFont typeface="Helvetica Neue"/>
              <a:buNone/>
              <a:defRPr b="1">
                <a:solidFill>
                  <a:schemeClr val="bg1"/>
                </a:solidFill>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714110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0"/>
        <p:cNvGrpSpPr/>
        <p:nvPr/>
      </p:nvGrpSpPr>
      <p:grpSpPr>
        <a:xfrm>
          <a:off x="0" y="0"/>
          <a:ext cx="0" cy="0"/>
          <a:chOff x="0" y="0"/>
          <a:chExt cx="0" cy="0"/>
        </a:xfrm>
      </p:grpSpPr>
      <p:sp>
        <p:nvSpPr>
          <p:cNvPr id="51" name="Google Shape;51;p57"/>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53356"/>
              </a:buClr>
              <a:buSzPts val="3200"/>
              <a:buFont typeface="Helvetica Neue"/>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57"/>
          <p:cNvSpPr txBox="1">
            <a:spLocks noGrp="1"/>
          </p:cNvSpPr>
          <p:nvPr>
            <p:ph type="body" idx="1"/>
          </p:nvPr>
        </p:nvSpPr>
        <p:spPr>
          <a:xfrm>
            <a:off x="838200" y="1463675"/>
            <a:ext cx="10515600" cy="4351338"/>
          </a:xfrm>
          <a:prstGeom prst="rect">
            <a:avLst/>
          </a:prstGeom>
          <a:noFill/>
          <a:ln>
            <a:noFill/>
          </a:ln>
        </p:spPr>
        <p:txBody>
          <a:bodyPr spcFirstLastPara="1" wrap="square" lIns="91425" tIns="45700" rIns="91425" bIns="45700" anchor="t" anchorCtr="0">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 name="Google Shape;53;p57"/>
          <p:cNvSpPr txBox="1">
            <a:spLocks noGrp="1"/>
          </p:cNvSpPr>
          <p:nvPr>
            <p:ph type="dt" idx="10"/>
          </p:nvPr>
        </p:nvSpPr>
        <p:spPr>
          <a:xfrm>
            <a:off x="2886075" y="6359525"/>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x-none"/>
          </a:p>
        </p:txBody>
      </p:sp>
      <p:sp>
        <p:nvSpPr>
          <p:cNvPr id="54" name="Google Shape;54;p57"/>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x-none"/>
          </a:p>
        </p:txBody>
      </p:sp>
      <p:sp>
        <p:nvSpPr>
          <p:cNvPr id="55" name="Google Shape;55;p5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Calibri" panose="020F0502020204030204" pitchFamily="34" charset="0"/>
                <a:ea typeface="Helvetica Neue"/>
                <a:cs typeface="Calibri" panose="020F0502020204030204" pitchFamily="34" charset="0"/>
                <a:sym typeface="Helvetica Neue"/>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083520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56"/>
        <p:cNvGrpSpPr/>
        <p:nvPr/>
      </p:nvGrpSpPr>
      <p:grpSpPr>
        <a:xfrm>
          <a:off x="0" y="0"/>
          <a:ext cx="0" cy="0"/>
          <a:chOff x="0" y="0"/>
          <a:chExt cx="0" cy="0"/>
        </a:xfrm>
      </p:grpSpPr>
      <p:sp>
        <p:nvSpPr>
          <p:cNvPr id="57" name="Google Shape;57;p58"/>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53356"/>
              </a:buClr>
              <a:buSzPts val="3200"/>
              <a:buFont typeface="Helvetica Neue"/>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58"/>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 name="Google Shape;59;p58"/>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 name="Google Shape;60;p58"/>
          <p:cNvSpPr txBox="1">
            <a:spLocks noGrp="1"/>
          </p:cNvSpPr>
          <p:nvPr>
            <p:ph type="dt" idx="10"/>
          </p:nvPr>
        </p:nvSpPr>
        <p:spPr>
          <a:xfrm>
            <a:off x="2886075" y="6359525"/>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x-none"/>
          </a:p>
        </p:txBody>
      </p:sp>
      <p:sp>
        <p:nvSpPr>
          <p:cNvPr id="61" name="Google Shape;61;p58"/>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x-none"/>
          </a:p>
        </p:txBody>
      </p:sp>
      <p:sp>
        <p:nvSpPr>
          <p:cNvPr id="62" name="Google Shape;62;p5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Calibri" panose="020F0502020204030204" pitchFamily="34" charset="0"/>
                <a:ea typeface="Helvetica Neue"/>
                <a:cs typeface="Calibri" panose="020F0502020204030204" pitchFamily="34" charset="0"/>
                <a:sym typeface="Helvetica Neue"/>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410076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Στυλ κύριου τίτλου</a:t>
            </a:r>
          </a:p>
        </p:txBody>
      </p:sp>
      <p:sp>
        <p:nvSpPr>
          <p:cNvPr id="3" name="Θέση περιεχομένου 2"/>
          <p:cNvSpPr>
            <a:spLocks noGrp="1"/>
          </p:cNvSpPr>
          <p:nvPr>
            <p:ph idx="1" hasCustomPrompt="1"/>
          </p:nvPr>
        </p:nvSpPr>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10"/>
          </p:nvPr>
        </p:nvSpPr>
        <p:spPr/>
        <p:txBody>
          <a:bodyPr/>
          <a:lstStyle/>
          <a:p>
            <a:fld id="{52B69728-13CB-4FA4-904D-CF5C4C899BE6}" type="datetimeFigureOut">
              <a:rPr lang="el-GR" smtClean="0"/>
              <a:pPr/>
              <a:t>23/7/2025</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492F0BFE-09C8-4C53-B8F5-44730026CF66}" type="slidenum">
              <a:rPr lang="el-GR" smtClean="0"/>
              <a:pPr/>
              <a:t>‹#›</a:t>
            </a:fld>
            <a:endParaRPr lang="el-G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98"/>
        <p:cNvGrpSpPr/>
        <p:nvPr/>
      </p:nvGrpSpPr>
      <p:grpSpPr>
        <a:xfrm>
          <a:off x="0" y="0"/>
          <a:ext cx="0" cy="0"/>
          <a:chOff x="0" y="0"/>
          <a:chExt cx="0" cy="0"/>
        </a:xfrm>
      </p:grpSpPr>
      <p:sp>
        <p:nvSpPr>
          <p:cNvPr id="99" name="Google Shape;99;p64"/>
          <p:cNvSpPr/>
          <p:nvPr/>
        </p:nvSpPr>
        <p:spPr>
          <a:xfrm rot="10800000">
            <a:off x="1123950" y="0"/>
            <a:ext cx="11068050" cy="6858000"/>
          </a:xfrm>
          <a:prstGeom prst="rtTriangle">
            <a:avLst/>
          </a:prstGeom>
          <a:solidFill>
            <a:srgbClr val="3462AB"/>
          </a:solidFill>
          <a:ln>
            <a:noFill/>
          </a:ln>
        </p:spPr>
        <p:txBody>
          <a:bodyPr spcFirstLastPara="1" wrap="square" lIns="91425" tIns="45700" rIns="91425" bIns="45700" anchor="ctr" anchorCtr="0">
            <a:noAutofit/>
          </a:bodyPr>
          <a:lstStyle/>
          <a:p>
            <a:pPr algn="ctr">
              <a:buClr>
                <a:srgbClr val="000000"/>
              </a:buClr>
              <a:buSzPts val="1800"/>
              <a:buFont typeface="Arial"/>
              <a:buNone/>
            </a:pPr>
            <a:endParaRPr kern="0">
              <a:solidFill>
                <a:srgbClr val="FFFFFF"/>
              </a:solidFill>
              <a:latin typeface="Calibri"/>
              <a:ea typeface="Calibri"/>
              <a:cs typeface="Calibri"/>
              <a:sym typeface="Calibri"/>
            </a:endParaRPr>
          </a:p>
        </p:txBody>
      </p:sp>
      <p:pic>
        <p:nvPicPr>
          <p:cNvPr id="100" name="Google Shape;100;p64" descr="Image result for ÎµÎ»Î»Î·Î½Î¹ÎºÎ· Î´Î·Î¼Î¿ÎºÏÎ±ÏÎ¹Î± logo"/>
          <p:cNvPicPr preferRelativeResize="0"/>
          <p:nvPr/>
        </p:nvPicPr>
        <p:blipFill rotWithShape="1">
          <a:blip r:embed="rId2">
            <a:alphaModFix/>
          </a:blip>
          <a:srcRect/>
          <a:stretch/>
        </p:blipFill>
        <p:spPr>
          <a:xfrm>
            <a:off x="8473946" y="1268753"/>
            <a:ext cx="1832104" cy="1795463"/>
          </a:xfrm>
          <a:prstGeom prst="rect">
            <a:avLst/>
          </a:prstGeom>
          <a:noFill/>
          <a:ln>
            <a:noFill/>
          </a:ln>
        </p:spPr>
      </p:pic>
      <p:sp>
        <p:nvSpPr>
          <p:cNvPr id="101" name="Google Shape;101;p64"/>
          <p:cNvSpPr/>
          <p:nvPr/>
        </p:nvSpPr>
        <p:spPr>
          <a:xfrm>
            <a:off x="0" y="4672664"/>
            <a:ext cx="2922814" cy="2185336"/>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800"/>
              <a:buFont typeface="Arial"/>
              <a:buNone/>
            </a:pPr>
            <a:endParaRPr kern="0">
              <a:solidFill>
                <a:srgbClr val="FFFFFF"/>
              </a:solidFill>
              <a:latin typeface="Helvetica Neue"/>
              <a:ea typeface="Helvetica Neue"/>
              <a:cs typeface="Helvetica Neue"/>
              <a:sym typeface="Helvetica Neue"/>
            </a:endParaRPr>
          </a:p>
        </p:txBody>
      </p:sp>
      <p:sp>
        <p:nvSpPr>
          <p:cNvPr id="102" name="Google Shape;102;p64"/>
          <p:cNvSpPr txBox="1">
            <a:spLocks noGrp="1"/>
          </p:cNvSpPr>
          <p:nvPr>
            <p:ph type="ctrTitle"/>
          </p:nvPr>
        </p:nvSpPr>
        <p:spPr>
          <a:xfrm>
            <a:off x="95250" y="4313351"/>
            <a:ext cx="8096250" cy="238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253356"/>
              </a:buClr>
              <a:buSzPts val="6000"/>
              <a:buFont typeface="Helvetica Neue"/>
              <a:buNone/>
              <a:defRPr sz="6000">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 name="Google Shape;103;p64"/>
          <p:cNvSpPr txBox="1">
            <a:spLocks noGrp="1"/>
          </p:cNvSpPr>
          <p:nvPr>
            <p:ph type="subTitle" idx="1"/>
          </p:nvPr>
        </p:nvSpPr>
        <p:spPr>
          <a:xfrm>
            <a:off x="108857" y="2657588"/>
            <a:ext cx="6000750" cy="1655762"/>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1"/>
              </a:buClr>
              <a:buSzPts val="2400"/>
              <a:buNone/>
              <a:defRPr sz="2400">
                <a:latin typeface="Calibri" panose="020F0502020204030204" pitchFamily="34" charset="0"/>
                <a:ea typeface="Helvetica Neue"/>
                <a:cs typeface="Calibri" panose="020F050202020403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35512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ustom Layout" preserve="1">
  <p:cSld name="Custom Layout">
    <p:spTree>
      <p:nvGrpSpPr>
        <p:cNvPr id="1" name="Shape 114"/>
        <p:cNvGrpSpPr/>
        <p:nvPr/>
      </p:nvGrpSpPr>
      <p:grpSpPr>
        <a:xfrm>
          <a:off x="0" y="0"/>
          <a:ext cx="0" cy="0"/>
          <a:chOff x="0" y="0"/>
          <a:chExt cx="0" cy="0"/>
        </a:xfrm>
      </p:grpSpPr>
      <p:pic>
        <p:nvPicPr>
          <p:cNvPr id="3" name="Εικόνα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466"/>
            <a:ext cx="12192000" cy="6858000"/>
          </a:xfrm>
          <a:prstGeom prst="rect">
            <a:avLst/>
          </a:prstGeom>
        </p:spPr>
      </p:pic>
      <p:sp>
        <p:nvSpPr>
          <p:cNvPr id="6" name="Rectangle 5">
            <a:extLst>
              <a:ext uri="{FF2B5EF4-FFF2-40B4-BE49-F238E27FC236}">
                <a16:creationId xmlns:a16="http://schemas.microsoft.com/office/drawing/2014/main" id="{2F00ACD9-48D2-08B9-B74B-779C486642BA}"/>
              </a:ext>
            </a:extLst>
          </p:cNvPr>
          <p:cNvSpPr/>
          <p:nvPr userDrawn="1"/>
        </p:nvSpPr>
        <p:spPr>
          <a:xfrm>
            <a:off x="1171223" y="4906349"/>
            <a:ext cx="4021666" cy="1267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rgbClr val="000000"/>
              </a:buClr>
              <a:buFont typeface="Arial"/>
              <a:buNone/>
            </a:pPr>
            <a:r>
              <a:rPr lang="el-GR" b="1" kern="0">
                <a:solidFill>
                  <a:srgbClr val="FFFFFF"/>
                </a:solidFill>
                <a:sym typeface="Arial"/>
              </a:rPr>
              <a:t>ΕΛΛΗΝΙΚΗ ΔΗΜΟΚΡΑΤΙΑ</a:t>
            </a:r>
          </a:p>
          <a:p>
            <a:pPr>
              <a:buClr>
                <a:srgbClr val="000000"/>
              </a:buClr>
              <a:buFont typeface="Arial"/>
              <a:buNone/>
            </a:pPr>
            <a:r>
              <a:rPr lang="el-GR" b="1" kern="0" err="1">
                <a:solidFill>
                  <a:srgbClr val="FFFFFF"/>
                </a:solidFill>
                <a:sym typeface="Arial"/>
              </a:rPr>
              <a:t>Κυβ</a:t>
            </a:r>
            <a:r>
              <a:rPr lang="x-none" b="1" kern="0">
                <a:solidFill>
                  <a:srgbClr val="FFFFFF"/>
                </a:solidFill>
                <a:sym typeface="Arial"/>
              </a:rPr>
              <a:t>έ</a:t>
            </a:r>
            <a:r>
              <a:rPr lang="el-GR" b="1" kern="0" err="1">
                <a:solidFill>
                  <a:srgbClr val="FFFFFF"/>
                </a:solidFill>
                <a:sym typeface="Arial"/>
              </a:rPr>
              <a:t>ρνηση</a:t>
            </a:r>
            <a:endParaRPr lang="x-none" b="1" kern="0">
              <a:solidFill>
                <a:srgbClr val="FFFFFF"/>
              </a:solidFill>
              <a:sym typeface="Arial"/>
            </a:endParaRPr>
          </a:p>
        </p:txBody>
      </p:sp>
    </p:spTree>
    <p:extLst>
      <p:ext uri="{BB962C8B-B14F-4D97-AF65-F5344CB8AC3E}">
        <p14:creationId xmlns:p14="http://schemas.microsoft.com/office/powerpoint/2010/main" val="8616021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5" name="Subtitle 2"/>
          <p:cNvSpPr>
            <a:spLocks noGrp="1"/>
          </p:cNvSpPr>
          <p:nvPr>
            <p:ph type="subTitle" idx="1"/>
          </p:nvPr>
        </p:nvSpPr>
        <p:spPr>
          <a:xfrm>
            <a:off x="837415" y="3348000"/>
            <a:ext cx="9144000"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230795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839790" y="5102578"/>
            <a:ext cx="10514011" cy="1126732"/>
          </a:xfrm>
        </p:spPr>
        <p:txBody>
          <a:bodyPr/>
          <a:lstStyle>
            <a:lvl1pPr>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03077" y="1454480"/>
            <a:ext cx="4461646" cy="429533"/>
          </a:xfrm>
        </p:spPr>
        <p:txBody>
          <a:bodyPr anchor="b">
            <a:normAutofit/>
          </a:bodyPr>
          <a:lstStyle>
            <a:lvl1pPr marL="0" indent="0" algn="ctr">
              <a:buNone/>
              <a:defRPr sz="1600" b="1"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Picture Placeholder 7"/>
          <p:cNvSpPr>
            <a:spLocks noGrp="1"/>
          </p:cNvSpPr>
          <p:nvPr>
            <p:ph type="pic" sz="quarter" idx="13"/>
          </p:nvPr>
        </p:nvSpPr>
        <p:spPr>
          <a:xfrm>
            <a:off x="1386831" y="1908000"/>
            <a:ext cx="4430769" cy="2880000"/>
          </a:xfrm>
        </p:spPr>
        <p:txBody>
          <a:bodyPr/>
          <a:lstStyle/>
          <a:p>
            <a:endParaRPr lang="en-GB"/>
          </a:p>
        </p:txBody>
      </p:sp>
      <p:sp>
        <p:nvSpPr>
          <p:cNvPr id="11" name="Picture Placeholder 7"/>
          <p:cNvSpPr>
            <a:spLocks noGrp="1"/>
          </p:cNvSpPr>
          <p:nvPr>
            <p:ph type="pic" sz="quarter" idx="14"/>
          </p:nvPr>
        </p:nvSpPr>
        <p:spPr>
          <a:xfrm>
            <a:off x="6203077" y="1908000"/>
            <a:ext cx="4430769" cy="2880000"/>
          </a:xfrm>
        </p:spPr>
        <p:txBody>
          <a:bodyPr/>
          <a:lstStyle/>
          <a:p>
            <a:endParaRPr lang="en-GB"/>
          </a:p>
        </p:txBody>
      </p:sp>
      <p:sp>
        <p:nvSpPr>
          <p:cNvPr id="12" name="Text Placeholder 4"/>
          <p:cNvSpPr>
            <a:spLocks noGrp="1"/>
          </p:cNvSpPr>
          <p:nvPr>
            <p:ph type="body" sz="quarter" idx="15"/>
          </p:nvPr>
        </p:nvSpPr>
        <p:spPr>
          <a:xfrm>
            <a:off x="1386831" y="1454479"/>
            <a:ext cx="4461646" cy="429533"/>
          </a:xfrm>
        </p:spPr>
        <p:txBody>
          <a:bodyPr anchor="b">
            <a:normAutofit/>
          </a:bodyPr>
          <a:lstStyle>
            <a:lvl1pPr marL="0" indent="0" algn="ctr">
              <a:buNone/>
              <a:defRPr sz="1600" b="1"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Title 1"/>
          <p:cNvSpPr txBox="1">
            <a:spLocks/>
          </p:cNvSpPr>
          <p:nvPr userDrawn="1"/>
        </p:nvSpPr>
        <p:spPr>
          <a:xfrm>
            <a:off x="7565294" y="6356750"/>
            <a:ext cx="3788507" cy="37469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baseline="0">
                <a:solidFill>
                  <a:schemeClr val="tx2"/>
                </a:solidFill>
                <a:latin typeface="Arial" panose="020B0604020202020204" pitchFamily="34" charset="0"/>
                <a:ea typeface="+mj-ea"/>
                <a:cs typeface="+mj-cs"/>
              </a:defRPr>
            </a:lvl1pPr>
          </a:lstStyle>
          <a:p>
            <a:pPr algn="r">
              <a:buClr>
                <a:srgbClr val="000000"/>
              </a:buClr>
              <a:buFont typeface="Arial"/>
              <a:buNone/>
            </a:pPr>
            <a:fld id="{08C41CA0-F5C0-45EB-B068-8C50D29B1E8B}" type="slidenum">
              <a:rPr lang="en-US" sz="1200" smtClean="0">
                <a:solidFill>
                  <a:srgbClr val="000000">
                    <a:lumMod val="50000"/>
                    <a:lumOff val="50000"/>
                  </a:srgbClr>
                </a:solidFill>
                <a:sym typeface="Arial"/>
              </a:rPr>
              <a:pPr algn="r">
                <a:buClr>
                  <a:srgbClr val="000000"/>
                </a:buClr>
                <a:buFont typeface="Arial"/>
                <a:buNone/>
              </a:pPr>
              <a:t>‹#›</a:t>
            </a:fld>
            <a:endParaRPr lang="en-US" sz="1200">
              <a:solidFill>
                <a:srgbClr val="000000">
                  <a:lumMod val="50000"/>
                  <a:lumOff val="50000"/>
                </a:srgbClr>
              </a:solidFill>
              <a:sym typeface="Arial"/>
            </a:endParaRPr>
          </a:p>
        </p:txBody>
      </p:sp>
      <p:cxnSp>
        <p:nvCxnSpPr>
          <p:cNvPr id="17" name="Straight Connector 16"/>
          <p:cNvCxnSpPr/>
          <p:nvPr userDrawn="1"/>
        </p:nvCxnSpPr>
        <p:spPr>
          <a:xfrm>
            <a:off x="838201" y="1046000"/>
            <a:ext cx="4063531" cy="0"/>
          </a:xfrm>
          <a:prstGeom prst="line">
            <a:avLst/>
          </a:prstGeom>
          <a:ln>
            <a:solidFill>
              <a:srgbClr val="134A86"/>
            </a:solidFill>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p:nvPr>
        </p:nvSpPr>
        <p:spPr>
          <a:xfrm>
            <a:off x="838201" y="365128"/>
            <a:ext cx="10515600" cy="989540"/>
          </a:xfrm>
        </p:spPr>
        <p:txBody>
          <a:bodyPr>
            <a:normAutofit/>
          </a:bodyPr>
          <a:lstStyle>
            <a:lvl1pPr>
              <a:defRPr sz="2400"/>
            </a:lvl1pPr>
          </a:lstStyle>
          <a:p>
            <a:r>
              <a:rPr lang="en-US"/>
              <a:t>Click to edit Master title style</a:t>
            </a:r>
          </a:p>
        </p:txBody>
      </p:sp>
    </p:spTree>
    <p:extLst>
      <p:ext uri="{BB962C8B-B14F-4D97-AF65-F5344CB8AC3E}">
        <p14:creationId xmlns:p14="http://schemas.microsoft.com/office/powerpoint/2010/main" val="30833008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2_Title Slide">
  <p:cSld name="3_Title Slide">
    <p:spTree>
      <p:nvGrpSpPr>
        <p:cNvPr id="1" name="Shape 17"/>
        <p:cNvGrpSpPr/>
        <p:nvPr/>
      </p:nvGrpSpPr>
      <p:grpSpPr>
        <a:xfrm>
          <a:off x="0" y="0"/>
          <a:ext cx="0" cy="0"/>
          <a:chOff x="0" y="0"/>
          <a:chExt cx="0" cy="0"/>
        </a:xfrm>
      </p:grpSpPr>
      <p:sp>
        <p:nvSpPr>
          <p:cNvPr id="18" name="Google Shape;18;p65"/>
          <p:cNvSpPr/>
          <p:nvPr/>
        </p:nvSpPr>
        <p:spPr>
          <a:xfrm>
            <a:off x="3176" y="2608637"/>
            <a:ext cx="6858000" cy="4249363"/>
          </a:xfrm>
          <a:prstGeom prst="rtTriangle">
            <a:avLst/>
          </a:prstGeom>
          <a:solidFill>
            <a:srgbClr val="013476"/>
          </a:solidFill>
          <a:ln>
            <a:noFill/>
          </a:ln>
        </p:spPr>
        <p:txBody>
          <a:bodyPr spcFirstLastPara="1" wrap="square" lIns="91425" tIns="45700" rIns="91425" bIns="45700" anchor="ctr" anchorCtr="0">
            <a:noAutofit/>
          </a:bodyPr>
          <a:lstStyle/>
          <a:p>
            <a:pPr algn="ctr">
              <a:buClr>
                <a:srgbClr val="000000"/>
              </a:buClr>
              <a:buSzPts val="1800"/>
              <a:buFont typeface="Arial"/>
              <a:buNone/>
            </a:pPr>
            <a:endParaRPr kern="0">
              <a:solidFill>
                <a:srgbClr val="FFFFFF"/>
              </a:solidFill>
              <a:latin typeface="Calibri"/>
              <a:ea typeface="Calibri"/>
              <a:cs typeface="Calibri"/>
              <a:sym typeface="Calibri"/>
            </a:endParaRPr>
          </a:p>
        </p:txBody>
      </p:sp>
      <p:pic>
        <p:nvPicPr>
          <p:cNvPr id="19" name="Google Shape;19;p65" descr="A close up of a logo&#10;&#10;Description automatically generated"/>
          <p:cNvPicPr preferRelativeResize="0"/>
          <p:nvPr/>
        </p:nvPicPr>
        <p:blipFill rotWithShape="1">
          <a:blip r:embed="rId2">
            <a:alphaModFix/>
          </a:blip>
          <a:srcRect l="2185" t="6084" r="87330" b="75016"/>
          <a:stretch/>
        </p:blipFill>
        <p:spPr>
          <a:xfrm>
            <a:off x="869970" y="5228949"/>
            <a:ext cx="1157601" cy="1173678"/>
          </a:xfrm>
          <a:prstGeom prst="rect">
            <a:avLst/>
          </a:prstGeom>
          <a:noFill/>
          <a:ln>
            <a:noFill/>
          </a:ln>
        </p:spPr>
      </p:pic>
    </p:spTree>
    <p:extLst>
      <p:ext uri="{BB962C8B-B14F-4D97-AF65-F5344CB8AC3E}">
        <p14:creationId xmlns:p14="http://schemas.microsoft.com/office/powerpoint/2010/main" val="22556433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39"/>
        <p:cNvGrpSpPr/>
        <p:nvPr/>
      </p:nvGrpSpPr>
      <p:grpSpPr>
        <a:xfrm>
          <a:off x="0" y="0"/>
          <a:ext cx="0" cy="0"/>
          <a:chOff x="0" y="0"/>
          <a:chExt cx="0" cy="0"/>
        </a:xfrm>
      </p:grpSpPr>
      <p:sp>
        <p:nvSpPr>
          <p:cNvPr id="2" name="Google Shape;42;p50">
            <a:extLst>
              <a:ext uri="{FF2B5EF4-FFF2-40B4-BE49-F238E27FC236}">
                <a16:creationId xmlns:a16="http://schemas.microsoft.com/office/drawing/2014/main" id="{A5CCE518-C5B2-91EB-B051-94D4E612DA89}"/>
              </a:ext>
            </a:extLst>
          </p:cNvPr>
          <p:cNvSpPr>
            <a:spLocks noChangeArrowheads="1"/>
          </p:cNvSpPr>
          <p:nvPr/>
        </p:nvSpPr>
        <p:spPr bwMode="auto">
          <a:xfrm>
            <a:off x="0" y="0"/>
            <a:ext cx="11068050" cy="6858000"/>
          </a:xfrm>
          <a:prstGeom prst="rtTriangle">
            <a:avLst/>
          </a:prstGeom>
          <a:solidFill>
            <a:srgbClr val="3462A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a:solidFill>
                <a:srgbClr val="FFFFFF"/>
              </a:solidFill>
              <a:cs typeface="Calibri" panose="020F0502020204030204" pitchFamily="34" charset="0"/>
              <a:sym typeface="Calibri" panose="020F0502020204030204" pitchFamily="34" charset="0"/>
            </a:endParaRPr>
          </a:p>
        </p:txBody>
      </p:sp>
      <p:pic>
        <p:nvPicPr>
          <p:cNvPr id="3" name="Google Shape;43;p50" descr="Image result for ÎµÎ»Î»Î·Î½Î¹ÎºÎ· Î´Î·Î¼Î¿ÎºÏÎ±ÏÎ¹Î± logo">
            <a:extLst>
              <a:ext uri="{FF2B5EF4-FFF2-40B4-BE49-F238E27FC236}">
                <a16:creationId xmlns:a16="http://schemas.microsoft.com/office/drawing/2014/main" id="{FDBE6A7C-1AF2-DAB5-A03C-992ADCC79C4D}"/>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8875" y="4256088"/>
            <a:ext cx="1831975" cy="179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Google Shape;40;p50"/>
          <p:cNvSpPr txBox="1">
            <a:spLocks noGrp="1"/>
          </p:cNvSpPr>
          <p:nvPr>
            <p:ph type="ctrTitle"/>
          </p:nvPr>
        </p:nvSpPr>
        <p:spPr>
          <a:xfrm>
            <a:off x="3886200" y="476125"/>
            <a:ext cx="8096400" cy="1538100"/>
          </a:xfrm>
          <a:prstGeom prst="rect">
            <a:avLst/>
          </a:prstGeom>
          <a:noFill/>
          <a:ln>
            <a:noFill/>
          </a:ln>
        </p:spPr>
        <p:txBody>
          <a:bodyPr spcFirstLastPara="1">
            <a:normAutofit/>
          </a:bodyPr>
          <a:lstStyle>
            <a:lvl1pPr lvl="0" algn="r">
              <a:lnSpc>
                <a:spcPct val="90000"/>
              </a:lnSpc>
              <a:spcBef>
                <a:spcPts val="0"/>
              </a:spcBef>
              <a:spcAft>
                <a:spcPts val="0"/>
              </a:spcAft>
              <a:buClr>
                <a:srgbClr val="253356"/>
              </a:buClr>
              <a:buSzPts val="4000"/>
              <a:buFont typeface="Calibri"/>
              <a:buNone/>
              <a:defRPr sz="4000" b="1">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50"/>
          <p:cNvSpPr txBox="1">
            <a:spLocks noGrp="1"/>
          </p:cNvSpPr>
          <p:nvPr>
            <p:ph type="subTitle" idx="1"/>
          </p:nvPr>
        </p:nvSpPr>
        <p:spPr>
          <a:xfrm>
            <a:off x="5981700" y="2601119"/>
            <a:ext cx="6000750" cy="1655762"/>
          </a:xfrm>
          <a:prstGeom prst="rect">
            <a:avLst/>
          </a:prstGeom>
          <a:noFill/>
          <a:ln>
            <a:noFill/>
          </a:ln>
        </p:spPr>
        <p:txBody>
          <a:bodyPr spcFirstLastPara="1" anchor="ctr">
            <a:normAutofit/>
          </a:bodyPr>
          <a:lstStyle>
            <a:lvl1pPr lvl="0" algn="r">
              <a:lnSpc>
                <a:spcPct val="90000"/>
              </a:lnSpc>
              <a:spcBef>
                <a:spcPts val="1000"/>
              </a:spcBef>
              <a:spcAft>
                <a:spcPts val="0"/>
              </a:spcAft>
              <a:buClr>
                <a:srgbClr val="253356"/>
              </a:buClr>
              <a:buSzPts val="2400"/>
              <a:buNone/>
              <a:defRPr sz="2400" b="1">
                <a:solidFill>
                  <a:srgbClr val="253356"/>
                </a:solidFill>
                <a:latin typeface="Calibri"/>
                <a:ea typeface="Calibri"/>
                <a:cs typeface="Calibri"/>
                <a:sym typeface="Calibri"/>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7914582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Shape 50"/>
        <p:cNvGrpSpPr/>
        <p:nvPr/>
      </p:nvGrpSpPr>
      <p:grpSpPr>
        <a:xfrm>
          <a:off x="0" y="0"/>
          <a:ext cx="0" cy="0"/>
          <a:chOff x="0" y="0"/>
          <a:chExt cx="0" cy="0"/>
        </a:xfrm>
      </p:grpSpPr>
      <p:sp>
        <p:nvSpPr>
          <p:cNvPr id="51" name="Google Shape;51;p57"/>
          <p:cNvSpPr txBox="1">
            <a:spLocks noGrp="1"/>
          </p:cNvSpPr>
          <p:nvPr>
            <p:ph type="title"/>
          </p:nvPr>
        </p:nvSpPr>
        <p:spPr>
          <a:xfrm>
            <a:off x="344311" y="263525"/>
            <a:ext cx="11503378" cy="605719"/>
          </a:xfrm>
          <a:prstGeom prst="rect">
            <a:avLst/>
          </a:prstGeom>
          <a:solidFill>
            <a:schemeClr val="accent3">
              <a:lumMod val="50000"/>
            </a:schemeClr>
          </a:solidFill>
          <a:ln>
            <a:noFill/>
          </a:ln>
        </p:spPr>
        <p:txBody>
          <a:bodyPr spcFirstLastPara="1">
            <a:normAutofit/>
          </a:bodyPr>
          <a:lstStyle>
            <a:lvl1pPr lvl="0" algn="l">
              <a:lnSpc>
                <a:spcPct val="90000"/>
              </a:lnSpc>
              <a:spcBef>
                <a:spcPts val="0"/>
              </a:spcBef>
              <a:spcAft>
                <a:spcPts val="0"/>
              </a:spcAft>
              <a:buClr>
                <a:srgbClr val="253356"/>
              </a:buClr>
              <a:buSzPts val="3200"/>
              <a:buFont typeface="Helvetica Neue"/>
              <a:buNone/>
              <a:defRPr b="1">
                <a:solidFill>
                  <a:schemeClr val="bg1"/>
                </a:solidFill>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979951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0"/>
        <p:cNvGrpSpPr/>
        <p:nvPr/>
      </p:nvGrpSpPr>
      <p:grpSpPr>
        <a:xfrm>
          <a:off x="0" y="0"/>
          <a:ext cx="0" cy="0"/>
          <a:chOff x="0" y="0"/>
          <a:chExt cx="0" cy="0"/>
        </a:xfrm>
      </p:grpSpPr>
      <p:sp>
        <p:nvSpPr>
          <p:cNvPr id="51" name="Google Shape;51;p57"/>
          <p:cNvSpPr txBox="1">
            <a:spLocks noGrp="1"/>
          </p:cNvSpPr>
          <p:nvPr>
            <p:ph type="title"/>
          </p:nvPr>
        </p:nvSpPr>
        <p:spPr>
          <a:xfrm>
            <a:off x="838200" y="365125"/>
            <a:ext cx="10515600" cy="739775"/>
          </a:xfrm>
          <a:prstGeom prst="rect">
            <a:avLst/>
          </a:prstGeom>
          <a:noFill/>
          <a:ln>
            <a:noFill/>
          </a:ln>
        </p:spPr>
        <p:txBody>
          <a:bodyPr spcFirstLastPara="1">
            <a:normAutofit/>
          </a:bodyPr>
          <a:lstStyle>
            <a:lvl1pPr lvl="0" algn="l">
              <a:lnSpc>
                <a:spcPct val="90000"/>
              </a:lnSpc>
              <a:spcBef>
                <a:spcPts val="0"/>
              </a:spcBef>
              <a:spcAft>
                <a:spcPts val="0"/>
              </a:spcAft>
              <a:buClr>
                <a:srgbClr val="253356"/>
              </a:buClr>
              <a:buSzPts val="3200"/>
              <a:buFont typeface="Helvetica Neue"/>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57"/>
          <p:cNvSpPr txBox="1">
            <a:spLocks noGrp="1"/>
          </p:cNvSpPr>
          <p:nvPr>
            <p:ph type="body" idx="1"/>
          </p:nvPr>
        </p:nvSpPr>
        <p:spPr>
          <a:xfrm>
            <a:off x="838200" y="1463675"/>
            <a:ext cx="10515600" cy="4351338"/>
          </a:xfrm>
          <a:prstGeom prst="rect">
            <a:avLst/>
          </a:prstGeom>
          <a:noFill/>
          <a:ln>
            <a:noFill/>
          </a:ln>
        </p:spPr>
        <p:txBody>
          <a:bodyPr spcFirstLastPara="1">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 name="Google Shape;53;p57">
            <a:extLst>
              <a:ext uri="{FF2B5EF4-FFF2-40B4-BE49-F238E27FC236}">
                <a16:creationId xmlns:a16="http://schemas.microsoft.com/office/drawing/2014/main" id="{CEE4BB6E-F8F1-D248-38D7-2DF5575B0A9A}"/>
              </a:ext>
            </a:extLst>
          </p:cNvPr>
          <p:cNvSpPr txBox="1">
            <a:spLocks noGrp="1"/>
          </p:cNvSpPr>
          <p:nvPr>
            <p:ph type="dt" idx="10"/>
          </p:nvPr>
        </p:nvSpPr>
        <p:spPr>
          <a:noFill/>
        </p:spPr>
        <p:txBody>
          <a:bodyPr spcFirstLastPara="1">
            <a:noAutofit/>
          </a:bodyPr>
          <a:lstStyle>
            <a:lvl1pPr lvl="0" algn="l" fontAlgn="auto">
              <a:lnSpc>
                <a:spcPct val="100000"/>
              </a:lnSpc>
              <a:spcBef>
                <a:spcPts val="0"/>
              </a:spcBef>
              <a:spcAft>
                <a:spcPts val="0"/>
              </a:spcAft>
              <a:buSzPts val="1400"/>
              <a:buFont typeface="Arial"/>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a:defRPr/>
            </a:pPr>
            <a:endParaRPr lang="x-none"/>
          </a:p>
        </p:txBody>
      </p:sp>
      <p:sp>
        <p:nvSpPr>
          <p:cNvPr id="3" name="Google Shape;54;p57">
            <a:extLst>
              <a:ext uri="{FF2B5EF4-FFF2-40B4-BE49-F238E27FC236}">
                <a16:creationId xmlns:a16="http://schemas.microsoft.com/office/drawing/2014/main" id="{19D15981-F1E4-A61E-C5DD-22B4B5BD2838}"/>
              </a:ext>
            </a:extLst>
          </p:cNvPr>
          <p:cNvSpPr txBox="1">
            <a:spLocks noGrp="1"/>
          </p:cNvSpPr>
          <p:nvPr>
            <p:ph type="ftr" idx="11"/>
          </p:nvPr>
        </p:nvSpPr>
        <p:spPr>
          <a:noFill/>
        </p:spPr>
        <p:txBody>
          <a:bodyPr spcFirstLastPara="1">
            <a:noAutofit/>
          </a:bodyPr>
          <a:lstStyle>
            <a:lvl1pPr lvl="0" algn="ctr" fontAlgn="auto">
              <a:lnSpc>
                <a:spcPct val="100000"/>
              </a:lnSpc>
              <a:spcBef>
                <a:spcPts val="0"/>
              </a:spcBef>
              <a:spcAft>
                <a:spcPts val="0"/>
              </a:spcAft>
              <a:buSzPts val="1400"/>
              <a:buFont typeface="Arial"/>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a:defRPr/>
            </a:pPr>
            <a:endParaRPr lang="x-none"/>
          </a:p>
        </p:txBody>
      </p:sp>
      <p:sp>
        <p:nvSpPr>
          <p:cNvPr id="4" name="Google Shape;55;p57">
            <a:extLst>
              <a:ext uri="{FF2B5EF4-FFF2-40B4-BE49-F238E27FC236}">
                <a16:creationId xmlns:a16="http://schemas.microsoft.com/office/drawing/2014/main" id="{7CFB7C22-70A8-0437-4586-82BFCE82B23F}"/>
              </a:ext>
            </a:extLst>
          </p:cNvPr>
          <p:cNvSpPr txBox="1">
            <a:spLocks noGrp="1"/>
          </p:cNvSpPr>
          <p:nvPr>
            <p:ph type="sldNum" idx="12"/>
          </p:nvPr>
        </p:nvSpPr>
        <p:spPr>
          <a:noFill/>
        </p:spPr>
        <p:txBody>
          <a:bodyPr>
            <a:noAutofit/>
          </a:bodyPr>
          <a:lstStyle>
            <a:lvl1pPr>
              <a:defRPr/>
            </a:lvl1pPr>
          </a:lstStyle>
          <a:p>
            <a:fld id="{4D7F90BD-A3F4-49F5-85EC-9A1F8E758E28}" type="slidenum">
              <a:rPr lang="en-US" altLang="en-US"/>
              <a:pPr/>
              <a:t>‹#›</a:t>
            </a:fld>
            <a:endParaRPr lang="en-US" altLang="en-US"/>
          </a:p>
        </p:txBody>
      </p:sp>
    </p:spTree>
    <p:extLst>
      <p:ext uri="{BB962C8B-B14F-4D97-AF65-F5344CB8AC3E}">
        <p14:creationId xmlns:p14="http://schemas.microsoft.com/office/powerpoint/2010/main" val="2833652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56"/>
        <p:cNvGrpSpPr/>
        <p:nvPr/>
      </p:nvGrpSpPr>
      <p:grpSpPr>
        <a:xfrm>
          <a:off x="0" y="0"/>
          <a:ext cx="0" cy="0"/>
          <a:chOff x="0" y="0"/>
          <a:chExt cx="0" cy="0"/>
        </a:xfrm>
      </p:grpSpPr>
      <p:sp>
        <p:nvSpPr>
          <p:cNvPr id="57" name="Google Shape;57;p58"/>
          <p:cNvSpPr txBox="1">
            <a:spLocks noGrp="1"/>
          </p:cNvSpPr>
          <p:nvPr>
            <p:ph type="title"/>
          </p:nvPr>
        </p:nvSpPr>
        <p:spPr>
          <a:xfrm>
            <a:off x="838200" y="365125"/>
            <a:ext cx="10515600" cy="739775"/>
          </a:xfrm>
          <a:prstGeom prst="rect">
            <a:avLst/>
          </a:prstGeom>
          <a:noFill/>
          <a:ln>
            <a:noFill/>
          </a:ln>
        </p:spPr>
        <p:txBody>
          <a:bodyPr spcFirstLastPara="1">
            <a:normAutofit/>
          </a:bodyPr>
          <a:lstStyle>
            <a:lvl1pPr lvl="0" algn="l">
              <a:lnSpc>
                <a:spcPct val="90000"/>
              </a:lnSpc>
              <a:spcBef>
                <a:spcPts val="0"/>
              </a:spcBef>
              <a:spcAft>
                <a:spcPts val="0"/>
              </a:spcAft>
              <a:buClr>
                <a:srgbClr val="253356"/>
              </a:buClr>
              <a:buSzPts val="3200"/>
              <a:buFont typeface="Helvetica Neue"/>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58"/>
          <p:cNvSpPr txBox="1">
            <a:spLocks noGrp="1"/>
          </p:cNvSpPr>
          <p:nvPr>
            <p:ph type="body" idx="1"/>
          </p:nvPr>
        </p:nvSpPr>
        <p:spPr>
          <a:xfrm>
            <a:off x="838200" y="1825625"/>
            <a:ext cx="5181600" cy="4351338"/>
          </a:xfrm>
          <a:prstGeom prst="rect">
            <a:avLst/>
          </a:prstGeom>
          <a:noFill/>
          <a:ln>
            <a:noFill/>
          </a:ln>
        </p:spPr>
        <p:txBody>
          <a:bodyPr spcFirstLastPara="1">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 name="Google Shape;59;p58"/>
          <p:cNvSpPr txBox="1">
            <a:spLocks noGrp="1"/>
          </p:cNvSpPr>
          <p:nvPr>
            <p:ph type="body" idx="2"/>
          </p:nvPr>
        </p:nvSpPr>
        <p:spPr>
          <a:xfrm>
            <a:off x="6172200" y="1825625"/>
            <a:ext cx="5181600" cy="4351338"/>
          </a:xfrm>
          <a:prstGeom prst="rect">
            <a:avLst/>
          </a:prstGeom>
          <a:noFill/>
          <a:ln>
            <a:noFill/>
          </a:ln>
        </p:spPr>
        <p:txBody>
          <a:bodyPr spcFirstLastPara="1">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 name="Google Shape;60;p58">
            <a:extLst>
              <a:ext uri="{FF2B5EF4-FFF2-40B4-BE49-F238E27FC236}">
                <a16:creationId xmlns:a16="http://schemas.microsoft.com/office/drawing/2014/main" id="{D8A8B006-A96A-0A90-B8A9-9682A63E4245}"/>
              </a:ext>
            </a:extLst>
          </p:cNvPr>
          <p:cNvSpPr txBox="1">
            <a:spLocks noGrp="1"/>
          </p:cNvSpPr>
          <p:nvPr>
            <p:ph type="dt" idx="10"/>
          </p:nvPr>
        </p:nvSpPr>
        <p:spPr>
          <a:noFill/>
        </p:spPr>
        <p:txBody>
          <a:bodyPr spcFirstLastPara="1">
            <a:noAutofit/>
          </a:bodyPr>
          <a:lstStyle>
            <a:lvl1pPr lvl="0" algn="l" fontAlgn="auto">
              <a:lnSpc>
                <a:spcPct val="100000"/>
              </a:lnSpc>
              <a:spcBef>
                <a:spcPts val="0"/>
              </a:spcBef>
              <a:spcAft>
                <a:spcPts val="0"/>
              </a:spcAft>
              <a:buSzPts val="1400"/>
              <a:buFont typeface="Arial"/>
              <a:buNone/>
              <a:defRPr dirty="0">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a:defRPr/>
            </a:pPr>
            <a:endParaRPr lang="x-none"/>
          </a:p>
        </p:txBody>
      </p:sp>
      <p:sp>
        <p:nvSpPr>
          <p:cNvPr id="3" name="Google Shape;61;p58">
            <a:extLst>
              <a:ext uri="{FF2B5EF4-FFF2-40B4-BE49-F238E27FC236}">
                <a16:creationId xmlns:a16="http://schemas.microsoft.com/office/drawing/2014/main" id="{BB10F7F4-2081-D0FC-3388-7F063562345A}"/>
              </a:ext>
            </a:extLst>
          </p:cNvPr>
          <p:cNvSpPr txBox="1">
            <a:spLocks noGrp="1"/>
          </p:cNvSpPr>
          <p:nvPr>
            <p:ph type="ftr" idx="11"/>
          </p:nvPr>
        </p:nvSpPr>
        <p:spPr>
          <a:noFill/>
        </p:spPr>
        <p:txBody>
          <a:bodyPr spcFirstLastPara="1">
            <a:noAutofit/>
          </a:bodyPr>
          <a:lstStyle>
            <a:lvl1pPr lvl="0" algn="ctr" fontAlgn="auto">
              <a:lnSpc>
                <a:spcPct val="100000"/>
              </a:lnSpc>
              <a:spcBef>
                <a:spcPts val="0"/>
              </a:spcBef>
              <a:spcAft>
                <a:spcPts val="0"/>
              </a:spcAft>
              <a:buSzPts val="1400"/>
              <a:buFont typeface="Arial"/>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a:defRPr/>
            </a:pPr>
            <a:endParaRPr lang="x-none"/>
          </a:p>
        </p:txBody>
      </p:sp>
      <p:sp>
        <p:nvSpPr>
          <p:cNvPr id="4" name="Google Shape;62;p58">
            <a:extLst>
              <a:ext uri="{FF2B5EF4-FFF2-40B4-BE49-F238E27FC236}">
                <a16:creationId xmlns:a16="http://schemas.microsoft.com/office/drawing/2014/main" id="{F1B58136-6E90-B724-29CA-E5891C197977}"/>
              </a:ext>
            </a:extLst>
          </p:cNvPr>
          <p:cNvSpPr txBox="1">
            <a:spLocks noGrp="1"/>
          </p:cNvSpPr>
          <p:nvPr>
            <p:ph type="sldNum" idx="12"/>
          </p:nvPr>
        </p:nvSpPr>
        <p:spPr>
          <a:noFill/>
        </p:spPr>
        <p:txBody>
          <a:bodyPr>
            <a:noAutofit/>
          </a:bodyPr>
          <a:lstStyle>
            <a:lvl1pPr>
              <a:defRPr/>
            </a:lvl1pPr>
          </a:lstStyle>
          <a:p>
            <a:fld id="{2069D4DD-6629-41D5-B9D8-B5629C1EA8AC}" type="slidenum">
              <a:rPr lang="en-US" altLang="en-US"/>
              <a:pPr/>
              <a:t>‹#›</a:t>
            </a:fld>
            <a:endParaRPr lang="en-US" altLang="en-US"/>
          </a:p>
        </p:txBody>
      </p:sp>
    </p:spTree>
    <p:extLst>
      <p:ext uri="{BB962C8B-B14F-4D97-AF65-F5344CB8AC3E}">
        <p14:creationId xmlns:p14="http://schemas.microsoft.com/office/powerpoint/2010/main" val="19938724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98"/>
        <p:cNvGrpSpPr/>
        <p:nvPr/>
      </p:nvGrpSpPr>
      <p:grpSpPr>
        <a:xfrm>
          <a:off x="0" y="0"/>
          <a:ext cx="0" cy="0"/>
          <a:chOff x="0" y="0"/>
          <a:chExt cx="0" cy="0"/>
        </a:xfrm>
      </p:grpSpPr>
      <p:sp>
        <p:nvSpPr>
          <p:cNvPr id="2" name="Google Shape;99;p64">
            <a:extLst>
              <a:ext uri="{FF2B5EF4-FFF2-40B4-BE49-F238E27FC236}">
                <a16:creationId xmlns:a16="http://schemas.microsoft.com/office/drawing/2014/main" id="{5FD71837-421F-D535-C731-6CE78EA960DA}"/>
              </a:ext>
            </a:extLst>
          </p:cNvPr>
          <p:cNvSpPr>
            <a:spLocks noChangeArrowheads="1"/>
          </p:cNvSpPr>
          <p:nvPr/>
        </p:nvSpPr>
        <p:spPr bwMode="auto">
          <a:xfrm rot="10800000">
            <a:off x="1123950" y="0"/>
            <a:ext cx="11068050" cy="6858000"/>
          </a:xfrm>
          <a:prstGeom prst="rtTriangle">
            <a:avLst/>
          </a:prstGeom>
          <a:solidFill>
            <a:srgbClr val="3462A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a:solidFill>
                <a:srgbClr val="FFFFFF"/>
              </a:solidFill>
              <a:cs typeface="Calibri" panose="020F0502020204030204" pitchFamily="34" charset="0"/>
              <a:sym typeface="Calibri" panose="020F0502020204030204" pitchFamily="34" charset="0"/>
            </a:endParaRPr>
          </a:p>
        </p:txBody>
      </p:sp>
      <p:pic>
        <p:nvPicPr>
          <p:cNvPr id="3" name="Google Shape;100;p64" descr="Image result for ÎµÎ»Î»Î·Î½Î¹ÎºÎ· Î´Î·Î¼Î¿ÎºÏÎ±ÏÎ¹Î± logo">
            <a:extLst>
              <a:ext uri="{FF2B5EF4-FFF2-40B4-BE49-F238E27FC236}">
                <a16:creationId xmlns:a16="http://schemas.microsoft.com/office/drawing/2014/main" id="{C3457851-C08B-6535-A2F5-BB535CAA3BDD}"/>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74075" y="1268413"/>
            <a:ext cx="1831975" cy="179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Google Shape;101;p64">
            <a:extLst>
              <a:ext uri="{FF2B5EF4-FFF2-40B4-BE49-F238E27FC236}">
                <a16:creationId xmlns:a16="http://schemas.microsoft.com/office/drawing/2014/main" id="{EF0C39F0-E3CB-78E5-A384-CE93E426B6B9}"/>
              </a:ext>
            </a:extLst>
          </p:cNvPr>
          <p:cNvSpPr>
            <a:spLocks noChangeArrowheads="1"/>
          </p:cNvSpPr>
          <p:nvPr/>
        </p:nvSpPr>
        <p:spPr bwMode="auto">
          <a:xfrm>
            <a:off x="0" y="4672013"/>
            <a:ext cx="2922588" cy="2185987"/>
          </a:xfrm>
          <a:prstGeom prst="rect">
            <a:avLst/>
          </a:prstGeom>
          <a:solidFill>
            <a:schemeClr val="bg1"/>
          </a:solidFill>
          <a:ln w="12700">
            <a:solidFill>
              <a:schemeClr val="bg1"/>
            </a:solidFill>
            <a:miter lim="800000"/>
            <a:headEnd type="none" w="sm" len="sm"/>
            <a:tailEnd type="none" w="sm" len="sm"/>
          </a:ln>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a:solidFill>
                <a:srgbClr val="FFFFFF"/>
              </a:solidFill>
              <a:latin typeface="Helvetica Neue"/>
              <a:ea typeface="Helvetica Neue"/>
              <a:cs typeface="Helvetica Neue"/>
              <a:sym typeface="Helvetica Neue"/>
            </a:endParaRPr>
          </a:p>
        </p:txBody>
      </p:sp>
      <p:sp>
        <p:nvSpPr>
          <p:cNvPr id="102" name="Google Shape;102;p64"/>
          <p:cNvSpPr txBox="1">
            <a:spLocks noGrp="1"/>
          </p:cNvSpPr>
          <p:nvPr>
            <p:ph type="ctrTitle"/>
          </p:nvPr>
        </p:nvSpPr>
        <p:spPr>
          <a:xfrm>
            <a:off x="95250" y="4313351"/>
            <a:ext cx="8096250" cy="2387600"/>
          </a:xfrm>
          <a:prstGeom prst="rect">
            <a:avLst/>
          </a:prstGeom>
          <a:noFill/>
          <a:ln>
            <a:noFill/>
          </a:ln>
        </p:spPr>
        <p:txBody>
          <a:bodyPr spcFirstLastPara="1" anchor="b">
            <a:normAutofit/>
          </a:bodyPr>
          <a:lstStyle>
            <a:lvl1pPr lvl="0" algn="l">
              <a:lnSpc>
                <a:spcPct val="90000"/>
              </a:lnSpc>
              <a:spcBef>
                <a:spcPts val="0"/>
              </a:spcBef>
              <a:spcAft>
                <a:spcPts val="0"/>
              </a:spcAft>
              <a:buClr>
                <a:srgbClr val="253356"/>
              </a:buClr>
              <a:buSzPts val="6000"/>
              <a:buFont typeface="Helvetica Neue"/>
              <a:buNone/>
              <a:defRPr sz="6000">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 name="Google Shape;103;p64"/>
          <p:cNvSpPr txBox="1">
            <a:spLocks noGrp="1"/>
          </p:cNvSpPr>
          <p:nvPr>
            <p:ph type="subTitle" idx="1"/>
          </p:nvPr>
        </p:nvSpPr>
        <p:spPr>
          <a:xfrm>
            <a:off x="108857" y="2657588"/>
            <a:ext cx="6000750" cy="1655762"/>
          </a:xfrm>
          <a:prstGeom prst="rect">
            <a:avLst/>
          </a:prstGeom>
          <a:noFill/>
          <a:ln>
            <a:noFill/>
          </a:ln>
        </p:spPr>
        <p:txBody>
          <a:bodyPr spcFirstLastPara="1">
            <a:normAutofit/>
          </a:bodyPr>
          <a:lstStyle>
            <a:lvl1pPr lvl="0" algn="l">
              <a:lnSpc>
                <a:spcPct val="90000"/>
              </a:lnSpc>
              <a:spcBef>
                <a:spcPts val="1000"/>
              </a:spcBef>
              <a:spcAft>
                <a:spcPts val="0"/>
              </a:spcAft>
              <a:buClr>
                <a:schemeClr val="dk1"/>
              </a:buClr>
              <a:buSzPts val="2400"/>
              <a:buNone/>
              <a:defRPr sz="2400">
                <a:latin typeface="Calibri" panose="020F0502020204030204" pitchFamily="34" charset="0"/>
                <a:ea typeface="Helvetica Neue"/>
                <a:cs typeface="Calibri" panose="020F050202020403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6552080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a:xfrm>
            <a:off x="831850" y="1709738"/>
            <a:ext cx="10515600" cy="2852737"/>
          </a:xfrm>
        </p:spPr>
        <p:txBody>
          <a:bodyPr anchor="b"/>
          <a:lstStyle>
            <a:lvl1pPr>
              <a:defRPr sz="6000"/>
            </a:lvl1pPr>
          </a:lstStyle>
          <a:p>
            <a:r>
              <a:rPr lang="el-GR"/>
              <a:t>Στυλ κύριου τίτλου</a:t>
            </a:r>
          </a:p>
        </p:txBody>
      </p:sp>
      <p:sp>
        <p:nvSpPr>
          <p:cNvPr id="3" name="Θέση κειμένου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l-GR"/>
              <a:t>Επεξεργασία στυλ υποδείγματος κειμένου</a:t>
            </a:r>
          </a:p>
        </p:txBody>
      </p:sp>
      <p:sp>
        <p:nvSpPr>
          <p:cNvPr id="4" name="Θέση ημερομηνίας 3"/>
          <p:cNvSpPr>
            <a:spLocks noGrp="1"/>
          </p:cNvSpPr>
          <p:nvPr>
            <p:ph type="dt" sz="half" idx="10"/>
          </p:nvPr>
        </p:nvSpPr>
        <p:spPr/>
        <p:txBody>
          <a:bodyPr/>
          <a:lstStyle/>
          <a:p>
            <a:fld id="{52B69728-13CB-4FA4-904D-CF5C4C899BE6}" type="datetimeFigureOut">
              <a:rPr lang="el-GR" smtClean="0"/>
              <a:pPr/>
              <a:t>23/7/2025</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492F0BFE-09C8-4C53-B8F5-44730026CF66}" type="slidenum">
              <a:rPr lang="el-GR" smtClean="0"/>
              <a:pPr/>
              <a:t>‹#›</a:t>
            </a:fld>
            <a:endParaRPr lang="el-G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ustom Layout" preserve="1">
  <p:cSld name="Custom Layout">
    <p:spTree>
      <p:nvGrpSpPr>
        <p:cNvPr id="1" name="Shape 114"/>
        <p:cNvGrpSpPr/>
        <p:nvPr/>
      </p:nvGrpSpPr>
      <p:grpSpPr>
        <a:xfrm>
          <a:off x="0" y="0"/>
          <a:ext cx="0" cy="0"/>
          <a:chOff x="0" y="0"/>
          <a:chExt cx="0" cy="0"/>
        </a:xfrm>
      </p:grpSpPr>
      <p:pic>
        <p:nvPicPr>
          <p:cNvPr id="2" name="Εικόνα 2">
            <a:extLst>
              <a:ext uri="{FF2B5EF4-FFF2-40B4-BE49-F238E27FC236}">
                <a16:creationId xmlns:a16="http://schemas.microsoft.com/office/drawing/2014/main" id="{D88A9AC2-9E3E-8A10-F3D9-A89F2E1463D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7938"/>
            <a:ext cx="121920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5">
            <a:extLst>
              <a:ext uri="{FF2B5EF4-FFF2-40B4-BE49-F238E27FC236}">
                <a16:creationId xmlns:a16="http://schemas.microsoft.com/office/drawing/2014/main" id="{119BF39A-AC38-F2EC-30EC-0A82E58E6023}"/>
              </a:ext>
            </a:extLst>
          </p:cNvPr>
          <p:cNvSpPr/>
          <p:nvPr userDrawn="1"/>
        </p:nvSpPr>
        <p:spPr>
          <a:xfrm>
            <a:off x="1171575" y="4906963"/>
            <a:ext cx="4021138" cy="1266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buClr>
                <a:srgbClr val="000000"/>
              </a:buClr>
              <a:buFont typeface="Arial"/>
              <a:buNone/>
              <a:defRPr/>
            </a:pPr>
            <a:r>
              <a:rPr lang="el-GR" b="1" kern="0">
                <a:solidFill>
                  <a:srgbClr val="FFFFFF"/>
                </a:solidFill>
                <a:sym typeface="Arial"/>
              </a:rPr>
              <a:t>ΕΛΛΗΝΙΚΗ ΔΗΜΟΚΡΑΤΙΑ</a:t>
            </a:r>
          </a:p>
          <a:p>
            <a:pPr fontAlgn="auto">
              <a:spcBef>
                <a:spcPts val="0"/>
              </a:spcBef>
              <a:spcAft>
                <a:spcPts val="0"/>
              </a:spcAft>
              <a:buClr>
                <a:srgbClr val="000000"/>
              </a:buClr>
              <a:buFont typeface="Arial"/>
              <a:buNone/>
              <a:defRPr/>
            </a:pPr>
            <a:r>
              <a:rPr lang="el-GR" b="1" kern="0" err="1">
                <a:solidFill>
                  <a:srgbClr val="FFFFFF"/>
                </a:solidFill>
                <a:sym typeface="Arial"/>
              </a:rPr>
              <a:t>Κυβ</a:t>
            </a:r>
            <a:r>
              <a:rPr lang="x-none" b="1" kern="0">
                <a:solidFill>
                  <a:srgbClr val="FFFFFF"/>
                </a:solidFill>
                <a:sym typeface="Arial"/>
              </a:rPr>
              <a:t>έ</a:t>
            </a:r>
            <a:r>
              <a:rPr lang="el-GR" b="1" kern="0" err="1">
                <a:solidFill>
                  <a:srgbClr val="FFFFFF"/>
                </a:solidFill>
                <a:sym typeface="Arial"/>
              </a:rPr>
              <a:t>ρνηση</a:t>
            </a:r>
            <a:endParaRPr lang="x-none" b="1" kern="0">
              <a:solidFill>
                <a:srgbClr val="FFFFFF"/>
              </a:solidFill>
              <a:sym typeface="Arial"/>
            </a:endParaRPr>
          </a:p>
        </p:txBody>
      </p:sp>
    </p:spTree>
    <p:extLst>
      <p:ext uri="{BB962C8B-B14F-4D97-AF65-F5344CB8AC3E}">
        <p14:creationId xmlns:p14="http://schemas.microsoft.com/office/powerpoint/2010/main" val="21028966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5" name="Subtitle 2"/>
          <p:cNvSpPr>
            <a:spLocks noGrp="1"/>
          </p:cNvSpPr>
          <p:nvPr>
            <p:ph type="subTitle" idx="1"/>
          </p:nvPr>
        </p:nvSpPr>
        <p:spPr>
          <a:xfrm>
            <a:off x="837415" y="3348000"/>
            <a:ext cx="9144000"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672665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05739-CE69-6C41-4AF1-5136AE73C1AD}"/>
              </a:ext>
            </a:extLst>
          </p:cNvPr>
          <p:cNvSpPr txBox="1">
            <a:spLocks/>
          </p:cNvSpPr>
          <p:nvPr userDrawn="1"/>
        </p:nvSpPr>
        <p:spPr>
          <a:xfrm>
            <a:off x="7566025" y="6356350"/>
            <a:ext cx="3787775" cy="374650"/>
          </a:xfrm>
          <a:prstGeom prst="rect">
            <a:avLst/>
          </a:prstGeom>
        </p:spPr>
        <p:txBody>
          <a:bodyPr anchor="ctr">
            <a:norm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lnSpc>
                <a:spcPct val="90000"/>
              </a:lnSpc>
              <a:buClr>
                <a:srgbClr val="000000"/>
              </a:buClr>
              <a:buFont typeface="Arial" panose="020B0604020202020204" pitchFamily="34" charset="0"/>
              <a:buNone/>
            </a:pPr>
            <a:fld id="{1BDB5EAD-F868-416D-842F-C35E932130F7}" type="slidenum">
              <a:rPr lang="en-US" altLang="en-US" sz="1200">
                <a:solidFill>
                  <a:srgbClr val="7F7F7F"/>
                </a:solidFill>
                <a:latin typeface="Arial" panose="020B0604020202020204" pitchFamily="34" charset="0"/>
                <a:sym typeface="Arial" panose="020B0604020202020204" pitchFamily="34" charset="0"/>
              </a:rPr>
              <a:pPr algn="r">
                <a:lnSpc>
                  <a:spcPct val="90000"/>
                </a:lnSpc>
                <a:buClr>
                  <a:srgbClr val="000000"/>
                </a:buClr>
                <a:buFont typeface="Arial" panose="020B0604020202020204" pitchFamily="34" charset="0"/>
                <a:buNone/>
              </a:pPr>
              <a:t>‹#›</a:t>
            </a:fld>
            <a:endParaRPr lang="en-US" altLang="en-US" sz="1200">
              <a:solidFill>
                <a:srgbClr val="7F7F7F"/>
              </a:solidFill>
              <a:latin typeface="Arial" panose="020B0604020202020204" pitchFamily="34" charset="0"/>
              <a:sym typeface="Arial" panose="020B0604020202020204" pitchFamily="34" charset="0"/>
            </a:endParaRPr>
          </a:p>
        </p:txBody>
      </p:sp>
      <p:cxnSp>
        <p:nvCxnSpPr>
          <p:cNvPr id="3" name="Straight Connector 2">
            <a:extLst>
              <a:ext uri="{FF2B5EF4-FFF2-40B4-BE49-F238E27FC236}">
                <a16:creationId xmlns:a16="http://schemas.microsoft.com/office/drawing/2014/main" id="{3E4C2053-BFC7-3F3F-5C45-9B0439624CDC}"/>
              </a:ext>
            </a:extLst>
          </p:cNvPr>
          <p:cNvCxnSpPr/>
          <p:nvPr userDrawn="1"/>
        </p:nvCxnSpPr>
        <p:spPr>
          <a:xfrm>
            <a:off x="838200" y="1046163"/>
            <a:ext cx="4064000" cy="0"/>
          </a:xfrm>
          <a:prstGeom prst="line">
            <a:avLst/>
          </a:prstGeom>
          <a:ln>
            <a:solidFill>
              <a:srgbClr val="134A86"/>
            </a:solidFill>
          </a:ln>
        </p:spPr>
        <p:style>
          <a:lnRef idx="1">
            <a:schemeClr val="accent1"/>
          </a:lnRef>
          <a:fillRef idx="0">
            <a:schemeClr val="accent1"/>
          </a:fillRef>
          <a:effectRef idx="0">
            <a:schemeClr val="accent1"/>
          </a:effectRef>
          <a:fontRef idx="minor">
            <a:schemeClr val="tx1"/>
          </a:fontRef>
        </p:style>
      </p:cxnSp>
      <p:sp>
        <p:nvSpPr>
          <p:cNvPr id="4" name="Content Placeholder 3"/>
          <p:cNvSpPr>
            <a:spLocks noGrp="1"/>
          </p:cNvSpPr>
          <p:nvPr>
            <p:ph sz="half" idx="2"/>
          </p:nvPr>
        </p:nvSpPr>
        <p:spPr>
          <a:xfrm>
            <a:off x="839790" y="5102578"/>
            <a:ext cx="10514011" cy="1126732"/>
          </a:xfrm>
        </p:spPr>
        <p:txBody>
          <a:bodyPr/>
          <a:lstStyle>
            <a:lvl1pPr>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03077" y="1454480"/>
            <a:ext cx="4461646" cy="429533"/>
          </a:xfrm>
        </p:spPr>
        <p:txBody>
          <a:bodyPr anchor="b">
            <a:normAutofit/>
          </a:bodyPr>
          <a:lstStyle>
            <a:lvl1pPr marL="0" indent="0" algn="ctr">
              <a:buNone/>
              <a:defRPr sz="1600" b="1"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Picture Placeholder 7"/>
          <p:cNvSpPr>
            <a:spLocks noGrp="1"/>
          </p:cNvSpPr>
          <p:nvPr>
            <p:ph type="pic" sz="quarter" idx="13"/>
          </p:nvPr>
        </p:nvSpPr>
        <p:spPr>
          <a:xfrm>
            <a:off x="1386831" y="1908000"/>
            <a:ext cx="4430769" cy="2880000"/>
          </a:xfrm>
        </p:spPr>
        <p:txBody>
          <a:bodyPr spcFirstLastPara="1">
            <a:normAutofit/>
          </a:bodyPr>
          <a:lstStyle/>
          <a:p>
            <a:pPr lvl="0"/>
            <a:endParaRPr lang="en-GB" noProof="0">
              <a:sym typeface="Helvetica Neue"/>
            </a:endParaRPr>
          </a:p>
        </p:txBody>
      </p:sp>
      <p:sp>
        <p:nvSpPr>
          <p:cNvPr id="11" name="Picture Placeholder 7"/>
          <p:cNvSpPr>
            <a:spLocks noGrp="1"/>
          </p:cNvSpPr>
          <p:nvPr>
            <p:ph type="pic" sz="quarter" idx="14"/>
          </p:nvPr>
        </p:nvSpPr>
        <p:spPr>
          <a:xfrm>
            <a:off x="6203077" y="1908000"/>
            <a:ext cx="4430769" cy="2880000"/>
          </a:xfrm>
        </p:spPr>
        <p:txBody>
          <a:bodyPr spcFirstLastPara="1">
            <a:normAutofit/>
          </a:bodyPr>
          <a:lstStyle/>
          <a:p>
            <a:pPr lvl="0"/>
            <a:endParaRPr lang="en-GB" noProof="0">
              <a:sym typeface="Helvetica Neue"/>
            </a:endParaRPr>
          </a:p>
        </p:txBody>
      </p:sp>
      <p:sp>
        <p:nvSpPr>
          <p:cNvPr id="12" name="Text Placeholder 4"/>
          <p:cNvSpPr>
            <a:spLocks noGrp="1"/>
          </p:cNvSpPr>
          <p:nvPr>
            <p:ph type="body" sz="quarter" idx="15"/>
          </p:nvPr>
        </p:nvSpPr>
        <p:spPr>
          <a:xfrm>
            <a:off x="1386831" y="1454479"/>
            <a:ext cx="4461646" cy="429533"/>
          </a:xfrm>
        </p:spPr>
        <p:txBody>
          <a:bodyPr anchor="b">
            <a:normAutofit/>
          </a:bodyPr>
          <a:lstStyle>
            <a:lvl1pPr marL="0" indent="0" algn="ctr">
              <a:buNone/>
              <a:defRPr sz="1600" b="1"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Title 1"/>
          <p:cNvSpPr>
            <a:spLocks noGrp="1"/>
          </p:cNvSpPr>
          <p:nvPr>
            <p:ph type="title"/>
          </p:nvPr>
        </p:nvSpPr>
        <p:spPr>
          <a:xfrm>
            <a:off x="838201" y="365128"/>
            <a:ext cx="10515600" cy="989540"/>
          </a:xfrm>
        </p:spPr>
        <p:txBody>
          <a:bodyPr>
            <a:normAutofit/>
          </a:bodyPr>
          <a:lstStyle>
            <a:lvl1pPr>
              <a:defRPr sz="2400"/>
            </a:lvl1pPr>
          </a:lstStyle>
          <a:p>
            <a:r>
              <a:rPr lang="en-US"/>
              <a:t>Click to edit Master title style</a:t>
            </a:r>
          </a:p>
        </p:txBody>
      </p:sp>
    </p:spTree>
    <p:extLst>
      <p:ext uri="{BB962C8B-B14F-4D97-AF65-F5344CB8AC3E}">
        <p14:creationId xmlns:p14="http://schemas.microsoft.com/office/powerpoint/2010/main" val="13518064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17"/>
        <p:cNvGrpSpPr/>
        <p:nvPr/>
      </p:nvGrpSpPr>
      <p:grpSpPr>
        <a:xfrm>
          <a:off x="0" y="0"/>
          <a:ext cx="0" cy="0"/>
          <a:chOff x="0" y="0"/>
          <a:chExt cx="0" cy="0"/>
        </a:xfrm>
      </p:grpSpPr>
      <p:sp>
        <p:nvSpPr>
          <p:cNvPr id="2" name="Google Shape;18;p65">
            <a:extLst>
              <a:ext uri="{FF2B5EF4-FFF2-40B4-BE49-F238E27FC236}">
                <a16:creationId xmlns:a16="http://schemas.microsoft.com/office/drawing/2014/main" id="{8483BA14-F5DF-3400-9C3D-CC8B5DE744FF}"/>
              </a:ext>
            </a:extLst>
          </p:cNvPr>
          <p:cNvSpPr>
            <a:spLocks noChangeArrowheads="1"/>
          </p:cNvSpPr>
          <p:nvPr/>
        </p:nvSpPr>
        <p:spPr bwMode="auto">
          <a:xfrm>
            <a:off x="3175" y="2608263"/>
            <a:ext cx="6858000" cy="4249737"/>
          </a:xfrm>
          <a:prstGeom prst="rtTriangle">
            <a:avLst/>
          </a:prstGeom>
          <a:solidFill>
            <a:srgbClr val="01347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a:solidFill>
                <a:srgbClr val="FFFFFF"/>
              </a:solidFill>
              <a:cs typeface="Calibri" panose="020F0502020204030204" pitchFamily="34" charset="0"/>
              <a:sym typeface="Calibri" panose="020F0502020204030204" pitchFamily="34" charset="0"/>
            </a:endParaRPr>
          </a:p>
        </p:txBody>
      </p:sp>
      <p:pic>
        <p:nvPicPr>
          <p:cNvPr id="3" name="Google Shape;19;p65" descr="A close up of a logo&#10;&#10;Description automatically generated">
            <a:extLst>
              <a:ext uri="{FF2B5EF4-FFF2-40B4-BE49-F238E27FC236}">
                <a16:creationId xmlns:a16="http://schemas.microsoft.com/office/drawing/2014/main" id="{3DA4ED28-55AF-A80F-434E-CBC88391DEB0}"/>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l="2185" t="6084" r="87331" b="75015"/>
          <a:stretch>
            <a:fillRect/>
          </a:stretch>
        </p:blipFill>
        <p:spPr bwMode="auto">
          <a:xfrm>
            <a:off x="869950" y="5229225"/>
            <a:ext cx="1157288" cy="117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555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01E03-7A7D-4B99-B155-A8140EF43592}"/>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id="{5B595389-2774-5727-A6A9-AB746D4A81A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id="{7EA3D5AE-B143-9F44-79EF-70EEF26EC85B}"/>
              </a:ext>
            </a:extLst>
          </p:cNvPr>
          <p:cNvSpPr>
            <a:spLocks noGrp="1"/>
          </p:cNvSpPr>
          <p:nvPr>
            <p:ph type="dt" sz="half" idx="10"/>
          </p:nvPr>
        </p:nvSpPr>
        <p:spPr/>
        <p:txBody>
          <a:bodyPr/>
          <a:lstStyle/>
          <a:p>
            <a:fld id="{9E4470E8-77CC-4349-AD5A-D9241C18ADDC}" type="datetimeFigureOut">
              <a:rPr lang="x-none" smtClean="0">
                <a:solidFill>
                  <a:prstClr val="black">
                    <a:tint val="75000"/>
                  </a:prstClr>
                </a:solidFill>
              </a:rPr>
              <a:pPr/>
              <a:t>23/7/2025</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FD730BF9-898C-5263-FE96-F2DBBBD428A8}"/>
              </a:ext>
            </a:extLst>
          </p:cNvPr>
          <p:cNvSpPr>
            <a:spLocks noGrp="1"/>
          </p:cNvSpPr>
          <p:nvPr>
            <p:ph type="ftr" sz="quarter" idx="11"/>
          </p:nvPr>
        </p:nvSpPr>
        <p:spPr/>
        <p:txBody>
          <a:bodyPr/>
          <a:lstStyle/>
          <a:p>
            <a:endParaRPr lang="x-none">
              <a:solidFill>
                <a:prstClr val="black">
                  <a:tint val="75000"/>
                </a:prstClr>
              </a:solidFill>
            </a:endParaRPr>
          </a:p>
        </p:txBody>
      </p:sp>
      <p:sp>
        <p:nvSpPr>
          <p:cNvPr id="6" name="Slide Number Placeholder 5">
            <a:extLst>
              <a:ext uri="{FF2B5EF4-FFF2-40B4-BE49-F238E27FC236}">
                <a16:creationId xmlns:a16="http://schemas.microsoft.com/office/drawing/2014/main" id="{70DBA132-105F-D5C9-65A6-86D9126DB8F6}"/>
              </a:ext>
            </a:extLst>
          </p:cNvPr>
          <p:cNvSpPr>
            <a:spLocks noGrp="1"/>
          </p:cNvSpPr>
          <p:nvPr>
            <p:ph type="sldNum" sz="quarter" idx="12"/>
          </p:nvPr>
        </p:nvSpPr>
        <p:spPr/>
        <p:txBody>
          <a:bodyPr/>
          <a:lstStyle/>
          <a:p>
            <a:fld id="{0EBDB509-C555-7A42-A55F-2D98D74F0193}"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31841251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BDFB38-FBBF-7C68-4C2A-61CDA6901BCE}"/>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id="{D9F5A1D0-8AA6-2E58-BBC8-B002B20C287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id="{E99F0A17-428A-6E13-3FAF-F9158108D575}"/>
              </a:ext>
            </a:extLst>
          </p:cNvPr>
          <p:cNvSpPr>
            <a:spLocks noGrp="1"/>
          </p:cNvSpPr>
          <p:nvPr>
            <p:ph type="dt" sz="half" idx="10"/>
          </p:nvPr>
        </p:nvSpPr>
        <p:spPr/>
        <p:txBody>
          <a:bodyPr/>
          <a:lstStyle/>
          <a:p>
            <a:fld id="{9E4470E8-77CC-4349-AD5A-D9241C18ADDC}" type="datetimeFigureOut">
              <a:rPr lang="x-none" smtClean="0">
                <a:solidFill>
                  <a:prstClr val="black">
                    <a:tint val="75000"/>
                  </a:prstClr>
                </a:solidFill>
              </a:rPr>
              <a:pPr/>
              <a:t>23/7/2025</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4F053D84-0250-5A24-F4BC-E90D93F6A728}"/>
              </a:ext>
            </a:extLst>
          </p:cNvPr>
          <p:cNvSpPr>
            <a:spLocks noGrp="1"/>
          </p:cNvSpPr>
          <p:nvPr>
            <p:ph type="ftr" sz="quarter" idx="11"/>
          </p:nvPr>
        </p:nvSpPr>
        <p:spPr/>
        <p:txBody>
          <a:bodyPr/>
          <a:lstStyle/>
          <a:p>
            <a:endParaRPr lang="x-none">
              <a:solidFill>
                <a:prstClr val="black">
                  <a:tint val="75000"/>
                </a:prstClr>
              </a:solidFill>
            </a:endParaRPr>
          </a:p>
        </p:txBody>
      </p:sp>
      <p:sp>
        <p:nvSpPr>
          <p:cNvPr id="6" name="Slide Number Placeholder 5">
            <a:extLst>
              <a:ext uri="{FF2B5EF4-FFF2-40B4-BE49-F238E27FC236}">
                <a16:creationId xmlns:a16="http://schemas.microsoft.com/office/drawing/2014/main" id="{96397E5A-399C-5D32-2147-A9A6D925D0E5}"/>
              </a:ext>
            </a:extLst>
          </p:cNvPr>
          <p:cNvSpPr>
            <a:spLocks noGrp="1"/>
          </p:cNvSpPr>
          <p:nvPr>
            <p:ph type="sldNum" sz="quarter" idx="12"/>
          </p:nvPr>
        </p:nvSpPr>
        <p:spPr/>
        <p:txBody>
          <a:bodyPr/>
          <a:lstStyle/>
          <a:p>
            <a:fld id="{0EBDB509-C555-7A42-A55F-2D98D74F0193}"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8276630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F99609-1D23-631A-51E1-8AEE8229BBD5}"/>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id="{268FF72A-3B4A-73B0-FA20-4BB771E0D78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9C22331C-3F74-0E86-296B-A63D2D792B95}"/>
              </a:ext>
            </a:extLst>
          </p:cNvPr>
          <p:cNvSpPr>
            <a:spLocks noGrp="1"/>
          </p:cNvSpPr>
          <p:nvPr>
            <p:ph type="dt" sz="half" idx="10"/>
          </p:nvPr>
        </p:nvSpPr>
        <p:spPr/>
        <p:txBody>
          <a:bodyPr/>
          <a:lstStyle/>
          <a:p>
            <a:fld id="{9E4470E8-77CC-4349-AD5A-D9241C18ADDC}" type="datetimeFigureOut">
              <a:rPr lang="x-none" smtClean="0">
                <a:solidFill>
                  <a:prstClr val="black">
                    <a:tint val="75000"/>
                  </a:prstClr>
                </a:solidFill>
              </a:rPr>
              <a:pPr/>
              <a:t>23/7/2025</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57745C46-36F9-308B-BA75-FCB0E8B29C84}"/>
              </a:ext>
            </a:extLst>
          </p:cNvPr>
          <p:cNvSpPr>
            <a:spLocks noGrp="1"/>
          </p:cNvSpPr>
          <p:nvPr>
            <p:ph type="ftr" sz="quarter" idx="11"/>
          </p:nvPr>
        </p:nvSpPr>
        <p:spPr/>
        <p:txBody>
          <a:bodyPr/>
          <a:lstStyle/>
          <a:p>
            <a:endParaRPr lang="x-none">
              <a:solidFill>
                <a:prstClr val="black">
                  <a:tint val="75000"/>
                </a:prstClr>
              </a:solidFill>
            </a:endParaRPr>
          </a:p>
        </p:txBody>
      </p:sp>
      <p:sp>
        <p:nvSpPr>
          <p:cNvPr id="6" name="Slide Number Placeholder 5">
            <a:extLst>
              <a:ext uri="{FF2B5EF4-FFF2-40B4-BE49-F238E27FC236}">
                <a16:creationId xmlns:a16="http://schemas.microsoft.com/office/drawing/2014/main" id="{50F91E67-DF8B-584E-34D1-225FCBF60788}"/>
              </a:ext>
            </a:extLst>
          </p:cNvPr>
          <p:cNvSpPr>
            <a:spLocks noGrp="1"/>
          </p:cNvSpPr>
          <p:nvPr>
            <p:ph type="sldNum" sz="quarter" idx="12"/>
          </p:nvPr>
        </p:nvSpPr>
        <p:spPr/>
        <p:txBody>
          <a:bodyPr/>
          <a:lstStyle/>
          <a:p>
            <a:fld id="{0EBDB509-C555-7A42-A55F-2D98D74F0193}"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17022777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CCF1B-F524-2E65-0622-D6BD9951DF1E}"/>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id="{D08DFD6F-1CCF-6427-AB61-58C1E53853DB}"/>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id="{49FF99BB-3AB8-8C43-C20B-47A31DB17D23}"/>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id="{3F2D8ACD-7606-6A07-2A83-A1A642448320}"/>
              </a:ext>
            </a:extLst>
          </p:cNvPr>
          <p:cNvSpPr>
            <a:spLocks noGrp="1"/>
          </p:cNvSpPr>
          <p:nvPr>
            <p:ph type="dt" sz="half" idx="10"/>
          </p:nvPr>
        </p:nvSpPr>
        <p:spPr/>
        <p:txBody>
          <a:bodyPr/>
          <a:lstStyle/>
          <a:p>
            <a:fld id="{9E4470E8-77CC-4349-AD5A-D9241C18ADDC}" type="datetimeFigureOut">
              <a:rPr lang="x-none" smtClean="0">
                <a:solidFill>
                  <a:prstClr val="black">
                    <a:tint val="75000"/>
                  </a:prstClr>
                </a:solidFill>
              </a:rPr>
              <a:pPr/>
              <a:t>23/7/2025</a:t>
            </a:fld>
            <a:endParaRPr lang="x-none">
              <a:solidFill>
                <a:prstClr val="black">
                  <a:tint val="75000"/>
                </a:prstClr>
              </a:solidFill>
            </a:endParaRPr>
          </a:p>
        </p:txBody>
      </p:sp>
      <p:sp>
        <p:nvSpPr>
          <p:cNvPr id="6" name="Footer Placeholder 5">
            <a:extLst>
              <a:ext uri="{FF2B5EF4-FFF2-40B4-BE49-F238E27FC236}">
                <a16:creationId xmlns:a16="http://schemas.microsoft.com/office/drawing/2014/main" id="{1275908F-B9D0-8C0B-CD8E-9EE86EA285E9}"/>
              </a:ext>
            </a:extLst>
          </p:cNvPr>
          <p:cNvSpPr>
            <a:spLocks noGrp="1"/>
          </p:cNvSpPr>
          <p:nvPr>
            <p:ph type="ftr" sz="quarter" idx="11"/>
          </p:nvPr>
        </p:nvSpPr>
        <p:spPr/>
        <p:txBody>
          <a:bodyPr/>
          <a:lstStyle/>
          <a:p>
            <a:endParaRPr lang="x-none">
              <a:solidFill>
                <a:prstClr val="black">
                  <a:tint val="75000"/>
                </a:prstClr>
              </a:solidFill>
            </a:endParaRPr>
          </a:p>
        </p:txBody>
      </p:sp>
      <p:sp>
        <p:nvSpPr>
          <p:cNvPr id="7" name="Slide Number Placeholder 6">
            <a:extLst>
              <a:ext uri="{FF2B5EF4-FFF2-40B4-BE49-F238E27FC236}">
                <a16:creationId xmlns:a16="http://schemas.microsoft.com/office/drawing/2014/main" id="{89B9ACE9-5F5B-15BE-3CEA-81746A529334}"/>
              </a:ext>
            </a:extLst>
          </p:cNvPr>
          <p:cNvSpPr>
            <a:spLocks noGrp="1"/>
          </p:cNvSpPr>
          <p:nvPr>
            <p:ph type="sldNum" sz="quarter" idx="12"/>
          </p:nvPr>
        </p:nvSpPr>
        <p:spPr/>
        <p:txBody>
          <a:bodyPr/>
          <a:lstStyle/>
          <a:p>
            <a:fld id="{0EBDB509-C555-7A42-A55F-2D98D74F0193}"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2907850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5B805-83C3-6642-EDCC-C7A7B3E1382C}"/>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id="{E5EC5DC9-B4D7-0A06-B471-547CA0D429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B62E189-F097-0BA7-B67A-04CD340205D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id="{41F41CB2-4D1A-AA04-D71D-5C57207AE7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A3BC4020-89AC-E206-7C63-12EDC6378D3A}"/>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id="{1B0DAADB-5C3D-F97B-4D8F-3A22BECD2734}"/>
              </a:ext>
            </a:extLst>
          </p:cNvPr>
          <p:cNvSpPr>
            <a:spLocks noGrp="1"/>
          </p:cNvSpPr>
          <p:nvPr>
            <p:ph type="dt" sz="half" idx="10"/>
          </p:nvPr>
        </p:nvSpPr>
        <p:spPr/>
        <p:txBody>
          <a:bodyPr/>
          <a:lstStyle/>
          <a:p>
            <a:fld id="{9E4470E8-77CC-4349-AD5A-D9241C18ADDC}" type="datetimeFigureOut">
              <a:rPr lang="x-none" smtClean="0">
                <a:solidFill>
                  <a:prstClr val="black">
                    <a:tint val="75000"/>
                  </a:prstClr>
                </a:solidFill>
              </a:rPr>
              <a:pPr/>
              <a:t>23/7/2025</a:t>
            </a:fld>
            <a:endParaRPr lang="x-none">
              <a:solidFill>
                <a:prstClr val="black">
                  <a:tint val="75000"/>
                </a:prstClr>
              </a:solidFill>
            </a:endParaRPr>
          </a:p>
        </p:txBody>
      </p:sp>
      <p:sp>
        <p:nvSpPr>
          <p:cNvPr id="8" name="Footer Placeholder 7">
            <a:extLst>
              <a:ext uri="{FF2B5EF4-FFF2-40B4-BE49-F238E27FC236}">
                <a16:creationId xmlns:a16="http://schemas.microsoft.com/office/drawing/2014/main" id="{41A27DD1-7868-6019-84FC-503D5C7637C8}"/>
              </a:ext>
            </a:extLst>
          </p:cNvPr>
          <p:cNvSpPr>
            <a:spLocks noGrp="1"/>
          </p:cNvSpPr>
          <p:nvPr>
            <p:ph type="ftr" sz="quarter" idx="11"/>
          </p:nvPr>
        </p:nvSpPr>
        <p:spPr/>
        <p:txBody>
          <a:bodyPr/>
          <a:lstStyle/>
          <a:p>
            <a:endParaRPr lang="x-none">
              <a:solidFill>
                <a:prstClr val="black">
                  <a:tint val="75000"/>
                </a:prstClr>
              </a:solidFill>
            </a:endParaRPr>
          </a:p>
        </p:txBody>
      </p:sp>
      <p:sp>
        <p:nvSpPr>
          <p:cNvPr id="9" name="Slide Number Placeholder 8">
            <a:extLst>
              <a:ext uri="{FF2B5EF4-FFF2-40B4-BE49-F238E27FC236}">
                <a16:creationId xmlns:a16="http://schemas.microsoft.com/office/drawing/2014/main" id="{43146A12-E0EC-F24A-CED8-0710FA898903}"/>
              </a:ext>
            </a:extLst>
          </p:cNvPr>
          <p:cNvSpPr>
            <a:spLocks noGrp="1"/>
          </p:cNvSpPr>
          <p:nvPr>
            <p:ph type="sldNum" sz="quarter" idx="12"/>
          </p:nvPr>
        </p:nvSpPr>
        <p:spPr/>
        <p:txBody>
          <a:bodyPr/>
          <a:lstStyle/>
          <a:p>
            <a:fld id="{0EBDB509-C555-7A42-A55F-2D98D74F0193}"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11522558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0471E-7089-FBBA-82B0-A745C8E5C81E}"/>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id="{79537A87-7825-6AEA-D75E-D9017A91F248}"/>
              </a:ext>
            </a:extLst>
          </p:cNvPr>
          <p:cNvSpPr>
            <a:spLocks noGrp="1"/>
          </p:cNvSpPr>
          <p:nvPr>
            <p:ph type="dt" sz="half" idx="10"/>
          </p:nvPr>
        </p:nvSpPr>
        <p:spPr/>
        <p:txBody>
          <a:bodyPr/>
          <a:lstStyle/>
          <a:p>
            <a:fld id="{9E4470E8-77CC-4349-AD5A-D9241C18ADDC}" type="datetimeFigureOut">
              <a:rPr lang="x-none" smtClean="0">
                <a:solidFill>
                  <a:prstClr val="black">
                    <a:tint val="75000"/>
                  </a:prstClr>
                </a:solidFill>
              </a:rPr>
              <a:pPr/>
              <a:t>23/7/2025</a:t>
            </a:fld>
            <a:endParaRPr lang="x-none">
              <a:solidFill>
                <a:prstClr val="black">
                  <a:tint val="75000"/>
                </a:prstClr>
              </a:solidFill>
            </a:endParaRPr>
          </a:p>
        </p:txBody>
      </p:sp>
      <p:sp>
        <p:nvSpPr>
          <p:cNvPr id="4" name="Footer Placeholder 3">
            <a:extLst>
              <a:ext uri="{FF2B5EF4-FFF2-40B4-BE49-F238E27FC236}">
                <a16:creationId xmlns:a16="http://schemas.microsoft.com/office/drawing/2014/main" id="{BF3B4E31-E022-1E43-DE74-7BB4BD04E3CC}"/>
              </a:ext>
            </a:extLst>
          </p:cNvPr>
          <p:cNvSpPr>
            <a:spLocks noGrp="1"/>
          </p:cNvSpPr>
          <p:nvPr>
            <p:ph type="ftr" sz="quarter" idx="11"/>
          </p:nvPr>
        </p:nvSpPr>
        <p:spPr/>
        <p:txBody>
          <a:bodyPr/>
          <a:lstStyle/>
          <a:p>
            <a:endParaRPr lang="x-none">
              <a:solidFill>
                <a:prstClr val="black">
                  <a:tint val="75000"/>
                </a:prstClr>
              </a:solidFill>
            </a:endParaRPr>
          </a:p>
        </p:txBody>
      </p:sp>
      <p:sp>
        <p:nvSpPr>
          <p:cNvPr id="5" name="Slide Number Placeholder 4">
            <a:extLst>
              <a:ext uri="{FF2B5EF4-FFF2-40B4-BE49-F238E27FC236}">
                <a16:creationId xmlns:a16="http://schemas.microsoft.com/office/drawing/2014/main" id="{450084BE-8A2F-65BB-4406-ED844449D767}"/>
              </a:ext>
            </a:extLst>
          </p:cNvPr>
          <p:cNvSpPr>
            <a:spLocks noGrp="1"/>
          </p:cNvSpPr>
          <p:nvPr>
            <p:ph type="sldNum" sz="quarter" idx="12"/>
          </p:nvPr>
        </p:nvSpPr>
        <p:spPr/>
        <p:txBody>
          <a:bodyPr/>
          <a:lstStyle/>
          <a:p>
            <a:fld id="{0EBDB509-C555-7A42-A55F-2D98D74F0193}"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40367986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Στυλ κύριου τίτλου</a:t>
            </a:r>
          </a:p>
        </p:txBody>
      </p:sp>
      <p:sp>
        <p:nvSpPr>
          <p:cNvPr id="3" name="Θέση περιεχομένου 2"/>
          <p:cNvSpPr>
            <a:spLocks noGrp="1"/>
          </p:cNvSpPr>
          <p:nvPr>
            <p:ph sz="half" idx="1" hasCustomPrompt="1"/>
          </p:nvPr>
        </p:nvSpPr>
        <p:spPr>
          <a:xfrm>
            <a:off x="838200" y="1825625"/>
            <a:ext cx="5181600" cy="4351338"/>
          </a:xfrm>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περιεχομένου 3"/>
          <p:cNvSpPr>
            <a:spLocks noGrp="1"/>
          </p:cNvSpPr>
          <p:nvPr>
            <p:ph sz="half" idx="2" hasCustomPrompt="1"/>
          </p:nvPr>
        </p:nvSpPr>
        <p:spPr>
          <a:xfrm>
            <a:off x="6172200" y="1825625"/>
            <a:ext cx="5181600" cy="4351338"/>
          </a:xfrm>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Θέση ημερομηνίας 4"/>
          <p:cNvSpPr>
            <a:spLocks noGrp="1"/>
          </p:cNvSpPr>
          <p:nvPr>
            <p:ph type="dt" sz="half" idx="10"/>
          </p:nvPr>
        </p:nvSpPr>
        <p:spPr/>
        <p:txBody>
          <a:bodyPr/>
          <a:lstStyle/>
          <a:p>
            <a:fld id="{52B69728-13CB-4FA4-904D-CF5C4C899BE6}" type="datetimeFigureOut">
              <a:rPr lang="el-GR" smtClean="0"/>
              <a:pPr/>
              <a:t>23/7/2025</a:t>
            </a:fld>
            <a:endParaRPr lang="el-GR"/>
          </a:p>
        </p:txBody>
      </p:sp>
      <p:sp>
        <p:nvSpPr>
          <p:cNvPr id="6" name="Θέση υποσέλιδου 5"/>
          <p:cNvSpPr>
            <a:spLocks noGrp="1"/>
          </p:cNvSpPr>
          <p:nvPr>
            <p:ph type="ftr" sz="quarter" idx="11"/>
          </p:nvPr>
        </p:nvSpPr>
        <p:spPr/>
        <p:txBody>
          <a:bodyPr/>
          <a:lstStyle/>
          <a:p>
            <a:endParaRPr lang="el-GR"/>
          </a:p>
        </p:txBody>
      </p:sp>
      <p:sp>
        <p:nvSpPr>
          <p:cNvPr id="7" name="Θέση αριθμού διαφάνειας 6"/>
          <p:cNvSpPr>
            <a:spLocks noGrp="1"/>
          </p:cNvSpPr>
          <p:nvPr>
            <p:ph type="sldNum" sz="quarter" idx="12"/>
          </p:nvPr>
        </p:nvSpPr>
        <p:spPr/>
        <p:txBody>
          <a:bodyPr/>
          <a:lstStyle/>
          <a:p>
            <a:fld id="{492F0BFE-09C8-4C53-B8F5-44730026CF66}" type="slidenum">
              <a:rPr lang="el-GR" smtClean="0"/>
              <a:pPr/>
              <a:t>‹#›</a:t>
            </a:fld>
            <a:endParaRPr lang="el-G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0E21C2-759E-1DF4-B20C-8C1D9592D609}"/>
              </a:ext>
            </a:extLst>
          </p:cNvPr>
          <p:cNvSpPr>
            <a:spLocks noGrp="1"/>
          </p:cNvSpPr>
          <p:nvPr>
            <p:ph type="dt" sz="half" idx="10"/>
          </p:nvPr>
        </p:nvSpPr>
        <p:spPr/>
        <p:txBody>
          <a:bodyPr/>
          <a:lstStyle/>
          <a:p>
            <a:fld id="{9E4470E8-77CC-4349-AD5A-D9241C18ADDC}" type="datetimeFigureOut">
              <a:rPr lang="x-none" smtClean="0">
                <a:solidFill>
                  <a:prstClr val="black">
                    <a:tint val="75000"/>
                  </a:prstClr>
                </a:solidFill>
              </a:rPr>
              <a:pPr/>
              <a:t>23/7/2025</a:t>
            </a:fld>
            <a:endParaRPr lang="x-none">
              <a:solidFill>
                <a:prstClr val="black">
                  <a:tint val="75000"/>
                </a:prstClr>
              </a:solidFill>
            </a:endParaRPr>
          </a:p>
        </p:txBody>
      </p:sp>
      <p:sp>
        <p:nvSpPr>
          <p:cNvPr id="3" name="Footer Placeholder 2">
            <a:extLst>
              <a:ext uri="{FF2B5EF4-FFF2-40B4-BE49-F238E27FC236}">
                <a16:creationId xmlns:a16="http://schemas.microsoft.com/office/drawing/2014/main" id="{176585A2-D5F9-FAC9-235A-2F44C1246953}"/>
              </a:ext>
            </a:extLst>
          </p:cNvPr>
          <p:cNvSpPr>
            <a:spLocks noGrp="1"/>
          </p:cNvSpPr>
          <p:nvPr>
            <p:ph type="ftr" sz="quarter" idx="11"/>
          </p:nvPr>
        </p:nvSpPr>
        <p:spPr/>
        <p:txBody>
          <a:bodyPr/>
          <a:lstStyle/>
          <a:p>
            <a:endParaRPr lang="x-none">
              <a:solidFill>
                <a:prstClr val="black">
                  <a:tint val="75000"/>
                </a:prstClr>
              </a:solidFill>
            </a:endParaRPr>
          </a:p>
        </p:txBody>
      </p:sp>
      <p:sp>
        <p:nvSpPr>
          <p:cNvPr id="4" name="Slide Number Placeholder 3">
            <a:extLst>
              <a:ext uri="{FF2B5EF4-FFF2-40B4-BE49-F238E27FC236}">
                <a16:creationId xmlns:a16="http://schemas.microsoft.com/office/drawing/2014/main" id="{9F72D3C2-1CCD-8BED-2ECC-193BF957308D}"/>
              </a:ext>
            </a:extLst>
          </p:cNvPr>
          <p:cNvSpPr>
            <a:spLocks noGrp="1"/>
          </p:cNvSpPr>
          <p:nvPr>
            <p:ph type="sldNum" sz="quarter" idx="12"/>
          </p:nvPr>
        </p:nvSpPr>
        <p:spPr/>
        <p:txBody>
          <a:bodyPr/>
          <a:lstStyle/>
          <a:p>
            <a:fld id="{0EBDB509-C555-7A42-A55F-2D98D74F0193}"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8629121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6AC8E-40D4-5F87-7D98-8B29303FDF8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id="{3352A84B-6911-282B-D712-EF70908B67E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id="{774CD936-E8C9-CF55-20EF-E4C104D326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6F4685B-3903-2D3D-650E-F61A71E30509}"/>
              </a:ext>
            </a:extLst>
          </p:cNvPr>
          <p:cNvSpPr>
            <a:spLocks noGrp="1"/>
          </p:cNvSpPr>
          <p:nvPr>
            <p:ph type="dt" sz="half" idx="10"/>
          </p:nvPr>
        </p:nvSpPr>
        <p:spPr/>
        <p:txBody>
          <a:bodyPr/>
          <a:lstStyle/>
          <a:p>
            <a:fld id="{9E4470E8-77CC-4349-AD5A-D9241C18ADDC}" type="datetimeFigureOut">
              <a:rPr lang="x-none" smtClean="0">
                <a:solidFill>
                  <a:prstClr val="black">
                    <a:tint val="75000"/>
                  </a:prstClr>
                </a:solidFill>
              </a:rPr>
              <a:pPr/>
              <a:t>23/7/2025</a:t>
            </a:fld>
            <a:endParaRPr lang="x-none">
              <a:solidFill>
                <a:prstClr val="black">
                  <a:tint val="75000"/>
                </a:prstClr>
              </a:solidFill>
            </a:endParaRPr>
          </a:p>
        </p:txBody>
      </p:sp>
      <p:sp>
        <p:nvSpPr>
          <p:cNvPr id="6" name="Footer Placeholder 5">
            <a:extLst>
              <a:ext uri="{FF2B5EF4-FFF2-40B4-BE49-F238E27FC236}">
                <a16:creationId xmlns:a16="http://schemas.microsoft.com/office/drawing/2014/main" id="{6807145E-5386-EB8E-5F1E-CA87C7384C84}"/>
              </a:ext>
            </a:extLst>
          </p:cNvPr>
          <p:cNvSpPr>
            <a:spLocks noGrp="1"/>
          </p:cNvSpPr>
          <p:nvPr>
            <p:ph type="ftr" sz="quarter" idx="11"/>
          </p:nvPr>
        </p:nvSpPr>
        <p:spPr/>
        <p:txBody>
          <a:bodyPr/>
          <a:lstStyle/>
          <a:p>
            <a:endParaRPr lang="x-none">
              <a:solidFill>
                <a:prstClr val="black">
                  <a:tint val="75000"/>
                </a:prstClr>
              </a:solidFill>
            </a:endParaRPr>
          </a:p>
        </p:txBody>
      </p:sp>
      <p:sp>
        <p:nvSpPr>
          <p:cNvPr id="7" name="Slide Number Placeholder 6">
            <a:extLst>
              <a:ext uri="{FF2B5EF4-FFF2-40B4-BE49-F238E27FC236}">
                <a16:creationId xmlns:a16="http://schemas.microsoft.com/office/drawing/2014/main" id="{8DB4335F-037E-1885-1BDB-788FFAB9D300}"/>
              </a:ext>
            </a:extLst>
          </p:cNvPr>
          <p:cNvSpPr>
            <a:spLocks noGrp="1"/>
          </p:cNvSpPr>
          <p:nvPr>
            <p:ph type="sldNum" sz="quarter" idx="12"/>
          </p:nvPr>
        </p:nvSpPr>
        <p:spPr/>
        <p:txBody>
          <a:bodyPr/>
          <a:lstStyle/>
          <a:p>
            <a:fld id="{0EBDB509-C555-7A42-A55F-2D98D74F0193}"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16350496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A1001-344D-F09F-2141-EC7C7230F9E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id="{425102A8-3D28-632F-ACEB-3D23DC31B35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id="{36C12006-4242-92EA-F6B3-E899FBD80D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F5A6854-9146-C53C-01A3-300CBD2A3827}"/>
              </a:ext>
            </a:extLst>
          </p:cNvPr>
          <p:cNvSpPr>
            <a:spLocks noGrp="1"/>
          </p:cNvSpPr>
          <p:nvPr>
            <p:ph type="dt" sz="half" idx="10"/>
          </p:nvPr>
        </p:nvSpPr>
        <p:spPr/>
        <p:txBody>
          <a:bodyPr/>
          <a:lstStyle/>
          <a:p>
            <a:fld id="{9E4470E8-77CC-4349-AD5A-D9241C18ADDC}" type="datetimeFigureOut">
              <a:rPr lang="x-none" smtClean="0">
                <a:solidFill>
                  <a:prstClr val="black">
                    <a:tint val="75000"/>
                  </a:prstClr>
                </a:solidFill>
              </a:rPr>
              <a:pPr/>
              <a:t>23/7/2025</a:t>
            </a:fld>
            <a:endParaRPr lang="x-none">
              <a:solidFill>
                <a:prstClr val="black">
                  <a:tint val="75000"/>
                </a:prstClr>
              </a:solidFill>
            </a:endParaRPr>
          </a:p>
        </p:txBody>
      </p:sp>
      <p:sp>
        <p:nvSpPr>
          <p:cNvPr id="6" name="Footer Placeholder 5">
            <a:extLst>
              <a:ext uri="{FF2B5EF4-FFF2-40B4-BE49-F238E27FC236}">
                <a16:creationId xmlns:a16="http://schemas.microsoft.com/office/drawing/2014/main" id="{55794231-8BC2-B664-D81C-521E0E12CAE7}"/>
              </a:ext>
            </a:extLst>
          </p:cNvPr>
          <p:cNvSpPr>
            <a:spLocks noGrp="1"/>
          </p:cNvSpPr>
          <p:nvPr>
            <p:ph type="ftr" sz="quarter" idx="11"/>
          </p:nvPr>
        </p:nvSpPr>
        <p:spPr/>
        <p:txBody>
          <a:bodyPr/>
          <a:lstStyle/>
          <a:p>
            <a:endParaRPr lang="x-none">
              <a:solidFill>
                <a:prstClr val="black">
                  <a:tint val="75000"/>
                </a:prstClr>
              </a:solidFill>
            </a:endParaRPr>
          </a:p>
        </p:txBody>
      </p:sp>
      <p:sp>
        <p:nvSpPr>
          <p:cNvPr id="7" name="Slide Number Placeholder 6">
            <a:extLst>
              <a:ext uri="{FF2B5EF4-FFF2-40B4-BE49-F238E27FC236}">
                <a16:creationId xmlns:a16="http://schemas.microsoft.com/office/drawing/2014/main" id="{BF520FFB-1A16-5878-A94B-3EAABC9E64A8}"/>
              </a:ext>
            </a:extLst>
          </p:cNvPr>
          <p:cNvSpPr>
            <a:spLocks noGrp="1"/>
          </p:cNvSpPr>
          <p:nvPr>
            <p:ph type="sldNum" sz="quarter" idx="12"/>
          </p:nvPr>
        </p:nvSpPr>
        <p:spPr/>
        <p:txBody>
          <a:bodyPr/>
          <a:lstStyle/>
          <a:p>
            <a:fld id="{0EBDB509-C555-7A42-A55F-2D98D74F0193}"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20631028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5323F-D10D-DFA1-54AE-DD1B519879F5}"/>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id="{6FBE3D1E-4070-B102-E8DE-326B1FDA6B45}"/>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id="{57A54B14-8CFD-26CB-6AC0-6709A38254BA}"/>
              </a:ext>
            </a:extLst>
          </p:cNvPr>
          <p:cNvSpPr>
            <a:spLocks noGrp="1"/>
          </p:cNvSpPr>
          <p:nvPr>
            <p:ph type="dt" sz="half" idx="10"/>
          </p:nvPr>
        </p:nvSpPr>
        <p:spPr/>
        <p:txBody>
          <a:bodyPr/>
          <a:lstStyle/>
          <a:p>
            <a:fld id="{9E4470E8-77CC-4349-AD5A-D9241C18ADDC}" type="datetimeFigureOut">
              <a:rPr lang="x-none" smtClean="0">
                <a:solidFill>
                  <a:prstClr val="black">
                    <a:tint val="75000"/>
                  </a:prstClr>
                </a:solidFill>
              </a:rPr>
              <a:pPr/>
              <a:t>23/7/2025</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0BE9EB9E-1F12-BFAA-F1B1-BA06B1CEBA96}"/>
              </a:ext>
            </a:extLst>
          </p:cNvPr>
          <p:cNvSpPr>
            <a:spLocks noGrp="1"/>
          </p:cNvSpPr>
          <p:nvPr>
            <p:ph type="ftr" sz="quarter" idx="11"/>
          </p:nvPr>
        </p:nvSpPr>
        <p:spPr/>
        <p:txBody>
          <a:bodyPr/>
          <a:lstStyle/>
          <a:p>
            <a:endParaRPr lang="x-none">
              <a:solidFill>
                <a:prstClr val="black">
                  <a:tint val="75000"/>
                </a:prstClr>
              </a:solidFill>
            </a:endParaRPr>
          </a:p>
        </p:txBody>
      </p:sp>
      <p:sp>
        <p:nvSpPr>
          <p:cNvPr id="6" name="Slide Number Placeholder 5">
            <a:extLst>
              <a:ext uri="{FF2B5EF4-FFF2-40B4-BE49-F238E27FC236}">
                <a16:creationId xmlns:a16="http://schemas.microsoft.com/office/drawing/2014/main" id="{FEED4150-321E-28F6-A9DB-6E388455BC8E}"/>
              </a:ext>
            </a:extLst>
          </p:cNvPr>
          <p:cNvSpPr>
            <a:spLocks noGrp="1"/>
          </p:cNvSpPr>
          <p:nvPr>
            <p:ph type="sldNum" sz="quarter" idx="12"/>
          </p:nvPr>
        </p:nvSpPr>
        <p:spPr/>
        <p:txBody>
          <a:bodyPr/>
          <a:lstStyle/>
          <a:p>
            <a:fld id="{0EBDB509-C555-7A42-A55F-2D98D74F0193}"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7074631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33F146D-39FF-7111-E2D7-C197EBAA9C8B}"/>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id="{8D0B1CFD-DFB9-C7DB-23AF-75FF497B76D4}"/>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id="{68AECED9-D94B-DB38-3F26-9B65A6D45496}"/>
              </a:ext>
            </a:extLst>
          </p:cNvPr>
          <p:cNvSpPr>
            <a:spLocks noGrp="1"/>
          </p:cNvSpPr>
          <p:nvPr>
            <p:ph type="dt" sz="half" idx="10"/>
          </p:nvPr>
        </p:nvSpPr>
        <p:spPr/>
        <p:txBody>
          <a:bodyPr/>
          <a:lstStyle/>
          <a:p>
            <a:fld id="{9E4470E8-77CC-4349-AD5A-D9241C18ADDC}" type="datetimeFigureOut">
              <a:rPr lang="x-none" smtClean="0">
                <a:solidFill>
                  <a:prstClr val="black">
                    <a:tint val="75000"/>
                  </a:prstClr>
                </a:solidFill>
              </a:rPr>
              <a:pPr/>
              <a:t>23/7/2025</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60F71FE1-E84B-2014-BD79-74B3C9C4996F}"/>
              </a:ext>
            </a:extLst>
          </p:cNvPr>
          <p:cNvSpPr>
            <a:spLocks noGrp="1"/>
          </p:cNvSpPr>
          <p:nvPr>
            <p:ph type="ftr" sz="quarter" idx="11"/>
          </p:nvPr>
        </p:nvSpPr>
        <p:spPr/>
        <p:txBody>
          <a:bodyPr/>
          <a:lstStyle/>
          <a:p>
            <a:endParaRPr lang="x-none">
              <a:solidFill>
                <a:prstClr val="black">
                  <a:tint val="75000"/>
                </a:prstClr>
              </a:solidFill>
            </a:endParaRPr>
          </a:p>
        </p:txBody>
      </p:sp>
      <p:sp>
        <p:nvSpPr>
          <p:cNvPr id="6" name="Slide Number Placeholder 5">
            <a:extLst>
              <a:ext uri="{FF2B5EF4-FFF2-40B4-BE49-F238E27FC236}">
                <a16:creationId xmlns:a16="http://schemas.microsoft.com/office/drawing/2014/main" id="{E3116FF4-2BE9-4756-6FD9-7526AEB6C2EC}"/>
              </a:ext>
            </a:extLst>
          </p:cNvPr>
          <p:cNvSpPr>
            <a:spLocks noGrp="1"/>
          </p:cNvSpPr>
          <p:nvPr>
            <p:ph type="sldNum" sz="quarter" idx="12"/>
          </p:nvPr>
        </p:nvSpPr>
        <p:spPr/>
        <p:txBody>
          <a:bodyPr/>
          <a:lstStyle/>
          <a:p>
            <a:fld id="{0EBDB509-C555-7A42-A55F-2D98D74F0193}"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7440747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8_Custom Layout">
  <p:cSld name="8_Custom Layout">
    <p:spTree>
      <p:nvGrpSpPr>
        <p:cNvPr id="1" name="Shape 10"/>
        <p:cNvGrpSpPr/>
        <p:nvPr/>
      </p:nvGrpSpPr>
      <p:grpSpPr>
        <a:xfrm>
          <a:off x="0" y="0"/>
          <a:ext cx="0" cy="0"/>
          <a:chOff x="0" y="0"/>
          <a:chExt cx="0" cy="0"/>
        </a:xfrm>
      </p:grpSpPr>
      <p:sp>
        <p:nvSpPr>
          <p:cNvPr id="11" name="Google Shape;11;p3"/>
          <p:cNvSpPr/>
          <p:nvPr/>
        </p:nvSpPr>
        <p:spPr>
          <a:xfrm>
            <a:off x="0" y="-3"/>
            <a:ext cx="12192000" cy="6858003"/>
          </a:xfrm>
          <a:prstGeom prst="rect">
            <a:avLst/>
          </a:prstGeom>
          <a:solidFill>
            <a:srgbClr val="013476"/>
          </a:solidFill>
          <a:ln>
            <a:noFill/>
          </a:ln>
        </p:spPr>
        <p:txBody>
          <a:bodyPr spcFirstLastPara="1" wrap="square" lIns="91400" tIns="45700" rIns="91400" bIns="45700" anchor="ctr" anchorCtr="0">
            <a:noAutofit/>
          </a:bodyPr>
          <a:lstStyle/>
          <a:p>
            <a:pPr algn="ctr">
              <a:buClr>
                <a:srgbClr val="000000"/>
              </a:buClr>
              <a:buSzPts val="1400"/>
              <a:buFont typeface="Arial"/>
              <a:buNone/>
            </a:pPr>
            <a:endParaRPr sz="1400">
              <a:solidFill>
                <a:prstClr val="white"/>
              </a:solidFill>
              <a:latin typeface="Arial"/>
              <a:ea typeface="Arial"/>
              <a:cs typeface="Arial"/>
              <a:sym typeface="Arial"/>
            </a:endParaRPr>
          </a:p>
        </p:txBody>
      </p:sp>
      <p:pic>
        <p:nvPicPr>
          <p:cNvPr id="12" name="Google Shape;12;p3" descr="A close up of a logo&#10;&#10;Description automatically generated"/>
          <p:cNvPicPr preferRelativeResize="0"/>
          <p:nvPr/>
        </p:nvPicPr>
        <p:blipFill rotWithShape="1">
          <a:blip r:embed="rId2">
            <a:alphaModFix/>
          </a:blip>
          <a:srcRect l="70000"/>
          <a:stretch/>
        </p:blipFill>
        <p:spPr>
          <a:xfrm>
            <a:off x="8534400" y="-1"/>
            <a:ext cx="3657600" cy="6858001"/>
          </a:xfrm>
          <a:prstGeom prst="rect">
            <a:avLst/>
          </a:prstGeom>
          <a:noFill/>
          <a:ln>
            <a:noFill/>
          </a:ln>
        </p:spPr>
      </p:pic>
      <p:sp>
        <p:nvSpPr>
          <p:cNvPr id="13" name="Google Shape;13;p3"/>
          <p:cNvSpPr txBox="1">
            <a:spLocks noGrp="1"/>
          </p:cNvSpPr>
          <p:nvPr>
            <p:ph type="title"/>
          </p:nvPr>
        </p:nvSpPr>
        <p:spPr>
          <a:xfrm>
            <a:off x="414000" y="2603034"/>
            <a:ext cx="6621800" cy="18535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400"/>
              <a:buNone/>
              <a:defRPr sz="2800" b="1">
                <a:solidFill>
                  <a:schemeClr val="lt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 name="Google Shape;14;p3"/>
          <p:cNvSpPr txBox="1">
            <a:spLocks noGrp="1"/>
          </p:cNvSpPr>
          <p:nvPr>
            <p:ph type="body" idx="1"/>
          </p:nvPr>
        </p:nvSpPr>
        <p:spPr>
          <a:xfrm>
            <a:off x="414000" y="4609783"/>
            <a:ext cx="6621800" cy="914400"/>
          </a:xfrm>
          <a:prstGeom prst="rect">
            <a:avLst/>
          </a:prstGeom>
          <a:noFill/>
          <a:ln>
            <a:noFill/>
          </a:ln>
        </p:spPr>
        <p:txBody>
          <a:bodyPr spcFirstLastPara="1" wrap="square" lIns="91425" tIns="45700" rIns="91425" bIns="45700" anchor="t" anchorCtr="0">
            <a:normAutofit/>
          </a:bodyPr>
          <a:lstStyle>
            <a:lvl1pPr marL="609585" lvl="0" indent="-304792" algn="l">
              <a:lnSpc>
                <a:spcPct val="100000"/>
              </a:lnSpc>
              <a:spcBef>
                <a:spcPts val="0"/>
              </a:spcBef>
              <a:spcAft>
                <a:spcPts val="0"/>
              </a:spcAft>
              <a:buSzPts val="1400"/>
              <a:buNone/>
              <a:defRPr sz="1800">
                <a:solidFill>
                  <a:schemeClr val="lt1"/>
                </a:solidFill>
              </a:defRPr>
            </a:lvl1pPr>
            <a:lvl2pPr marL="1219170" lvl="1" indent="-304792" algn="l">
              <a:lnSpc>
                <a:spcPct val="100000"/>
              </a:lnSpc>
              <a:spcBef>
                <a:spcPts val="0"/>
              </a:spcBef>
              <a:spcAft>
                <a:spcPts val="0"/>
              </a:spcAft>
              <a:buSzPts val="1400"/>
              <a:buNone/>
              <a:defRPr/>
            </a:lvl2pPr>
            <a:lvl3pPr marL="1828754" lvl="2" indent="-304792" algn="l">
              <a:lnSpc>
                <a:spcPct val="100000"/>
              </a:lnSpc>
              <a:spcBef>
                <a:spcPts val="0"/>
              </a:spcBef>
              <a:spcAft>
                <a:spcPts val="0"/>
              </a:spcAft>
              <a:buSzPts val="1400"/>
              <a:buNone/>
              <a:defRPr/>
            </a:lvl3pPr>
            <a:lvl4pPr marL="2438339" lvl="3" indent="-304792" algn="l">
              <a:lnSpc>
                <a:spcPct val="100000"/>
              </a:lnSpc>
              <a:spcBef>
                <a:spcPts val="0"/>
              </a:spcBef>
              <a:spcAft>
                <a:spcPts val="0"/>
              </a:spcAft>
              <a:buSzPts val="1400"/>
              <a:buNone/>
              <a:defRPr/>
            </a:lvl4pPr>
            <a:lvl5pPr marL="3047924" lvl="4" indent="-304792" algn="l">
              <a:lnSpc>
                <a:spcPct val="100000"/>
              </a:lnSpc>
              <a:spcBef>
                <a:spcPts val="0"/>
              </a:spcBef>
              <a:spcAft>
                <a:spcPts val="0"/>
              </a:spcAft>
              <a:buSzPts val="1400"/>
              <a:buNone/>
              <a:defRPr/>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endParaRPr/>
          </a:p>
        </p:txBody>
      </p:sp>
      <p:sp>
        <p:nvSpPr>
          <p:cNvPr id="15" name="Google Shape;15;p3"/>
          <p:cNvSpPr txBox="1">
            <a:spLocks noGrp="1"/>
          </p:cNvSpPr>
          <p:nvPr>
            <p:ph type="body" idx="2"/>
          </p:nvPr>
        </p:nvSpPr>
        <p:spPr>
          <a:xfrm>
            <a:off x="1618679" y="1205621"/>
            <a:ext cx="4657521" cy="463161"/>
          </a:xfrm>
          <a:prstGeom prst="rect">
            <a:avLst/>
          </a:prstGeom>
          <a:noFill/>
          <a:ln>
            <a:noFill/>
          </a:ln>
        </p:spPr>
        <p:txBody>
          <a:bodyPr spcFirstLastPara="1" wrap="square" lIns="111600" tIns="45700" rIns="91425" bIns="45700" anchor="t" anchorCtr="0">
            <a:normAutofit/>
          </a:bodyPr>
          <a:lstStyle>
            <a:lvl1pPr marL="609585" lvl="0" indent="-304792" algn="l">
              <a:lnSpc>
                <a:spcPct val="100000"/>
              </a:lnSpc>
              <a:spcBef>
                <a:spcPts val="0"/>
              </a:spcBef>
              <a:spcAft>
                <a:spcPts val="0"/>
              </a:spcAft>
              <a:buSzPts val="1400"/>
              <a:buNone/>
              <a:defRPr sz="1800">
                <a:solidFill>
                  <a:schemeClr val="lt1"/>
                </a:solidFill>
              </a:defRPr>
            </a:lvl1pPr>
            <a:lvl2pPr marL="1219170" lvl="1" indent="-304792" algn="l">
              <a:lnSpc>
                <a:spcPct val="100000"/>
              </a:lnSpc>
              <a:spcBef>
                <a:spcPts val="0"/>
              </a:spcBef>
              <a:spcAft>
                <a:spcPts val="0"/>
              </a:spcAft>
              <a:buSzPts val="1400"/>
              <a:buNone/>
              <a:defRPr/>
            </a:lvl2pPr>
            <a:lvl3pPr marL="1828754" lvl="2" indent="-304792" algn="l">
              <a:lnSpc>
                <a:spcPct val="100000"/>
              </a:lnSpc>
              <a:spcBef>
                <a:spcPts val="0"/>
              </a:spcBef>
              <a:spcAft>
                <a:spcPts val="0"/>
              </a:spcAft>
              <a:buSzPts val="1400"/>
              <a:buNone/>
              <a:defRPr/>
            </a:lvl3pPr>
            <a:lvl4pPr marL="2438339" lvl="3" indent="-304792" algn="l">
              <a:lnSpc>
                <a:spcPct val="100000"/>
              </a:lnSpc>
              <a:spcBef>
                <a:spcPts val="0"/>
              </a:spcBef>
              <a:spcAft>
                <a:spcPts val="0"/>
              </a:spcAft>
              <a:buSzPts val="1400"/>
              <a:buNone/>
              <a:defRPr/>
            </a:lvl4pPr>
            <a:lvl5pPr marL="3047924" lvl="4" indent="-304792" algn="l">
              <a:lnSpc>
                <a:spcPct val="100000"/>
              </a:lnSpc>
              <a:spcBef>
                <a:spcPts val="0"/>
              </a:spcBef>
              <a:spcAft>
                <a:spcPts val="0"/>
              </a:spcAft>
              <a:buSzPts val="1400"/>
              <a:buNone/>
              <a:defRPr/>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83398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and body">
  <p:cSld name="Title and body">
    <p:spTree>
      <p:nvGrpSpPr>
        <p:cNvPr id="1" name="Shape 20"/>
        <p:cNvGrpSpPr/>
        <p:nvPr/>
      </p:nvGrpSpPr>
      <p:grpSpPr>
        <a:xfrm>
          <a:off x="0" y="0"/>
          <a:ext cx="0" cy="0"/>
          <a:chOff x="0" y="0"/>
          <a:chExt cx="0" cy="0"/>
        </a:xfrm>
      </p:grpSpPr>
      <p:sp>
        <p:nvSpPr>
          <p:cNvPr id="21" name="Google Shape;21;p4"/>
          <p:cNvSpPr txBox="1"/>
          <p:nvPr/>
        </p:nvSpPr>
        <p:spPr>
          <a:xfrm>
            <a:off x="0" y="6114521"/>
            <a:ext cx="12192000" cy="763500"/>
          </a:xfrm>
          <a:prstGeom prst="rect">
            <a:avLst/>
          </a:prstGeom>
          <a:solidFill>
            <a:srgbClr val="013476"/>
          </a:solidFill>
          <a:ln>
            <a:noFill/>
          </a:ln>
        </p:spPr>
        <p:txBody>
          <a:bodyPr spcFirstLastPara="1" wrap="square" lIns="91400" tIns="91400" rIns="91400" bIns="91400" anchor="t" anchorCtr="0">
            <a:noAutofit/>
          </a:bodyPr>
          <a:lstStyle/>
          <a:p>
            <a:pPr>
              <a:buClr>
                <a:prstClr val="black"/>
              </a:buClr>
              <a:buSzPts val="2800"/>
              <a:buFont typeface="Arial"/>
              <a:buNone/>
            </a:pPr>
            <a:endParaRPr sz="2800">
              <a:solidFill>
                <a:srgbClr val="013476"/>
              </a:solidFill>
              <a:latin typeface="Roboto"/>
              <a:ea typeface="Roboto"/>
              <a:cs typeface="Roboto"/>
              <a:sym typeface="Roboto"/>
            </a:endParaRPr>
          </a:p>
        </p:txBody>
      </p:sp>
      <p:sp>
        <p:nvSpPr>
          <p:cNvPr id="22" name="Google Shape;22;p4"/>
          <p:cNvSpPr txBox="1">
            <a:spLocks noGrp="1"/>
          </p:cNvSpPr>
          <p:nvPr>
            <p:ph type="sldNum" idx="12"/>
          </p:nvPr>
        </p:nvSpPr>
        <p:spPr>
          <a:xfrm>
            <a:off x="11296611" y="6217623"/>
            <a:ext cx="522000" cy="5247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pPr>
              <a:buClr>
                <a:prstClr val="white"/>
              </a:buClr>
            </a:pPr>
            <a:fld id="{00000000-1234-1234-1234-123412341234}" type="slidenum">
              <a:rPr lang="en" smtClean="0">
                <a:solidFill>
                  <a:prstClr val="white"/>
                </a:solidFill>
              </a:rPr>
              <a:pPr>
                <a:buClr>
                  <a:prstClr val="white"/>
                </a:buClr>
              </a:pPr>
              <a:t>‹#›</a:t>
            </a:fld>
            <a:endParaRPr lang="en">
              <a:solidFill>
                <a:prstClr val="white"/>
              </a:solidFill>
            </a:endParaRPr>
          </a:p>
        </p:txBody>
      </p:sp>
      <p:sp>
        <p:nvSpPr>
          <p:cNvPr id="23" name="Google Shape;23;p4"/>
          <p:cNvSpPr/>
          <p:nvPr/>
        </p:nvSpPr>
        <p:spPr>
          <a:xfrm>
            <a:off x="363013" y="225466"/>
            <a:ext cx="5473800" cy="91500"/>
          </a:xfrm>
          <a:prstGeom prst="rect">
            <a:avLst/>
          </a:prstGeom>
          <a:solidFill>
            <a:srgbClr val="013476"/>
          </a:solidFill>
          <a:ln>
            <a:noFill/>
          </a:ln>
        </p:spPr>
        <p:txBody>
          <a:bodyPr spcFirstLastPara="1" wrap="square" lIns="91400" tIns="45700" rIns="91400" bIns="45700" anchor="ctr" anchorCtr="0">
            <a:noAutofit/>
          </a:bodyPr>
          <a:lstStyle/>
          <a:p>
            <a:pPr algn="ctr">
              <a:buClr>
                <a:prstClr val="black"/>
              </a:buClr>
              <a:buSzPts val="1600"/>
              <a:buFont typeface="Calibri"/>
              <a:buNone/>
            </a:pPr>
            <a:endParaRPr sz="1600">
              <a:solidFill>
                <a:prstClr val="white"/>
              </a:solidFill>
              <a:latin typeface="Arial"/>
              <a:ea typeface="Arial"/>
              <a:cs typeface="Arial"/>
              <a:sym typeface="Arial"/>
            </a:endParaRPr>
          </a:p>
        </p:txBody>
      </p:sp>
      <p:sp>
        <p:nvSpPr>
          <p:cNvPr id="24" name="Google Shape;24;p4"/>
          <p:cNvSpPr txBox="1">
            <a:spLocks noGrp="1"/>
          </p:cNvSpPr>
          <p:nvPr>
            <p:ph type="title"/>
          </p:nvPr>
        </p:nvSpPr>
        <p:spPr>
          <a:xfrm>
            <a:off x="326270" y="398076"/>
            <a:ext cx="11492343" cy="705927"/>
          </a:xfrm>
          <a:prstGeom prst="rect">
            <a:avLst/>
          </a:prstGeom>
          <a:noFill/>
          <a:ln>
            <a:noFill/>
          </a:ln>
        </p:spPr>
        <p:txBody>
          <a:bodyPr spcFirstLastPara="1" wrap="square" lIns="108000" tIns="45700" rIns="91425" bIns="45700" anchor="t" anchorCtr="0">
            <a:noAutofit/>
          </a:bodyPr>
          <a:lstStyle>
            <a:lvl1pPr lvl="0" algn="l">
              <a:lnSpc>
                <a:spcPct val="90000"/>
              </a:lnSpc>
              <a:spcBef>
                <a:spcPts val="0"/>
              </a:spcBef>
              <a:spcAft>
                <a:spcPts val="0"/>
              </a:spcAft>
              <a:buSzPts val="3200"/>
              <a:buNone/>
              <a:defRPr sz="2200">
                <a:solidFill>
                  <a:srgbClr val="01347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4"/>
          <p:cNvSpPr/>
          <p:nvPr/>
        </p:nvSpPr>
        <p:spPr>
          <a:xfrm>
            <a:off x="0" y="-3"/>
            <a:ext cx="12192000" cy="6858003"/>
          </a:xfrm>
          <a:prstGeom prst="rect">
            <a:avLst/>
          </a:prstGeom>
          <a:solidFill>
            <a:srgbClr val="013476"/>
          </a:solidFill>
          <a:ln>
            <a:noFill/>
          </a:ln>
        </p:spPr>
        <p:txBody>
          <a:bodyPr spcFirstLastPara="1" wrap="square" lIns="91400" tIns="45700" rIns="91400" bIns="45700" anchor="ctr" anchorCtr="0">
            <a:noAutofit/>
          </a:bodyPr>
          <a:lstStyle/>
          <a:p>
            <a:pPr algn="ctr">
              <a:buClr>
                <a:srgbClr val="000000"/>
              </a:buClr>
              <a:buSzPts val="1400"/>
              <a:buFont typeface="Arial"/>
              <a:buNone/>
            </a:pPr>
            <a:endParaRPr sz="1400">
              <a:solidFill>
                <a:prstClr val="white"/>
              </a:solidFill>
              <a:latin typeface="Arial"/>
              <a:ea typeface="Arial"/>
              <a:cs typeface="Arial"/>
              <a:sym typeface="Arial"/>
            </a:endParaRPr>
          </a:p>
        </p:txBody>
      </p:sp>
      <p:pic>
        <p:nvPicPr>
          <p:cNvPr id="26" name="Google Shape;26;p4" descr="A close up of a logo&#10;&#10;Description automatically generated"/>
          <p:cNvPicPr preferRelativeResize="0"/>
          <p:nvPr/>
        </p:nvPicPr>
        <p:blipFill rotWithShape="1">
          <a:blip r:embed="rId2">
            <a:alphaModFix/>
          </a:blip>
          <a:srcRect l="70000"/>
          <a:stretch/>
        </p:blipFill>
        <p:spPr>
          <a:xfrm>
            <a:off x="8534400" y="-1"/>
            <a:ext cx="3657600" cy="6858001"/>
          </a:xfrm>
          <a:prstGeom prst="rect">
            <a:avLst/>
          </a:prstGeom>
          <a:noFill/>
          <a:ln>
            <a:noFill/>
          </a:ln>
        </p:spPr>
      </p:pic>
    </p:spTree>
    <p:extLst>
      <p:ext uri="{BB962C8B-B14F-4D97-AF65-F5344CB8AC3E}">
        <p14:creationId xmlns:p14="http://schemas.microsoft.com/office/powerpoint/2010/main" val="11973538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17"/>
        <p:cNvGrpSpPr/>
        <p:nvPr/>
      </p:nvGrpSpPr>
      <p:grpSpPr>
        <a:xfrm>
          <a:off x="0" y="0"/>
          <a:ext cx="0" cy="0"/>
          <a:chOff x="0" y="0"/>
          <a:chExt cx="0" cy="0"/>
        </a:xfrm>
      </p:grpSpPr>
      <p:sp>
        <p:nvSpPr>
          <p:cNvPr id="18" name="Google Shape;18;p65"/>
          <p:cNvSpPr/>
          <p:nvPr/>
        </p:nvSpPr>
        <p:spPr>
          <a:xfrm>
            <a:off x="3176" y="2608637"/>
            <a:ext cx="6858000" cy="4249363"/>
          </a:xfrm>
          <a:prstGeom prst="rtTriangle">
            <a:avLst/>
          </a:prstGeom>
          <a:solidFill>
            <a:srgbClr val="013476"/>
          </a:solidFill>
          <a:ln>
            <a:noFill/>
          </a:ln>
        </p:spPr>
        <p:txBody>
          <a:bodyPr spcFirstLastPara="1" wrap="square" lIns="91425" tIns="45700" rIns="91425" bIns="45700" anchor="ctr" anchorCtr="0">
            <a:noAutofit/>
          </a:bodyPr>
          <a:lstStyle/>
          <a:p>
            <a:pPr algn="ctr">
              <a:buClr>
                <a:srgbClr val="000000"/>
              </a:buClr>
              <a:buSzPts val="1800"/>
              <a:buFont typeface="Arial"/>
              <a:buNone/>
            </a:pPr>
            <a:endParaRPr kern="0">
              <a:solidFill>
                <a:srgbClr val="FFFFFF"/>
              </a:solidFill>
              <a:ea typeface="Calibri"/>
              <a:cs typeface="Calibri"/>
              <a:sym typeface="Calibri"/>
            </a:endParaRPr>
          </a:p>
        </p:txBody>
      </p:sp>
      <p:pic>
        <p:nvPicPr>
          <p:cNvPr id="19" name="Google Shape;19;p65" descr="A close up of a logo&#10;&#10;Description automatically generated"/>
          <p:cNvPicPr preferRelativeResize="0"/>
          <p:nvPr/>
        </p:nvPicPr>
        <p:blipFill rotWithShape="1">
          <a:blip r:embed="rId2">
            <a:alphaModFix/>
          </a:blip>
          <a:srcRect l="2185" t="6084" r="87330" b="75016"/>
          <a:stretch/>
        </p:blipFill>
        <p:spPr>
          <a:xfrm>
            <a:off x="869970" y="5228949"/>
            <a:ext cx="1157601" cy="1173678"/>
          </a:xfrm>
          <a:prstGeom prst="rect">
            <a:avLst/>
          </a:prstGeom>
          <a:noFill/>
          <a:ln>
            <a:noFill/>
          </a:ln>
        </p:spPr>
      </p:pic>
    </p:spTree>
    <p:extLst>
      <p:ext uri="{BB962C8B-B14F-4D97-AF65-F5344CB8AC3E}">
        <p14:creationId xmlns:p14="http://schemas.microsoft.com/office/powerpoint/2010/main" val="37212415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Shape 50"/>
        <p:cNvGrpSpPr/>
        <p:nvPr/>
      </p:nvGrpSpPr>
      <p:grpSpPr>
        <a:xfrm>
          <a:off x="0" y="0"/>
          <a:ext cx="0" cy="0"/>
          <a:chOff x="0" y="0"/>
          <a:chExt cx="0" cy="0"/>
        </a:xfrm>
      </p:grpSpPr>
      <p:sp>
        <p:nvSpPr>
          <p:cNvPr id="51" name="Google Shape;51;p57"/>
          <p:cNvSpPr txBox="1">
            <a:spLocks noGrp="1"/>
          </p:cNvSpPr>
          <p:nvPr>
            <p:ph type="title"/>
          </p:nvPr>
        </p:nvSpPr>
        <p:spPr>
          <a:xfrm>
            <a:off x="344311" y="263525"/>
            <a:ext cx="11503378" cy="605719"/>
          </a:xfrm>
          <a:prstGeom prst="rect">
            <a:avLst/>
          </a:prstGeom>
          <a:solidFill>
            <a:schemeClr val="accent3">
              <a:lumMod val="50000"/>
            </a:schemeClr>
          </a:solidFill>
          <a:ln>
            <a:noFill/>
          </a:ln>
        </p:spPr>
        <p:txBody>
          <a:bodyPr spcFirstLastPara="1" lIns="91425" tIns="45700" rIns="91425" bIns="45700">
            <a:normAutofit/>
          </a:bodyPr>
          <a:lstStyle>
            <a:lvl1pPr lvl="0" algn="l">
              <a:lnSpc>
                <a:spcPct val="90000"/>
              </a:lnSpc>
              <a:spcBef>
                <a:spcPts val="0"/>
              </a:spcBef>
              <a:spcAft>
                <a:spcPts val="0"/>
              </a:spcAft>
              <a:buClr>
                <a:srgbClr val="253356"/>
              </a:buClr>
              <a:buSzPts val="3200"/>
              <a:buFont typeface="Helvetica Neue"/>
              <a:buNone/>
              <a:defRPr b="1">
                <a:solidFill>
                  <a:schemeClr val="bg1"/>
                </a:solidFill>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515512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39"/>
        <p:cNvGrpSpPr/>
        <p:nvPr/>
      </p:nvGrpSpPr>
      <p:grpSpPr>
        <a:xfrm>
          <a:off x="0" y="0"/>
          <a:ext cx="0" cy="0"/>
          <a:chOff x="0" y="0"/>
          <a:chExt cx="0" cy="0"/>
        </a:xfrm>
      </p:grpSpPr>
      <p:sp>
        <p:nvSpPr>
          <p:cNvPr id="2" name="Google Shape;42;p50"/>
          <p:cNvSpPr>
            <a:spLocks noChangeArrowheads="1"/>
          </p:cNvSpPr>
          <p:nvPr/>
        </p:nvSpPr>
        <p:spPr bwMode="auto">
          <a:xfrm>
            <a:off x="0" y="0"/>
            <a:ext cx="11068050" cy="6858000"/>
          </a:xfrm>
          <a:prstGeom prst="rtTriangle">
            <a:avLst/>
          </a:prstGeom>
          <a:solidFill>
            <a:srgbClr val="3462A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a:solidFill>
                <a:srgbClr val="FFFFFF"/>
              </a:solidFill>
              <a:cs typeface="Calibri" panose="020F0502020204030204" pitchFamily="34" charset="0"/>
              <a:sym typeface="Calibri" panose="020F0502020204030204" pitchFamily="34" charset="0"/>
            </a:endParaRPr>
          </a:p>
        </p:txBody>
      </p:sp>
      <p:pic>
        <p:nvPicPr>
          <p:cNvPr id="3" name="Google Shape;43;p50" descr="Image result for ÎµÎ»Î»Î·Î½Î¹ÎºÎ· Î´Î·Î¼Î¿ÎºÏÎ±ÏÎ¹Î± logo"/>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8875" y="4256088"/>
            <a:ext cx="1831975" cy="179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Google Shape;40;p50"/>
          <p:cNvSpPr txBox="1">
            <a:spLocks noGrp="1"/>
          </p:cNvSpPr>
          <p:nvPr>
            <p:ph type="ctrTitle"/>
          </p:nvPr>
        </p:nvSpPr>
        <p:spPr>
          <a:xfrm>
            <a:off x="3886200" y="476125"/>
            <a:ext cx="8096400" cy="1538100"/>
          </a:xfrm>
          <a:prstGeom prst="rect">
            <a:avLst/>
          </a:prstGeom>
          <a:noFill/>
          <a:ln>
            <a:noFill/>
          </a:ln>
        </p:spPr>
        <p:txBody>
          <a:bodyPr spcFirstLastPara="1">
            <a:normAutofit/>
          </a:bodyPr>
          <a:lstStyle>
            <a:lvl1pPr lvl="0" algn="r">
              <a:lnSpc>
                <a:spcPct val="90000"/>
              </a:lnSpc>
              <a:spcBef>
                <a:spcPts val="0"/>
              </a:spcBef>
              <a:spcAft>
                <a:spcPts val="0"/>
              </a:spcAft>
              <a:buClr>
                <a:srgbClr val="253356"/>
              </a:buClr>
              <a:buSzPts val="4000"/>
              <a:buFont typeface="Calibri" panose="020F0502020204030204"/>
              <a:buNone/>
              <a:defRPr sz="4000" b="1">
                <a:latin typeface="Calibri" panose="020F0502020204030204"/>
                <a:ea typeface="Calibri" panose="020F0502020204030204"/>
                <a:cs typeface="Calibri" panose="020F0502020204030204"/>
                <a:sym typeface="Calibri" panose="020F0502020204030204"/>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50"/>
          <p:cNvSpPr txBox="1">
            <a:spLocks noGrp="1"/>
          </p:cNvSpPr>
          <p:nvPr>
            <p:ph type="subTitle" idx="1"/>
          </p:nvPr>
        </p:nvSpPr>
        <p:spPr>
          <a:xfrm>
            <a:off x="5981700" y="2601119"/>
            <a:ext cx="6000750" cy="1655762"/>
          </a:xfrm>
          <a:prstGeom prst="rect">
            <a:avLst/>
          </a:prstGeom>
          <a:noFill/>
          <a:ln>
            <a:noFill/>
          </a:ln>
        </p:spPr>
        <p:txBody>
          <a:bodyPr spcFirstLastPara="1" anchor="ctr">
            <a:normAutofit/>
          </a:bodyPr>
          <a:lstStyle>
            <a:lvl1pPr lvl="0" algn="r">
              <a:lnSpc>
                <a:spcPct val="90000"/>
              </a:lnSpc>
              <a:spcBef>
                <a:spcPts val="1000"/>
              </a:spcBef>
              <a:spcAft>
                <a:spcPts val="0"/>
              </a:spcAft>
              <a:buClr>
                <a:srgbClr val="253356"/>
              </a:buClr>
              <a:buSzPts val="2400"/>
              <a:buNone/>
              <a:defRPr sz="2400" b="1">
                <a:solidFill>
                  <a:srgbClr val="253356"/>
                </a:solidFill>
                <a:latin typeface="Calibri" panose="020F0502020204030204"/>
                <a:ea typeface="Calibri" panose="020F0502020204030204"/>
                <a:cs typeface="Calibri" panose="020F0502020204030204"/>
                <a:sym typeface="Calibri" panose="020F0502020204030204"/>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995512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a:xfrm>
            <a:off x="839788" y="365125"/>
            <a:ext cx="10515600" cy="1325563"/>
          </a:xfrm>
        </p:spPr>
        <p:txBody>
          <a:bodyPr/>
          <a:lstStyle/>
          <a:p>
            <a:r>
              <a:rPr lang="el-GR"/>
              <a:t>Στυλ κύριου τίτλου</a:t>
            </a:r>
          </a:p>
        </p:txBody>
      </p:sp>
      <p:sp>
        <p:nvSpPr>
          <p:cNvPr id="3" name="Θέση κειμένου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Επεξεργασία στυλ υποδείγματος κειμένου</a:t>
            </a:r>
          </a:p>
        </p:txBody>
      </p:sp>
      <p:sp>
        <p:nvSpPr>
          <p:cNvPr id="4" name="Θέση περιεχομένου 3"/>
          <p:cNvSpPr>
            <a:spLocks noGrp="1"/>
          </p:cNvSpPr>
          <p:nvPr>
            <p:ph sz="half" idx="2" hasCustomPrompt="1"/>
          </p:nvPr>
        </p:nvSpPr>
        <p:spPr>
          <a:xfrm>
            <a:off x="839788" y="2505075"/>
            <a:ext cx="5157787" cy="3684588"/>
          </a:xfrm>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Θέση κειμένου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Επεξεργασία στυλ υποδείγματος κειμένου</a:t>
            </a:r>
          </a:p>
        </p:txBody>
      </p:sp>
      <p:sp>
        <p:nvSpPr>
          <p:cNvPr id="6" name="Θέση περιεχομένου 5"/>
          <p:cNvSpPr>
            <a:spLocks noGrp="1"/>
          </p:cNvSpPr>
          <p:nvPr>
            <p:ph sz="quarter" idx="4" hasCustomPrompt="1"/>
          </p:nvPr>
        </p:nvSpPr>
        <p:spPr>
          <a:xfrm>
            <a:off x="6172200" y="2505075"/>
            <a:ext cx="5183188" cy="3684588"/>
          </a:xfrm>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7" name="Θέση ημερομηνίας 6"/>
          <p:cNvSpPr>
            <a:spLocks noGrp="1"/>
          </p:cNvSpPr>
          <p:nvPr>
            <p:ph type="dt" sz="half" idx="10"/>
          </p:nvPr>
        </p:nvSpPr>
        <p:spPr/>
        <p:txBody>
          <a:bodyPr/>
          <a:lstStyle/>
          <a:p>
            <a:fld id="{52B69728-13CB-4FA4-904D-CF5C4C899BE6}" type="datetimeFigureOut">
              <a:rPr lang="el-GR" smtClean="0"/>
              <a:pPr/>
              <a:t>23/7/2025</a:t>
            </a:fld>
            <a:endParaRPr lang="el-GR"/>
          </a:p>
        </p:txBody>
      </p:sp>
      <p:sp>
        <p:nvSpPr>
          <p:cNvPr id="8" name="Θέση υποσέλιδου 7"/>
          <p:cNvSpPr>
            <a:spLocks noGrp="1"/>
          </p:cNvSpPr>
          <p:nvPr>
            <p:ph type="ftr" sz="quarter" idx="11"/>
          </p:nvPr>
        </p:nvSpPr>
        <p:spPr/>
        <p:txBody>
          <a:bodyPr/>
          <a:lstStyle/>
          <a:p>
            <a:endParaRPr lang="el-GR"/>
          </a:p>
        </p:txBody>
      </p:sp>
      <p:sp>
        <p:nvSpPr>
          <p:cNvPr id="9" name="Θέση αριθμού διαφάνειας 8"/>
          <p:cNvSpPr>
            <a:spLocks noGrp="1"/>
          </p:cNvSpPr>
          <p:nvPr>
            <p:ph type="sldNum" sz="quarter" idx="12"/>
          </p:nvPr>
        </p:nvSpPr>
        <p:spPr/>
        <p:txBody>
          <a:bodyPr/>
          <a:lstStyle/>
          <a:p>
            <a:fld id="{492F0BFE-09C8-4C53-B8F5-44730026CF66}" type="slidenum">
              <a:rPr lang="el-GR" smtClean="0"/>
              <a:pPr/>
              <a:t>‹#›</a:t>
            </a:fld>
            <a:endParaRPr lang="el-G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Shape 50"/>
        <p:cNvGrpSpPr/>
        <p:nvPr/>
      </p:nvGrpSpPr>
      <p:grpSpPr>
        <a:xfrm>
          <a:off x="0" y="0"/>
          <a:ext cx="0" cy="0"/>
          <a:chOff x="0" y="0"/>
          <a:chExt cx="0" cy="0"/>
        </a:xfrm>
      </p:grpSpPr>
      <p:sp>
        <p:nvSpPr>
          <p:cNvPr id="51" name="Google Shape;51;p57"/>
          <p:cNvSpPr txBox="1">
            <a:spLocks noGrp="1"/>
          </p:cNvSpPr>
          <p:nvPr>
            <p:ph type="title"/>
          </p:nvPr>
        </p:nvSpPr>
        <p:spPr>
          <a:xfrm>
            <a:off x="344311" y="263525"/>
            <a:ext cx="11503378" cy="605719"/>
          </a:xfrm>
          <a:prstGeom prst="rect">
            <a:avLst/>
          </a:prstGeom>
          <a:solidFill>
            <a:schemeClr val="accent3">
              <a:lumMod val="50000"/>
            </a:schemeClr>
          </a:solidFill>
          <a:ln>
            <a:noFill/>
          </a:ln>
        </p:spPr>
        <p:txBody>
          <a:bodyPr spcFirstLastPara="1">
            <a:normAutofit/>
          </a:bodyPr>
          <a:lstStyle>
            <a:lvl1pPr lvl="0" algn="l">
              <a:lnSpc>
                <a:spcPct val="90000"/>
              </a:lnSpc>
              <a:spcBef>
                <a:spcPts val="0"/>
              </a:spcBef>
              <a:spcAft>
                <a:spcPts val="0"/>
              </a:spcAft>
              <a:buClr>
                <a:srgbClr val="253356"/>
              </a:buClr>
              <a:buSzPts val="3200"/>
              <a:buFont typeface="Helvetica Neue"/>
              <a:buNone/>
              <a:defRPr b="1">
                <a:solidFill>
                  <a:schemeClr val="bg1"/>
                </a:solidFill>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583584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0"/>
        <p:cNvGrpSpPr/>
        <p:nvPr/>
      </p:nvGrpSpPr>
      <p:grpSpPr>
        <a:xfrm>
          <a:off x="0" y="0"/>
          <a:ext cx="0" cy="0"/>
          <a:chOff x="0" y="0"/>
          <a:chExt cx="0" cy="0"/>
        </a:xfrm>
      </p:grpSpPr>
      <p:sp>
        <p:nvSpPr>
          <p:cNvPr id="51" name="Google Shape;51;p57"/>
          <p:cNvSpPr txBox="1">
            <a:spLocks noGrp="1"/>
          </p:cNvSpPr>
          <p:nvPr>
            <p:ph type="title"/>
          </p:nvPr>
        </p:nvSpPr>
        <p:spPr>
          <a:xfrm>
            <a:off x="838200" y="365125"/>
            <a:ext cx="10515600" cy="739775"/>
          </a:xfrm>
          <a:prstGeom prst="rect">
            <a:avLst/>
          </a:prstGeom>
          <a:noFill/>
          <a:ln>
            <a:noFill/>
          </a:ln>
        </p:spPr>
        <p:txBody>
          <a:bodyPr spcFirstLastPara="1">
            <a:normAutofit/>
          </a:bodyPr>
          <a:lstStyle>
            <a:lvl1pPr lvl="0" algn="l">
              <a:lnSpc>
                <a:spcPct val="90000"/>
              </a:lnSpc>
              <a:spcBef>
                <a:spcPts val="0"/>
              </a:spcBef>
              <a:spcAft>
                <a:spcPts val="0"/>
              </a:spcAft>
              <a:buClr>
                <a:srgbClr val="253356"/>
              </a:buClr>
              <a:buSzPts val="3200"/>
              <a:buFont typeface="Helvetica Neue"/>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57"/>
          <p:cNvSpPr txBox="1">
            <a:spLocks noGrp="1"/>
          </p:cNvSpPr>
          <p:nvPr>
            <p:ph type="body" idx="1"/>
          </p:nvPr>
        </p:nvSpPr>
        <p:spPr>
          <a:xfrm>
            <a:off x="838200" y="1463675"/>
            <a:ext cx="10515600" cy="4351338"/>
          </a:xfrm>
          <a:prstGeom prst="rect">
            <a:avLst/>
          </a:prstGeom>
          <a:noFill/>
          <a:ln>
            <a:noFill/>
          </a:ln>
        </p:spPr>
        <p:txBody>
          <a:bodyPr spcFirstLastPara="1">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 name="Google Shape;53;p57"/>
          <p:cNvSpPr txBox="1">
            <a:spLocks noGrp="1"/>
          </p:cNvSpPr>
          <p:nvPr>
            <p:ph type="dt" idx="10"/>
          </p:nvPr>
        </p:nvSpPr>
        <p:spPr>
          <a:noFill/>
        </p:spPr>
        <p:txBody>
          <a:bodyPr spcFirstLastPara="1">
            <a:noAutofit/>
          </a:bodyPr>
          <a:lstStyle>
            <a:lvl1pPr lvl="0" algn="l" fontAlgn="auto">
              <a:lnSpc>
                <a:spcPct val="100000"/>
              </a:lnSpc>
              <a:spcBef>
                <a:spcPts val="0"/>
              </a:spcBef>
              <a:spcAft>
                <a:spcPts val="0"/>
              </a:spcAft>
              <a:buSzPts val="1400"/>
              <a:buFont typeface="Arial" panose="020B0604020202020204"/>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a:defRPr/>
            </a:pPr>
            <a:endParaRPr lang="x-none"/>
          </a:p>
        </p:txBody>
      </p:sp>
      <p:sp>
        <p:nvSpPr>
          <p:cNvPr id="3" name="Google Shape;54;p57"/>
          <p:cNvSpPr txBox="1">
            <a:spLocks noGrp="1"/>
          </p:cNvSpPr>
          <p:nvPr>
            <p:ph type="ftr" idx="11"/>
          </p:nvPr>
        </p:nvSpPr>
        <p:spPr>
          <a:noFill/>
        </p:spPr>
        <p:txBody>
          <a:bodyPr spcFirstLastPara="1">
            <a:noAutofit/>
          </a:bodyPr>
          <a:lstStyle>
            <a:lvl1pPr lvl="0" algn="ctr" fontAlgn="auto">
              <a:lnSpc>
                <a:spcPct val="100000"/>
              </a:lnSpc>
              <a:spcBef>
                <a:spcPts val="0"/>
              </a:spcBef>
              <a:spcAft>
                <a:spcPts val="0"/>
              </a:spcAft>
              <a:buSzPts val="1400"/>
              <a:buFont typeface="Arial" panose="020B0604020202020204"/>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a:defRPr/>
            </a:pPr>
            <a:endParaRPr lang="x-none"/>
          </a:p>
        </p:txBody>
      </p:sp>
      <p:sp>
        <p:nvSpPr>
          <p:cNvPr id="4" name="Google Shape;55;p57"/>
          <p:cNvSpPr txBox="1">
            <a:spLocks noGrp="1"/>
          </p:cNvSpPr>
          <p:nvPr>
            <p:ph type="sldNum" idx="12"/>
          </p:nvPr>
        </p:nvSpPr>
        <p:spPr>
          <a:noFill/>
        </p:spPr>
        <p:txBody>
          <a:bodyPr>
            <a:noAutofit/>
          </a:bodyPr>
          <a:lstStyle>
            <a:lvl1pPr>
              <a:defRPr/>
            </a:lvl1pPr>
          </a:lstStyle>
          <a:p>
            <a:fld id="{4D7F90BD-A3F4-49F5-85EC-9A1F8E758E28}" type="slidenum">
              <a:rPr lang="en-US" altLang="en-US"/>
              <a:pPr/>
              <a:t>‹#›</a:t>
            </a:fld>
            <a:endParaRPr lang="en-US" altLang="en-US"/>
          </a:p>
        </p:txBody>
      </p:sp>
    </p:spTree>
    <p:extLst>
      <p:ext uri="{BB962C8B-B14F-4D97-AF65-F5344CB8AC3E}">
        <p14:creationId xmlns:p14="http://schemas.microsoft.com/office/powerpoint/2010/main" val="27342586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56"/>
        <p:cNvGrpSpPr/>
        <p:nvPr/>
      </p:nvGrpSpPr>
      <p:grpSpPr>
        <a:xfrm>
          <a:off x="0" y="0"/>
          <a:ext cx="0" cy="0"/>
          <a:chOff x="0" y="0"/>
          <a:chExt cx="0" cy="0"/>
        </a:xfrm>
      </p:grpSpPr>
      <p:sp>
        <p:nvSpPr>
          <p:cNvPr id="57" name="Google Shape;57;p58"/>
          <p:cNvSpPr txBox="1">
            <a:spLocks noGrp="1"/>
          </p:cNvSpPr>
          <p:nvPr>
            <p:ph type="title"/>
          </p:nvPr>
        </p:nvSpPr>
        <p:spPr>
          <a:xfrm>
            <a:off x="838200" y="365125"/>
            <a:ext cx="10515600" cy="739775"/>
          </a:xfrm>
          <a:prstGeom prst="rect">
            <a:avLst/>
          </a:prstGeom>
          <a:noFill/>
          <a:ln>
            <a:noFill/>
          </a:ln>
        </p:spPr>
        <p:txBody>
          <a:bodyPr spcFirstLastPara="1">
            <a:normAutofit/>
          </a:bodyPr>
          <a:lstStyle>
            <a:lvl1pPr lvl="0" algn="l">
              <a:lnSpc>
                <a:spcPct val="90000"/>
              </a:lnSpc>
              <a:spcBef>
                <a:spcPts val="0"/>
              </a:spcBef>
              <a:spcAft>
                <a:spcPts val="0"/>
              </a:spcAft>
              <a:buClr>
                <a:srgbClr val="253356"/>
              </a:buClr>
              <a:buSzPts val="3200"/>
              <a:buFont typeface="Helvetica Neue"/>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58"/>
          <p:cNvSpPr txBox="1">
            <a:spLocks noGrp="1"/>
          </p:cNvSpPr>
          <p:nvPr>
            <p:ph type="body" idx="1"/>
          </p:nvPr>
        </p:nvSpPr>
        <p:spPr>
          <a:xfrm>
            <a:off x="838200" y="1825625"/>
            <a:ext cx="5181600" cy="4351338"/>
          </a:xfrm>
          <a:prstGeom prst="rect">
            <a:avLst/>
          </a:prstGeom>
          <a:noFill/>
          <a:ln>
            <a:noFill/>
          </a:ln>
        </p:spPr>
        <p:txBody>
          <a:bodyPr spcFirstLastPara="1">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 name="Google Shape;59;p58"/>
          <p:cNvSpPr txBox="1">
            <a:spLocks noGrp="1"/>
          </p:cNvSpPr>
          <p:nvPr>
            <p:ph type="body" idx="2"/>
          </p:nvPr>
        </p:nvSpPr>
        <p:spPr>
          <a:xfrm>
            <a:off x="6172200" y="1825625"/>
            <a:ext cx="5181600" cy="4351338"/>
          </a:xfrm>
          <a:prstGeom prst="rect">
            <a:avLst/>
          </a:prstGeom>
          <a:noFill/>
          <a:ln>
            <a:noFill/>
          </a:ln>
        </p:spPr>
        <p:txBody>
          <a:bodyPr spcFirstLastPara="1">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 name="Google Shape;60;p58"/>
          <p:cNvSpPr txBox="1">
            <a:spLocks noGrp="1"/>
          </p:cNvSpPr>
          <p:nvPr>
            <p:ph type="dt" idx="10"/>
          </p:nvPr>
        </p:nvSpPr>
        <p:spPr>
          <a:noFill/>
        </p:spPr>
        <p:txBody>
          <a:bodyPr spcFirstLastPara="1">
            <a:noAutofit/>
          </a:bodyPr>
          <a:lstStyle>
            <a:lvl1pPr lvl="0" algn="l" fontAlgn="auto">
              <a:lnSpc>
                <a:spcPct val="100000"/>
              </a:lnSpc>
              <a:spcBef>
                <a:spcPts val="0"/>
              </a:spcBef>
              <a:spcAft>
                <a:spcPts val="0"/>
              </a:spcAft>
              <a:buSzPts val="1400"/>
              <a:buFont typeface="Arial" panose="020B0604020202020204"/>
              <a:buNone/>
              <a:defRPr dirty="0">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a:defRPr/>
            </a:pPr>
            <a:endParaRPr lang="x-none"/>
          </a:p>
        </p:txBody>
      </p:sp>
      <p:sp>
        <p:nvSpPr>
          <p:cNvPr id="3" name="Google Shape;61;p58"/>
          <p:cNvSpPr txBox="1">
            <a:spLocks noGrp="1"/>
          </p:cNvSpPr>
          <p:nvPr>
            <p:ph type="ftr" idx="11"/>
          </p:nvPr>
        </p:nvSpPr>
        <p:spPr>
          <a:noFill/>
        </p:spPr>
        <p:txBody>
          <a:bodyPr spcFirstLastPara="1">
            <a:noAutofit/>
          </a:bodyPr>
          <a:lstStyle>
            <a:lvl1pPr lvl="0" algn="ctr" fontAlgn="auto">
              <a:lnSpc>
                <a:spcPct val="100000"/>
              </a:lnSpc>
              <a:spcBef>
                <a:spcPts val="0"/>
              </a:spcBef>
              <a:spcAft>
                <a:spcPts val="0"/>
              </a:spcAft>
              <a:buSzPts val="1400"/>
              <a:buFont typeface="Arial" panose="020B0604020202020204"/>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a:defRPr/>
            </a:pPr>
            <a:endParaRPr lang="x-none"/>
          </a:p>
        </p:txBody>
      </p:sp>
      <p:sp>
        <p:nvSpPr>
          <p:cNvPr id="4" name="Google Shape;62;p58"/>
          <p:cNvSpPr txBox="1">
            <a:spLocks noGrp="1"/>
          </p:cNvSpPr>
          <p:nvPr>
            <p:ph type="sldNum" idx="12"/>
          </p:nvPr>
        </p:nvSpPr>
        <p:spPr>
          <a:noFill/>
        </p:spPr>
        <p:txBody>
          <a:bodyPr>
            <a:noAutofit/>
          </a:bodyPr>
          <a:lstStyle>
            <a:lvl1pPr>
              <a:defRPr/>
            </a:lvl1pPr>
          </a:lstStyle>
          <a:p>
            <a:fld id="{2069D4DD-6629-41D5-B9D8-B5629C1EA8AC}" type="slidenum">
              <a:rPr lang="en-US" altLang="en-US"/>
              <a:pPr/>
              <a:t>‹#›</a:t>
            </a:fld>
            <a:endParaRPr lang="en-US" altLang="en-US"/>
          </a:p>
        </p:txBody>
      </p:sp>
    </p:spTree>
    <p:extLst>
      <p:ext uri="{BB962C8B-B14F-4D97-AF65-F5344CB8AC3E}">
        <p14:creationId xmlns:p14="http://schemas.microsoft.com/office/powerpoint/2010/main" val="36853621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98"/>
        <p:cNvGrpSpPr/>
        <p:nvPr/>
      </p:nvGrpSpPr>
      <p:grpSpPr>
        <a:xfrm>
          <a:off x="0" y="0"/>
          <a:ext cx="0" cy="0"/>
          <a:chOff x="0" y="0"/>
          <a:chExt cx="0" cy="0"/>
        </a:xfrm>
      </p:grpSpPr>
      <p:sp>
        <p:nvSpPr>
          <p:cNvPr id="2" name="Google Shape;99;p64"/>
          <p:cNvSpPr>
            <a:spLocks noChangeArrowheads="1"/>
          </p:cNvSpPr>
          <p:nvPr/>
        </p:nvSpPr>
        <p:spPr bwMode="auto">
          <a:xfrm rot="10800000">
            <a:off x="1123950" y="0"/>
            <a:ext cx="11068050" cy="6858000"/>
          </a:xfrm>
          <a:prstGeom prst="rtTriangle">
            <a:avLst/>
          </a:prstGeom>
          <a:solidFill>
            <a:srgbClr val="3462A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a:solidFill>
                <a:srgbClr val="FFFFFF"/>
              </a:solidFill>
              <a:cs typeface="Calibri" panose="020F0502020204030204" pitchFamily="34" charset="0"/>
              <a:sym typeface="Calibri" panose="020F0502020204030204" pitchFamily="34" charset="0"/>
            </a:endParaRPr>
          </a:p>
        </p:txBody>
      </p:sp>
      <p:pic>
        <p:nvPicPr>
          <p:cNvPr id="3" name="Google Shape;100;p64" descr="Image result for ÎµÎ»Î»Î·Î½Î¹ÎºÎ· Î´Î·Î¼Î¿ÎºÏÎ±ÏÎ¹Î± logo"/>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74075" y="1268413"/>
            <a:ext cx="1831975" cy="179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Google Shape;101;p64"/>
          <p:cNvSpPr>
            <a:spLocks noChangeArrowheads="1"/>
          </p:cNvSpPr>
          <p:nvPr/>
        </p:nvSpPr>
        <p:spPr bwMode="auto">
          <a:xfrm>
            <a:off x="0" y="4672013"/>
            <a:ext cx="2922588" cy="2185987"/>
          </a:xfrm>
          <a:prstGeom prst="rect">
            <a:avLst/>
          </a:prstGeom>
          <a:solidFill>
            <a:schemeClr val="bg1"/>
          </a:solidFill>
          <a:ln w="12700">
            <a:solidFill>
              <a:schemeClr val="bg1"/>
            </a:solidFill>
            <a:miter lim="800000"/>
            <a:headEnd type="none" w="sm" len="sm"/>
            <a:tailEnd type="none" w="sm" len="sm"/>
          </a:ln>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a:solidFill>
                <a:srgbClr val="FFFFFF"/>
              </a:solidFill>
              <a:latin typeface="Helvetica Neue"/>
              <a:ea typeface="Helvetica Neue"/>
              <a:cs typeface="Helvetica Neue"/>
              <a:sym typeface="Helvetica Neue"/>
            </a:endParaRPr>
          </a:p>
        </p:txBody>
      </p:sp>
      <p:sp>
        <p:nvSpPr>
          <p:cNvPr id="102" name="Google Shape;102;p64"/>
          <p:cNvSpPr txBox="1">
            <a:spLocks noGrp="1"/>
          </p:cNvSpPr>
          <p:nvPr>
            <p:ph type="ctrTitle"/>
          </p:nvPr>
        </p:nvSpPr>
        <p:spPr>
          <a:xfrm>
            <a:off x="95250" y="4313351"/>
            <a:ext cx="8096250" cy="2387600"/>
          </a:xfrm>
          <a:prstGeom prst="rect">
            <a:avLst/>
          </a:prstGeom>
          <a:noFill/>
          <a:ln>
            <a:noFill/>
          </a:ln>
        </p:spPr>
        <p:txBody>
          <a:bodyPr spcFirstLastPara="1" anchor="b">
            <a:normAutofit/>
          </a:bodyPr>
          <a:lstStyle>
            <a:lvl1pPr lvl="0" algn="l">
              <a:lnSpc>
                <a:spcPct val="90000"/>
              </a:lnSpc>
              <a:spcBef>
                <a:spcPts val="0"/>
              </a:spcBef>
              <a:spcAft>
                <a:spcPts val="0"/>
              </a:spcAft>
              <a:buClr>
                <a:srgbClr val="253356"/>
              </a:buClr>
              <a:buSzPts val="6000"/>
              <a:buFont typeface="Helvetica Neue"/>
              <a:buNone/>
              <a:defRPr sz="6000">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 name="Google Shape;103;p64"/>
          <p:cNvSpPr txBox="1">
            <a:spLocks noGrp="1"/>
          </p:cNvSpPr>
          <p:nvPr>
            <p:ph type="subTitle" idx="1"/>
          </p:nvPr>
        </p:nvSpPr>
        <p:spPr>
          <a:xfrm>
            <a:off x="108857" y="2657588"/>
            <a:ext cx="6000750" cy="1655762"/>
          </a:xfrm>
          <a:prstGeom prst="rect">
            <a:avLst/>
          </a:prstGeom>
          <a:noFill/>
          <a:ln>
            <a:noFill/>
          </a:ln>
        </p:spPr>
        <p:txBody>
          <a:bodyPr spcFirstLastPara="1">
            <a:normAutofit/>
          </a:bodyPr>
          <a:lstStyle>
            <a:lvl1pPr lvl="0" algn="l">
              <a:lnSpc>
                <a:spcPct val="90000"/>
              </a:lnSpc>
              <a:spcBef>
                <a:spcPts val="1000"/>
              </a:spcBef>
              <a:spcAft>
                <a:spcPts val="0"/>
              </a:spcAft>
              <a:buClr>
                <a:schemeClr val="dk1"/>
              </a:buClr>
              <a:buSzPts val="2400"/>
              <a:buNone/>
              <a:defRPr sz="2400">
                <a:latin typeface="Calibri" panose="020F0502020204030204" pitchFamily="34" charset="0"/>
                <a:ea typeface="Helvetica Neue"/>
                <a:cs typeface="Calibri" panose="020F050202020403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61972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Custom Layout" preserve="1">
  <p:cSld name="Custom Layout">
    <p:spTree>
      <p:nvGrpSpPr>
        <p:cNvPr id="1" name="Shape 114"/>
        <p:cNvGrpSpPr/>
        <p:nvPr/>
      </p:nvGrpSpPr>
      <p:grpSpPr>
        <a:xfrm>
          <a:off x="0" y="0"/>
          <a:ext cx="0" cy="0"/>
          <a:chOff x="0" y="0"/>
          <a:chExt cx="0" cy="0"/>
        </a:xfrm>
      </p:grpSpPr>
      <p:pic>
        <p:nvPicPr>
          <p:cNvPr id="2" name="Εικόνα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7938"/>
            <a:ext cx="121920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5"/>
          <p:cNvSpPr/>
          <p:nvPr userDrawn="1"/>
        </p:nvSpPr>
        <p:spPr>
          <a:xfrm>
            <a:off x="1171575" y="4906963"/>
            <a:ext cx="4021138" cy="1266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buClr>
                <a:srgbClr val="000000"/>
              </a:buClr>
              <a:buFont typeface="Arial" panose="020B0604020202020204"/>
              <a:buNone/>
              <a:defRPr/>
            </a:pPr>
            <a:r>
              <a:rPr lang="el-GR" b="1" kern="0">
                <a:solidFill>
                  <a:srgbClr val="FFFFFF"/>
                </a:solidFill>
                <a:sym typeface="Arial" panose="020B0604020202020204"/>
              </a:rPr>
              <a:t>ΕΛΛΗΝΙΚΗ ΔΗΜΟΚΡΑΤΙΑ</a:t>
            </a:r>
          </a:p>
          <a:p>
            <a:pPr fontAlgn="auto">
              <a:spcBef>
                <a:spcPts val="0"/>
              </a:spcBef>
              <a:spcAft>
                <a:spcPts val="0"/>
              </a:spcAft>
              <a:buClr>
                <a:srgbClr val="000000"/>
              </a:buClr>
              <a:buFont typeface="Arial" panose="020B0604020202020204"/>
              <a:buNone/>
              <a:defRPr/>
            </a:pPr>
            <a:r>
              <a:rPr lang="el-GR" b="1" kern="0" err="1">
                <a:solidFill>
                  <a:srgbClr val="FFFFFF"/>
                </a:solidFill>
                <a:sym typeface="Arial" panose="020B0604020202020204"/>
              </a:rPr>
              <a:t>Κυβ</a:t>
            </a:r>
            <a:r>
              <a:rPr lang="x-none" b="1" kern="0">
                <a:solidFill>
                  <a:srgbClr val="FFFFFF"/>
                </a:solidFill>
                <a:sym typeface="Arial" panose="020B0604020202020204"/>
              </a:rPr>
              <a:t>έ</a:t>
            </a:r>
            <a:r>
              <a:rPr lang="el-GR" b="1" kern="0" err="1">
                <a:solidFill>
                  <a:srgbClr val="FFFFFF"/>
                </a:solidFill>
                <a:sym typeface="Arial" panose="020B0604020202020204"/>
              </a:rPr>
              <a:t>ρνηση</a:t>
            </a:r>
            <a:endParaRPr lang="x-none" b="1" kern="0">
              <a:solidFill>
                <a:srgbClr val="FFFFFF"/>
              </a:solidFill>
              <a:sym typeface="Arial" panose="020B0604020202020204"/>
            </a:endParaRPr>
          </a:p>
        </p:txBody>
      </p:sp>
    </p:spTree>
    <p:extLst>
      <p:ext uri="{BB962C8B-B14F-4D97-AF65-F5344CB8AC3E}">
        <p14:creationId xmlns:p14="http://schemas.microsoft.com/office/powerpoint/2010/main" val="2985989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5" name="Subtitle 2"/>
          <p:cNvSpPr>
            <a:spLocks noGrp="1"/>
          </p:cNvSpPr>
          <p:nvPr>
            <p:ph type="subTitle" idx="1"/>
          </p:nvPr>
        </p:nvSpPr>
        <p:spPr>
          <a:xfrm>
            <a:off x="837415" y="3348000"/>
            <a:ext cx="9144000"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738346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2" name="Title 1"/>
          <p:cNvSpPr txBox="1"/>
          <p:nvPr userDrawn="1"/>
        </p:nvSpPr>
        <p:spPr>
          <a:xfrm>
            <a:off x="7566025" y="6356350"/>
            <a:ext cx="3787775" cy="374650"/>
          </a:xfrm>
          <a:prstGeom prst="rect">
            <a:avLst/>
          </a:prstGeom>
        </p:spPr>
        <p:txBody>
          <a:bodyPr anchor="ctr">
            <a:norm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lnSpc>
                <a:spcPct val="90000"/>
              </a:lnSpc>
              <a:buClr>
                <a:srgbClr val="000000"/>
              </a:buClr>
              <a:buFont typeface="Arial" panose="020B0604020202020204" pitchFamily="34" charset="0"/>
              <a:buNone/>
            </a:pPr>
            <a:fld id="{1BDB5EAD-F868-416D-842F-C35E932130F7}" type="slidenum">
              <a:rPr lang="en-US" altLang="en-US" sz="1200">
                <a:solidFill>
                  <a:srgbClr val="7F7F7F"/>
                </a:solidFill>
                <a:latin typeface="Arial" panose="020B0604020202020204" pitchFamily="34" charset="0"/>
                <a:sym typeface="Arial" panose="020B0604020202020204" pitchFamily="34" charset="0"/>
              </a:rPr>
              <a:pPr algn="r">
                <a:lnSpc>
                  <a:spcPct val="90000"/>
                </a:lnSpc>
                <a:buClr>
                  <a:srgbClr val="000000"/>
                </a:buClr>
                <a:buFont typeface="Arial" panose="020B0604020202020204" pitchFamily="34" charset="0"/>
                <a:buNone/>
              </a:pPr>
              <a:t>‹#›</a:t>
            </a:fld>
            <a:endParaRPr lang="en-US" altLang="en-US" sz="1200">
              <a:solidFill>
                <a:srgbClr val="7F7F7F"/>
              </a:solidFill>
              <a:latin typeface="Arial" panose="020B0604020202020204" pitchFamily="34" charset="0"/>
              <a:sym typeface="Arial" panose="020B0604020202020204" pitchFamily="34" charset="0"/>
            </a:endParaRPr>
          </a:p>
        </p:txBody>
      </p:sp>
      <p:cxnSp>
        <p:nvCxnSpPr>
          <p:cNvPr id="3" name="Straight Connector 2"/>
          <p:cNvCxnSpPr/>
          <p:nvPr userDrawn="1"/>
        </p:nvCxnSpPr>
        <p:spPr>
          <a:xfrm>
            <a:off x="838200" y="1046163"/>
            <a:ext cx="4064000" cy="0"/>
          </a:xfrm>
          <a:prstGeom prst="line">
            <a:avLst/>
          </a:prstGeom>
          <a:ln>
            <a:solidFill>
              <a:srgbClr val="134A86"/>
            </a:solidFill>
          </a:ln>
        </p:spPr>
        <p:style>
          <a:lnRef idx="1">
            <a:schemeClr val="accent1"/>
          </a:lnRef>
          <a:fillRef idx="0">
            <a:schemeClr val="accent1"/>
          </a:fillRef>
          <a:effectRef idx="0">
            <a:schemeClr val="accent1"/>
          </a:effectRef>
          <a:fontRef idx="minor">
            <a:schemeClr val="tx1"/>
          </a:fontRef>
        </p:style>
      </p:cxnSp>
      <p:sp>
        <p:nvSpPr>
          <p:cNvPr id="4" name="Content Placeholder 3"/>
          <p:cNvSpPr>
            <a:spLocks noGrp="1"/>
          </p:cNvSpPr>
          <p:nvPr>
            <p:ph sz="half" idx="2"/>
          </p:nvPr>
        </p:nvSpPr>
        <p:spPr>
          <a:xfrm>
            <a:off x="839790" y="5102578"/>
            <a:ext cx="10514011" cy="1126732"/>
          </a:xfrm>
        </p:spPr>
        <p:txBody>
          <a:bodyPr/>
          <a:lstStyle>
            <a:lvl1pPr>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03077" y="1454480"/>
            <a:ext cx="4461646" cy="429533"/>
          </a:xfrm>
        </p:spPr>
        <p:txBody>
          <a:bodyPr anchor="b">
            <a:normAutofit/>
          </a:bodyPr>
          <a:lstStyle>
            <a:lvl1pPr marL="0" indent="0" algn="ctr">
              <a:buNone/>
              <a:defRPr sz="1600" b="1"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Picture Placeholder 7"/>
          <p:cNvSpPr>
            <a:spLocks noGrp="1"/>
          </p:cNvSpPr>
          <p:nvPr>
            <p:ph type="pic" sz="quarter" idx="13"/>
          </p:nvPr>
        </p:nvSpPr>
        <p:spPr>
          <a:xfrm>
            <a:off x="1386831" y="1908000"/>
            <a:ext cx="4430769" cy="2880000"/>
          </a:xfrm>
        </p:spPr>
        <p:txBody>
          <a:bodyPr spcFirstLastPara="1">
            <a:normAutofit/>
          </a:bodyPr>
          <a:lstStyle/>
          <a:p>
            <a:pPr lvl="0"/>
            <a:endParaRPr lang="en-GB" noProof="0">
              <a:sym typeface="Helvetica Neue"/>
            </a:endParaRPr>
          </a:p>
        </p:txBody>
      </p:sp>
      <p:sp>
        <p:nvSpPr>
          <p:cNvPr id="11" name="Picture Placeholder 7"/>
          <p:cNvSpPr>
            <a:spLocks noGrp="1"/>
          </p:cNvSpPr>
          <p:nvPr>
            <p:ph type="pic" sz="quarter" idx="14"/>
          </p:nvPr>
        </p:nvSpPr>
        <p:spPr>
          <a:xfrm>
            <a:off x="6203077" y="1908000"/>
            <a:ext cx="4430769" cy="2880000"/>
          </a:xfrm>
        </p:spPr>
        <p:txBody>
          <a:bodyPr spcFirstLastPara="1">
            <a:normAutofit/>
          </a:bodyPr>
          <a:lstStyle/>
          <a:p>
            <a:pPr lvl="0"/>
            <a:endParaRPr lang="en-GB" noProof="0">
              <a:sym typeface="Helvetica Neue"/>
            </a:endParaRPr>
          </a:p>
        </p:txBody>
      </p:sp>
      <p:sp>
        <p:nvSpPr>
          <p:cNvPr id="12" name="Text Placeholder 4"/>
          <p:cNvSpPr>
            <a:spLocks noGrp="1"/>
          </p:cNvSpPr>
          <p:nvPr>
            <p:ph type="body" sz="quarter" idx="15"/>
          </p:nvPr>
        </p:nvSpPr>
        <p:spPr>
          <a:xfrm>
            <a:off x="1386831" y="1454479"/>
            <a:ext cx="4461646" cy="429533"/>
          </a:xfrm>
        </p:spPr>
        <p:txBody>
          <a:bodyPr anchor="b">
            <a:normAutofit/>
          </a:bodyPr>
          <a:lstStyle>
            <a:lvl1pPr marL="0" indent="0" algn="ctr">
              <a:buNone/>
              <a:defRPr sz="1600" b="1"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Title 1"/>
          <p:cNvSpPr>
            <a:spLocks noGrp="1"/>
          </p:cNvSpPr>
          <p:nvPr>
            <p:ph type="title"/>
          </p:nvPr>
        </p:nvSpPr>
        <p:spPr>
          <a:xfrm>
            <a:off x="838201" y="365128"/>
            <a:ext cx="10515600" cy="989540"/>
          </a:xfrm>
        </p:spPr>
        <p:txBody>
          <a:bodyPr>
            <a:normAutofit/>
          </a:bodyPr>
          <a:lstStyle>
            <a:lvl1pPr>
              <a:defRPr sz="2400"/>
            </a:lvl1pPr>
          </a:lstStyle>
          <a:p>
            <a:r>
              <a:rPr lang="en-US"/>
              <a:t>Click to edit Master title style</a:t>
            </a:r>
          </a:p>
        </p:txBody>
      </p:sp>
    </p:spTree>
    <p:extLst>
      <p:ext uri="{BB962C8B-B14F-4D97-AF65-F5344CB8AC3E}">
        <p14:creationId xmlns:p14="http://schemas.microsoft.com/office/powerpoint/2010/main" val="36245133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17"/>
        <p:cNvGrpSpPr/>
        <p:nvPr/>
      </p:nvGrpSpPr>
      <p:grpSpPr>
        <a:xfrm>
          <a:off x="0" y="0"/>
          <a:ext cx="0" cy="0"/>
          <a:chOff x="0" y="0"/>
          <a:chExt cx="0" cy="0"/>
        </a:xfrm>
      </p:grpSpPr>
      <p:sp>
        <p:nvSpPr>
          <p:cNvPr id="2" name="Google Shape;18;p65"/>
          <p:cNvSpPr>
            <a:spLocks noChangeArrowheads="1"/>
          </p:cNvSpPr>
          <p:nvPr/>
        </p:nvSpPr>
        <p:spPr bwMode="auto">
          <a:xfrm>
            <a:off x="3175" y="2608263"/>
            <a:ext cx="6858000" cy="4249737"/>
          </a:xfrm>
          <a:prstGeom prst="rtTriangle">
            <a:avLst/>
          </a:prstGeom>
          <a:solidFill>
            <a:srgbClr val="01347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a:solidFill>
                <a:srgbClr val="FFFFFF"/>
              </a:solidFill>
              <a:cs typeface="Calibri" panose="020F0502020204030204" pitchFamily="34" charset="0"/>
              <a:sym typeface="Calibri" panose="020F0502020204030204" pitchFamily="34" charset="0"/>
            </a:endParaRPr>
          </a:p>
        </p:txBody>
      </p:sp>
      <p:pic>
        <p:nvPicPr>
          <p:cNvPr id="3" name="Google Shape;19;p65" descr="A close up of a logo&#10;&#10;Description automatically generated"/>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l="2185" t="6084" r="87331" b="75015"/>
          <a:stretch>
            <a:fillRect/>
          </a:stretch>
        </p:blipFill>
        <p:spPr bwMode="auto">
          <a:xfrm>
            <a:off x="869950" y="5229225"/>
            <a:ext cx="1157288" cy="117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36092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600670" y="5929931"/>
            <a:ext cx="10985502" cy="318490"/>
          </a:xfrm>
          <a:prstGeom prst="rect">
            <a:avLst/>
          </a:prstGeom>
        </p:spPr>
        <p:txBody>
          <a:bodyPr lIns="22859" tIns="22859" rIns="22859" bIns="22859"/>
          <a:lstStyle>
            <a:lvl1pPr marL="0" indent="0" defTabSz="408622">
              <a:lnSpc>
                <a:spcPct val="100000"/>
              </a:lnSpc>
              <a:spcBef>
                <a:spcPts val="0"/>
              </a:spcBef>
              <a:buSzTx/>
              <a:buNone/>
              <a:defRPr sz="1782" b="1"/>
            </a:lvl1pPr>
          </a:lstStyle>
          <a:p>
            <a:r>
              <a:t>Author and Date</a:t>
            </a:r>
          </a:p>
        </p:txBody>
      </p:sp>
      <p:sp>
        <p:nvSpPr>
          <p:cNvPr id="12" name="Presentation Title"/>
          <p:cNvSpPr txBox="1">
            <a:spLocks noGrp="1"/>
          </p:cNvSpPr>
          <p:nvPr>
            <p:ph type="title" hasCustomPrompt="1"/>
          </p:nvPr>
        </p:nvSpPr>
        <p:spPr>
          <a:xfrm>
            <a:off x="603248" y="1287495"/>
            <a:ext cx="10985502" cy="2324101"/>
          </a:xfrm>
          <a:prstGeom prst="rect">
            <a:avLst/>
          </a:prstGeom>
        </p:spPr>
        <p:txBody>
          <a:bodyPr anchor="b"/>
          <a:lstStyle>
            <a:lvl1pPr>
              <a:defRPr sz="5800" spc="-116"/>
            </a:lvl1pPr>
          </a:lstStyle>
          <a:p>
            <a:r>
              <a:t>Presentation Title</a:t>
            </a:r>
          </a:p>
        </p:txBody>
      </p:sp>
      <p:sp>
        <p:nvSpPr>
          <p:cNvPr id="13" name="Body Level One…"/>
          <p:cNvSpPr txBox="1">
            <a:spLocks noGrp="1"/>
          </p:cNvSpPr>
          <p:nvPr>
            <p:ph type="body" sz="quarter" idx="1" hasCustomPrompt="1"/>
          </p:nvPr>
        </p:nvSpPr>
        <p:spPr>
          <a:xfrm>
            <a:off x="600671" y="3611595"/>
            <a:ext cx="10985501" cy="952501"/>
          </a:xfrm>
          <a:prstGeom prst="rect">
            <a:avLst/>
          </a:prstGeom>
        </p:spPr>
        <p:txBody>
          <a:bodyPr/>
          <a:lstStyle>
            <a:lvl1pPr marL="0" indent="0" defTabSz="412750">
              <a:lnSpc>
                <a:spcPct val="100000"/>
              </a:lnSpc>
              <a:spcBef>
                <a:spcPts val="0"/>
              </a:spcBef>
              <a:buSzTx/>
              <a:buNone/>
              <a:defRPr sz="2600" b="1"/>
            </a:lvl1pPr>
            <a:lvl2pPr marL="0" indent="457200" defTabSz="412750">
              <a:lnSpc>
                <a:spcPct val="100000"/>
              </a:lnSpc>
              <a:spcBef>
                <a:spcPts val="0"/>
              </a:spcBef>
              <a:buSzTx/>
              <a:buNone/>
              <a:defRPr sz="2600" b="1"/>
            </a:lvl2pPr>
            <a:lvl3pPr marL="0" indent="914400" defTabSz="412750">
              <a:lnSpc>
                <a:spcPct val="100000"/>
              </a:lnSpc>
              <a:spcBef>
                <a:spcPts val="0"/>
              </a:spcBef>
              <a:buSzTx/>
              <a:buNone/>
              <a:defRPr sz="2600" b="1"/>
            </a:lvl3pPr>
            <a:lvl4pPr marL="0" indent="1371600" defTabSz="412750">
              <a:lnSpc>
                <a:spcPct val="100000"/>
              </a:lnSpc>
              <a:spcBef>
                <a:spcPts val="0"/>
              </a:spcBef>
              <a:buSzTx/>
              <a:buNone/>
              <a:defRPr sz="2600" b="1"/>
            </a:lvl4pPr>
            <a:lvl5pPr marL="0" indent="1828800" defTabSz="412750">
              <a:lnSpc>
                <a:spcPct val="100000"/>
              </a:lnSpc>
              <a:spcBef>
                <a:spcPts val="0"/>
              </a:spcBef>
              <a:buSzTx/>
              <a:buNone/>
              <a:defRPr sz="2600" b="1"/>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602911873"/>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name="Title &amp; Photo">
    <p:spTree>
      <p:nvGrpSpPr>
        <p:cNvPr id="1" name=""/>
        <p:cNvGrpSpPr/>
        <p:nvPr/>
      </p:nvGrpSpPr>
      <p:grpSpPr>
        <a:xfrm>
          <a:off x="0" y="0"/>
          <a:ext cx="0" cy="0"/>
          <a:chOff x="0" y="0"/>
          <a:chExt cx="0" cy="0"/>
        </a:xfrm>
      </p:grpSpPr>
      <p:sp>
        <p:nvSpPr>
          <p:cNvPr id="21" name="Avocados and limes"/>
          <p:cNvSpPr>
            <a:spLocks noGrp="1"/>
          </p:cNvSpPr>
          <p:nvPr>
            <p:ph type="pic" idx="21"/>
          </p:nvPr>
        </p:nvSpPr>
        <p:spPr>
          <a:xfrm>
            <a:off x="-577850" y="-647700"/>
            <a:ext cx="13373100" cy="8009467"/>
          </a:xfrm>
          <a:prstGeom prst="rect">
            <a:avLst/>
          </a:prstGeom>
        </p:spPr>
        <p:txBody>
          <a:bodyPr lIns="91439" tIns="45719" rIns="91439" bIns="45719">
            <a:noAutofit/>
          </a:bodyPr>
          <a:lstStyle/>
          <a:p>
            <a:endParaRPr/>
          </a:p>
        </p:txBody>
      </p:sp>
      <p:sp>
        <p:nvSpPr>
          <p:cNvPr id="22" name="Presentation Title"/>
          <p:cNvSpPr txBox="1">
            <a:spLocks noGrp="1"/>
          </p:cNvSpPr>
          <p:nvPr>
            <p:ph type="title" hasCustomPrompt="1"/>
          </p:nvPr>
        </p:nvSpPr>
        <p:spPr>
          <a:xfrm>
            <a:off x="603250" y="3562350"/>
            <a:ext cx="10985500" cy="2324100"/>
          </a:xfrm>
          <a:prstGeom prst="rect">
            <a:avLst/>
          </a:prstGeom>
        </p:spPr>
        <p:txBody>
          <a:bodyPr anchor="b"/>
          <a:lstStyle>
            <a:lvl1pPr>
              <a:defRPr sz="5800" spc="-116"/>
            </a:lvl1pPr>
          </a:lstStyle>
          <a:p>
            <a:r>
              <a:t>Presentation Title</a:t>
            </a:r>
          </a:p>
        </p:txBody>
      </p:sp>
      <p:sp>
        <p:nvSpPr>
          <p:cNvPr id="23" name="Author and Date"/>
          <p:cNvSpPr txBox="1">
            <a:spLocks noGrp="1"/>
          </p:cNvSpPr>
          <p:nvPr>
            <p:ph type="body" sz="quarter" idx="22" hasCustomPrompt="1"/>
          </p:nvPr>
        </p:nvSpPr>
        <p:spPr>
          <a:xfrm>
            <a:off x="603845" y="553068"/>
            <a:ext cx="10984311" cy="318490"/>
          </a:xfrm>
          <a:prstGeom prst="rect">
            <a:avLst/>
          </a:prstGeom>
        </p:spPr>
        <p:txBody>
          <a:bodyPr lIns="22859" tIns="22859" rIns="22859" bIns="22859"/>
          <a:lstStyle>
            <a:lvl1pPr marL="0" indent="0" defTabSz="408622">
              <a:lnSpc>
                <a:spcPct val="100000"/>
              </a:lnSpc>
              <a:spcBef>
                <a:spcPts val="0"/>
              </a:spcBef>
              <a:buSzTx/>
              <a:buNone/>
              <a:defRPr sz="1782" b="1"/>
            </a:lvl1pPr>
          </a:lstStyle>
          <a:p>
            <a:r>
              <a:t>Author and Date</a:t>
            </a:r>
          </a:p>
        </p:txBody>
      </p:sp>
      <p:sp>
        <p:nvSpPr>
          <p:cNvPr id="24" name="Body Level One…"/>
          <p:cNvSpPr txBox="1">
            <a:spLocks noGrp="1"/>
          </p:cNvSpPr>
          <p:nvPr>
            <p:ph type="body" sz="quarter" idx="1" hasCustomPrompt="1"/>
          </p:nvPr>
        </p:nvSpPr>
        <p:spPr>
          <a:xfrm>
            <a:off x="603250" y="5804955"/>
            <a:ext cx="10985500" cy="558476"/>
          </a:xfrm>
          <a:prstGeom prst="rect">
            <a:avLst/>
          </a:prstGeom>
        </p:spPr>
        <p:txBody>
          <a:bodyPr/>
          <a:lstStyle>
            <a:lvl1pPr marL="0" indent="0" defTabSz="412750">
              <a:lnSpc>
                <a:spcPct val="100000"/>
              </a:lnSpc>
              <a:spcBef>
                <a:spcPts val="0"/>
              </a:spcBef>
              <a:buSzTx/>
              <a:buNone/>
              <a:defRPr sz="2600" b="1"/>
            </a:lvl1pPr>
            <a:lvl2pPr marL="0" indent="457200" defTabSz="412750">
              <a:lnSpc>
                <a:spcPct val="100000"/>
              </a:lnSpc>
              <a:spcBef>
                <a:spcPts val="0"/>
              </a:spcBef>
              <a:buSzTx/>
              <a:buNone/>
              <a:defRPr sz="2600" b="1"/>
            </a:lvl2pPr>
            <a:lvl3pPr marL="0" indent="914400" defTabSz="412750">
              <a:lnSpc>
                <a:spcPct val="100000"/>
              </a:lnSpc>
              <a:spcBef>
                <a:spcPts val="0"/>
              </a:spcBef>
              <a:buSzTx/>
              <a:buNone/>
              <a:defRPr sz="2600" b="1"/>
            </a:lvl3pPr>
            <a:lvl4pPr marL="0" indent="1371600" defTabSz="412750">
              <a:lnSpc>
                <a:spcPct val="100000"/>
              </a:lnSpc>
              <a:spcBef>
                <a:spcPts val="0"/>
              </a:spcBef>
              <a:buSzTx/>
              <a:buNone/>
              <a:defRPr sz="2600" b="1"/>
            </a:lvl4pPr>
            <a:lvl5pPr marL="0" indent="1828800" defTabSz="412750">
              <a:lnSpc>
                <a:spcPct val="100000"/>
              </a:lnSpc>
              <a:spcBef>
                <a:spcPts val="0"/>
              </a:spcBef>
              <a:buSzTx/>
              <a:buNone/>
              <a:defRPr sz="2600" b="1"/>
            </a:lvl5pPr>
          </a:lstStyle>
          <a:p>
            <a:r>
              <a:t>Presentation Subtitle</a:t>
            </a:r>
          </a:p>
          <a:p>
            <a:pPr lvl="1"/>
            <a:endParaRPr/>
          </a:p>
          <a:p>
            <a:pPr lvl="2"/>
            <a:endParaRPr/>
          </a:p>
          <a:p>
            <a:pPr lvl="3"/>
            <a:endParaRPr/>
          </a:p>
          <a:p>
            <a:pPr lvl="4"/>
            <a:endParaRPr/>
          </a:p>
        </p:txBody>
      </p:sp>
      <p:sp>
        <p:nvSpPr>
          <p:cNvPr id="25"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615487108"/>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Στυλ κύριου τίτλου</a:t>
            </a:r>
          </a:p>
        </p:txBody>
      </p:sp>
      <p:sp>
        <p:nvSpPr>
          <p:cNvPr id="3" name="Θέση ημερομηνίας 2"/>
          <p:cNvSpPr>
            <a:spLocks noGrp="1"/>
          </p:cNvSpPr>
          <p:nvPr>
            <p:ph type="dt" sz="half" idx="10"/>
          </p:nvPr>
        </p:nvSpPr>
        <p:spPr/>
        <p:txBody>
          <a:bodyPr/>
          <a:lstStyle/>
          <a:p>
            <a:fld id="{52B69728-13CB-4FA4-904D-CF5C4C899BE6}" type="datetimeFigureOut">
              <a:rPr lang="el-GR" smtClean="0"/>
              <a:pPr/>
              <a:t>23/7/2025</a:t>
            </a:fld>
            <a:endParaRPr lang="el-GR"/>
          </a:p>
        </p:txBody>
      </p:sp>
      <p:sp>
        <p:nvSpPr>
          <p:cNvPr id="4" name="Θέση υποσέλιδου 3"/>
          <p:cNvSpPr>
            <a:spLocks noGrp="1"/>
          </p:cNvSpPr>
          <p:nvPr>
            <p:ph type="ftr" sz="quarter" idx="11"/>
          </p:nvPr>
        </p:nvSpPr>
        <p:spPr/>
        <p:txBody>
          <a:bodyPr/>
          <a:lstStyle/>
          <a:p>
            <a:endParaRPr lang="el-GR"/>
          </a:p>
        </p:txBody>
      </p:sp>
      <p:sp>
        <p:nvSpPr>
          <p:cNvPr id="5" name="Θέση αριθμού διαφάνειας 4"/>
          <p:cNvSpPr>
            <a:spLocks noGrp="1"/>
          </p:cNvSpPr>
          <p:nvPr>
            <p:ph type="sldNum" sz="quarter" idx="12"/>
          </p:nvPr>
        </p:nvSpPr>
        <p:spPr/>
        <p:txBody>
          <a:bodyPr/>
          <a:lstStyle/>
          <a:p>
            <a:fld id="{492F0BFE-09C8-4C53-B8F5-44730026CF66}" type="slidenum">
              <a:rPr lang="el-GR" smtClean="0"/>
              <a:pPr/>
              <a:t>‹#›</a:t>
            </a:fld>
            <a:endParaRPr lang="el-G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
  <p:cSld name="Title &amp; Photo Alt">
    <p:spTree>
      <p:nvGrpSpPr>
        <p:cNvPr id="1" name=""/>
        <p:cNvGrpSpPr/>
        <p:nvPr/>
      </p:nvGrpSpPr>
      <p:grpSpPr>
        <a:xfrm>
          <a:off x="0" y="0"/>
          <a:ext cx="0" cy="0"/>
          <a:chOff x="0" y="0"/>
          <a:chExt cx="0" cy="0"/>
        </a:xfrm>
      </p:grpSpPr>
      <p:sp>
        <p:nvSpPr>
          <p:cNvPr id="32" name="Bowl with salmon cakes, salad and houmous"/>
          <p:cNvSpPr>
            <a:spLocks noGrp="1"/>
          </p:cNvSpPr>
          <p:nvPr>
            <p:ph type="pic" idx="21"/>
          </p:nvPr>
        </p:nvSpPr>
        <p:spPr>
          <a:xfrm>
            <a:off x="5486400" y="-101600"/>
            <a:ext cx="6072419" cy="7067550"/>
          </a:xfrm>
          <a:prstGeom prst="rect">
            <a:avLst/>
          </a:prstGeom>
        </p:spPr>
        <p:txBody>
          <a:bodyPr lIns="91439" tIns="45719" rIns="91439" bIns="45719">
            <a:noAutofit/>
          </a:bodyPr>
          <a:lstStyle/>
          <a:p>
            <a:endParaRPr/>
          </a:p>
        </p:txBody>
      </p:sp>
      <p:sp>
        <p:nvSpPr>
          <p:cNvPr id="33" name="Slide Title"/>
          <p:cNvSpPr txBox="1">
            <a:spLocks noGrp="1"/>
          </p:cNvSpPr>
          <p:nvPr>
            <p:ph type="title" hasCustomPrompt="1"/>
          </p:nvPr>
        </p:nvSpPr>
        <p:spPr>
          <a:xfrm>
            <a:off x="603250" y="635000"/>
            <a:ext cx="4889500" cy="2941137"/>
          </a:xfrm>
          <a:prstGeom prst="rect">
            <a:avLst/>
          </a:prstGeom>
        </p:spPr>
        <p:txBody>
          <a:bodyPr anchor="b"/>
          <a:lstStyle/>
          <a:p>
            <a:r>
              <a:t>Slide Title</a:t>
            </a:r>
          </a:p>
        </p:txBody>
      </p:sp>
      <p:sp>
        <p:nvSpPr>
          <p:cNvPr id="34" name="Body Level One…"/>
          <p:cNvSpPr txBox="1">
            <a:spLocks noGrp="1"/>
          </p:cNvSpPr>
          <p:nvPr>
            <p:ph type="body" sz="quarter" idx="1" hasCustomPrompt="1"/>
          </p:nvPr>
        </p:nvSpPr>
        <p:spPr>
          <a:xfrm>
            <a:off x="603250" y="3530288"/>
            <a:ext cx="4889500" cy="2692712"/>
          </a:xfrm>
          <a:prstGeom prst="rect">
            <a:avLst/>
          </a:prstGeom>
        </p:spPr>
        <p:txBody>
          <a:bodyPr/>
          <a:lstStyle>
            <a:lvl1pPr marL="0" indent="0" defTabSz="412750">
              <a:lnSpc>
                <a:spcPct val="100000"/>
              </a:lnSpc>
              <a:spcBef>
                <a:spcPts val="0"/>
              </a:spcBef>
              <a:buSzTx/>
              <a:buNone/>
              <a:defRPr sz="2600" b="1"/>
            </a:lvl1pPr>
            <a:lvl2pPr marL="0" indent="457200" defTabSz="412750">
              <a:lnSpc>
                <a:spcPct val="100000"/>
              </a:lnSpc>
              <a:spcBef>
                <a:spcPts val="0"/>
              </a:spcBef>
              <a:buSzTx/>
              <a:buNone/>
              <a:defRPr sz="2600" b="1"/>
            </a:lvl2pPr>
            <a:lvl3pPr marL="0" indent="914400" defTabSz="412750">
              <a:lnSpc>
                <a:spcPct val="100000"/>
              </a:lnSpc>
              <a:spcBef>
                <a:spcPts val="0"/>
              </a:spcBef>
              <a:buSzTx/>
              <a:buNone/>
              <a:defRPr sz="2600" b="1"/>
            </a:lvl3pPr>
            <a:lvl4pPr marL="0" indent="1371600" defTabSz="412750">
              <a:lnSpc>
                <a:spcPct val="100000"/>
              </a:lnSpc>
              <a:spcBef>
                <a:spcPts val="0"/>
              </a:spcBef>
              <a:buSzTx/>
              <a:buNone/>
              <a:defRPr sz="2600" b="1"/>
            </a:lvl4pPr>
            <a:lvl5pPr marL="0" indent="1828800" defTabSz="412750">
              <a:lnSpc>
                <a:spcPct val="100000"/>
              </a:lnSpc>
              <a:spcBef>
                <a:spcPts val="0"/>
              </a:spcBef>
              <a:buSzTx/>
              <a:buNone/>
              <a:defRPr sz="2600" b="1"/>
            </a:lvl5pPr>
          </a:lstStyle>
          <a:p>
            <a:r>
              <a:t>Slide Subtitle</a:t>
            </a:r>
          </a:p>
          <a:p>
            <a:pPr lvl="1"/>
            <a:endParaRPr/>
          </a:p>
          <a:p>
            <a:pPr lvl="2"/>
            <a:endParaRPr/>
          </a:p>
          <a:p>
            <a:pPr lvl="3"/>
            <a:endParaRPr/>
          </a:p>
          <a:p>
            <a:pPr lvl="4"/>
            <a:endParaRPr/>
          </a:p>
        </p:txBody>
      </p:sp>
      <p:sp>
        <p:nvSpPr>
          <p:cNvPr id="35" name="Slide Number"/>
          <p:cNvSpPr txBox="1">
            <a:spLocks noGrp="1"/>
          </p:cNvSpPr>
          <p:nvPr>
            <p:ph type="sldNum" sz="quarter" idx="2"/>
          </p:nvPr>
        </p:nvSpPr>
        <p:spPr>
          <a:xfrm>
            <a:off x="5997574" y="6542616"/>
            <a:ext cx="190603" cy="187301"/>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970698980"/>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2" name="Slide Title"/>
          <p:cNvSpPr txBox="1">
            <a:spLocks noGrp="1"/>
          </p:cNvSpPr>
          <p:nvPr>
            <p:ph type="title" hasCustomPrompt="1"/>
          </p:nvPr>
        </p:nvSpPr>
        <p:spPr>
          <a:prstGeom prst="rect">
            <a:avLst/>
          </a:prstGeom>
        </p:spPr>
        <p:txBody>
          <a:bodyPr/>
          <a:lstStyle/>
          <a:p>
            <a:r>
              <a:t>Slide Title</a:t>
            </a:r>
          </a:p>
        </p:txBody>
      </p:sp>
      <p:sp>
        <p:nvSpPr>
          <p:cNvPr id="43" name="Slide Subtitle"/>
          <p:cNvSpPr txBox="1">
            <a:spLocks noGrp="1"/>
          </p:cNvSpPr>
          <p:nvPr>
            <p:ph type="body" sz="quarter" idx="21" hasCustomPrompt="1"/>
          </p:nvPr>
        </p:nvSpPr>
        <p:spPr>
          <a:xfrm>
            <a:off x="603250" y="1186481"/>
            <a:ext cx="10985500" cy="467390"/>
          </a:xfrm>
          <a:prstGeom prst="rect">
            <a:avLst/>
          </a:prstGeom>
        </p:spPr>
        <p:txBody>
          <a:bodyPr lIns="22859" tIns="22859" rIns="22859" bIns="22859"/>
          <a:lstStyle>
            <a:lvl1pPr marL="0" indent="0" defTabSz="412750">
              <a:lnSpc>
                <a:spcPct val="100000"/>
              </a:lnSpc>
              <a:spcBef>
                <a:spcPts val="0"/>
              </a:spcBef>
              <a:buSzTx/>
              <a:buNone/>
              <a:defRPr sz="2600" b="1"/>
            </a:lvl1pPr>
          </a:lstStyle>
          <a:p>
            <a:r>
              <a:t>Slide Subtitle</a:t>
            </a:r>
          </a:p>
        </p:txBody>
      </p:sp>
      <p:sp>
        <p:nvSpPr>
          <p:cNvPr id="44"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066806355"/>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52" name="Body Level One…"/>
          <p:cNvSpPr txBox="1">
            <a:spLocks noGrp="1"/>
          </p:cNvSpPr>
          <p:nvPr>
            <p:ph type="body" idx="1" hasCustomPrompt="1"/>
          </p:nvPr>
        </p:nvSpPr>
        <p:spPr>
          <a:prstGeom prst="rect">
            <a:avLst/>
          </a:prstGeom>
        </p:spPr>
        <p:txBody>
          <a:bodyPr numCol="2" spcCol="549275"/>
          <a:lstStyle/>
          <a:p>
            <a:r>
              <a:t>Slide bullet text</a:t>
            </a:r>
          </a:p>
          <a:p>
            <a:pPr lvl="1"/>
            <a:endParaRPr/>
          </a:p>
          <a:p>
            <a:pPr lvl="2"/>
            <a:endParaRPr/>
          </a:p>
          <a:p>
            <a:pPr lvl="3"/>
            <a:endParaRPr/>
          </a:p>
          <a:p>
            <a:pPr lvl="4"/>
            <a:endParaRPr/>
          </a:p>
        </p:txBody>
      </p:sp>
      <p:sp>
        <p:nvSpPr>
          <p:cNvPr id="53"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781388937"/>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0" name="Slide Subtitle"/>
          <p:cNvSpPr txBox="1">
            <a:spLocks noGrp="1"/>
          </p:cNvSpPr>
          <p:nvPr>
            <p:ph type="body" sz="quarter" idx="21" hasCustomPrompt="1"/>
          </p:nvPr>
        </p:nvSpPr>
        <p:spPr>
          <a:xfrm>
            <a:off x="603250" y="1186481"/>
            <a:ext cx="4889500" cy="467390"/>
          </a:xfrm>
          <a:prstGeom prst="rect">
            <a:avLst/>
          </a:prstGeom>
        </p:spPr>
        <p:txBody>
          <a:bodyPr lIns="22859" tIns="22859" rIns="22859" bIns="22859"/>
          <a:lstStyle>
            <a:lvl1pPr marL="0" indent="0" defTabSz="412750">
              <a:lnSpc>
                <a:spcPct val="100000"/>
              </a:lnSpc>
              <a:spcBef>
                <a:spcPts val="0"/>
              </a:spcBef>
              <a:buSzTx/>
              <a:buNone/>
              <a:defRPr sz="2600" b="1"/>
            </a:lvl1pPr>
          </a:lstStyle>
          <a:p>
            <a:r>
              <a:t>Slide Subtitle</a:t>
            </a:r>
          </a:p>
        </p:txBody>
      </p:sp>
      <p:sp>
        <p:nvSpPr>
          <p:cNvPr id="61" name="Body Level One…"/>
          <p:cNvSpPr txBox="1">
            <a:spLocks noGrp="1"/>
          </p:cNvSpPr>
          <p:nvPr>
            <p:ph type="body" sz="half" idx="1" hasCustomPrompt="1"/>
          </p:nvPr>
        </p:nvSpPr>
        <p:spPr>
          <a:xfrm>
            <a:off x="603250" y="2124252"/>
            <a:ext cx="4889500" cy="4128315"/>
          </a:xfrm>
          <a:prstGeom prst="rect">
            <a:avLst/>
          </a:prstGeom>
        </p:spPr>
        <p:txBody>
          <a:bodyPr/>
          <a:lstStyle/>
          <a:p>
            <a:r>
              <a:t>Slide bullet text</a:t>
            </a:r>
          </a:p>
          <a:p>
            <a:pPr lvl="1"/>
            <a:endParaRPr/>
          </a:p>
          <a:p>
            <a:pPr lvl="2"/>
            <a:endParaRPr/>
          </a:p>
          <a:p>
            <a:pPr lvl="3"/>
            <a:endParaRPr/>
          </a:p>
          <a:p>
            <a:pPr lvl="4"/>
            <a:endParaRPr/>
          </a:p>
        </p:txBody>
      </p:sp>
      <p:sp>
        <p:nvSpPr>
          <p:cNvPr id="62" name="Bowl of pappardelle pasta with parsley butter, roasted hazelnuts and shaved parmesan cheese"/>
          <p:cNvSpPr>
            <a:spLocks noGrp="1"/>
          </p:cNvSpPr>
          <p:nvPr>
            <p:ph type="pic" idx="22"/>
          </p:nvPr>
        </p:nvSpPr>
        <p:spPr>
          <a:xfrm>
            <a:off x="6096000" y="-203633"/>
            <a:ext cx="5458437" cy="7277916"/>
          </a:xfrm>
          <a:prstGeom prst="rect">
            <a:avLst/>
          </a:prstGeom>
        </p:spPr>
        <p:txBody>
          <a:bodyPr lIns="91439" tIns="45719" rIns="91439" bIns="45719">
            <a:noAutofit/>
          </a:bodyPr>
          <a:lstStyle/>
          <a:p>
            <a:endParaRPr/>
          </a:p>
        </p:txBody>
      </p:sp>
      <p:sp>
        <p:nvSpPr>
          <p:cNvPr id="63" name="Slide Title"/>
          <p:cNvSpPr txBox="1">
            <a:spLocks noGrp="1"/>
          </p:cNvSpPr>
          <p:nvPr>
            <p:ph type="title" hasCustomPrompt="1"/>
          </p:nvPr>
        </p:nvSpPr>
        <p:spPr>
          <a:xfrm>
            <a:off x="603250" y="539750"/>
            <a:ext cx="4889500" cy="717550"/>
          </a:xfrm>
          <a:prstGeom prst="rect">
            <a:avLst/>
          </a:prstGeom>
        </p:spPr>
        <p:txBody>
          <a:bodyPr/>
          <a:lstStyle/>
          <a:p>
            <a:r>
              <a:t>Slide Title</a:t>
            </a:r>
          </a:p>
        </p:txBody>
      </p:sp>
      <p:sp>
        <p:nvSpPr>
          <p:cNvPr id="64"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144413926"/>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Title, Bullets &amp; Live Video Small">
    <p:spTree>
      <p:nvGrpSpPr>
        <p:cNvPr id="1" name=""/>
        <p:cNvGrpSpPr/>
        <p:nvPr/>
      </p:nvGrpSpPr>
      <p:grpSpPr>
        <a:xfrm>
          <a:off x="0" y="0"/>
          <a:ext cx="0" cy="0"/>
          <a:chOff x="0" y="0"/>
          <a:chExt cx="0" cy="0"/>
        </a:xfrm>
      </p:grpSpPr>
      <p:sp>
        <p:nvSpPr>
          <p:cNvPr id="71" name="Slide Subtitle"/>
          <p:cNvSpPr txBox="1">
            <a:spLocks noGrp="1"/>
          </p:cNvSpPr>
          <p:nvPr>
            <p:ph type="body" sz="quarter" idx="21" hasCustomPrompt="1"/>
          </p:nvPr>
        </p:nvSpPr>
        <p:spPr>
          <a:xfrm>
            <a:off x="603250" y="1186481"/>
            <a:ext cx="4889500" cy="467390"/>
          </a:xfrm>
          <a:prstGeom prst="rect">
            <a:avLst/>
          </a:prstGeom>
        </p:spPr>
        <p:txBody>
          <a:bodyPr lIns="22859" tIns="22859" rIns="22859" bIns="22859"/>
          <a:lstStyle>
            <a:lvl1pPr marL="0" indent="0" defTabSz="412750">
              <a:lnSpc>
                <a:spcPct val="100000"/>
              </a:lnSpc>
              <a:spcBef>
                <a:spcPts val="0"/>
              </a:spcBef>
              <a:buSzTx/>
              <a:buNone/>
              <a:defRPr sz="2600" b="1"/>
            </a:lvl1pPr>
          </a:lstStyle>
          <a:p>
            <a:r>
              <a:t>Slide Subtitle</a:t>
            </a:r>
          </a:p>
        </p:txBody>
      </p:sp>
      <p:sp>
        <p:nvSpPr>
          <p:cNvPr id="72" name="Body Level One…"/>
          <p:cNvSpPr txBox="1">
            <a:spLocks noGrp="1"/>
          </p:cNvSpPr>
          <p:nvPr>
            <p:ph type="body" sz="half" idx="1" hasCustomPrompt="1"/>
          </p:nvPr>
        </p:nvSpPr>
        <p:spPr>
          <a:xfrm>
            <a:off x="603250" y="2124252"/>
            <a:ext cx="4889500" cy="4128315"/>
          </a:xfrm>
          <a:prstGeom prst="rect">
            <a:avLst/>
          </a:prstGeom>
        </p:spPr>
        <p:txBody>
          <a:bodyPr/>
          <a:lstStyle/>
          <a:p>
            <a:r>
              <a:t>Slide bullet text</a:t>
            </a:r>
          </a:p>
          <a:p>
            <a:pPr lvl="1"/>
            <a:endParaRPr/>
          </a:p>
          <a:p>
            <a:pPr lvl="2"/>
            <a:endParaRPr/>
          </a:p>
          <a:p>
            <a:pPr lvl="3"/>
            <a:endParaRPr/>
          </a:p>
          <a:p>
            <a:pPr lvl="4"/>
            <a:endParaRPr/>
          </a:p>
        </p:txBody>
      </p:sp>
      <p:sp>
        <p:nvSpPr>
          <p:cNvPr id="73" name="Slide Title"/>
          <p:cNvSpPr txBox="1">
            <a:spLocks noGrp="1"/>
          </p:cNvSpPr>
          <p:nvPr>
            <p:ph type="title" hasCustomPrompt="1"/>
          </p:nvPr>
        </p:nvSpPr>
        <p:spPr>
          <a:xfrm>
            <a:off x="603250" y="539750"/>
            <a:ext cx="4889500" cy="717550"/>
          </a:xfrm>
          <a:prstGeom prst="rect">
            <a:avLst/>
          </a:prstGeom>
        </p:spPr>
        <p:txBody>
          <a:bodyPr/>
          <a:lstStyle/>
          <a:p>
            <a:r>
              <a:t>Slide Title</a:t>
            </a:r>
          </a:p>
        </p:txBody>
      </p:sp>
      <p:sp>
        <p:nvSpPr>
          <p:cNvPr id="74"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852036593"/>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Title, Bullets &amp; Live Video Large">
    <p:spTree>
      <p:nvGrpSpPr>
        <p:cNvPr id="1" name=""/>
        <p:cNvGrpSpPr/>
        <p:nvPr/>
      </p:nvGrpSpPr>
      <p:grpSpPr>
        <a:xfrm>
          <a:off x="0" y="0"/>
          <a:ext cx="0" cy="0"/>
          <a:chOff x="0" y="0"/>
          <a:chExt cx="0" cy="0"/>
        </a:xfrm>
      </p:grpSpPr>
      <p:sp>
        <p:nvSpPr>
          <p:cNvPr id="81" name="Slide Subtitle"/>
          <p:cNvSpPr txBox="1">
            <a:spLocks noGrp="1"/>
          </p:cNvSpPr>
          <p:nvPr>
            <p:ph type="body" sz="quarter" idx="21" hasCustomPrompt="1"/>
          </p:nvPr>
        </p:nvSpPr>
        <p:spPr>
          <a:xfrm>
            <a:off x="603250" y="1186481"/>
            <a:ext cx="4889500" cy="467390"/>
          </a:xfrm>
          <a:prstGeom prst="rect">
            <a:avLst/>
          </a:prstGeom>
        </p:spPr>
        <p:txBody>
          <a:bodyPr lIns="22859" tIns="22859" rIns="22859" bIns="22859"/>
          <a:lstStyle>
            <a:lvl1pPr marL="0" indent="0" defTabSz="412750">
              <a:lnSpc>
                <a:spcPct val="100000"/>
              </a:lnSpc>
              <a:spcBef>
                <a:spcPts val="0"/>
              </a:spcBef>
              <a:buSzTx/>
              <a:buNone/>
              <a:defRPr sz="2600" b="1"/>
            </a:lvl1pPr>
          </a:lstStyle>
          <a:p>
            <a:r>
              <a:t>Slide Subtitle</a:t>
            </a:r>
          </a:p>
        </p:txBody>
      </p:sp>
      <p:sp>
        <p:nvSpPr>
          <p:cNvPr id="82" name="Body Level One…"/>
          <p:cNvSpPr txBox="1">
            <a:spLocks noGrp="1"/>
          </p:cNvSpPr>
          <p:nvPr>
            <p:ph type="body" sz="half" idx="1" hasCustomPrompt="1"/>
          </p:nvPr>
        </p:nvSpPr>
        <p:spPr>
          <a:xfrm>
            <a:off x="603250" y="2124252"/>
            <a:ext cx="4889500" cy="4128315"/>
          </a:xfrm>
          <a:prstGeom prst="rect">
            <a:avLst/>
          </a:prstGeom>
        </p:spPr>
        <p:txBody>
          <a:bodyPr/>
          <a:lstStyle/>
          <a:p>
            <a:r>
              <a:t>Slide bullet text</a:t>
            </a:r>
          </a:p>
          <a:p>
            <a:pPr lvl="1"/>
            <a:endParaRPr/>
          </a:p>
          <a:p>
            <a:pPr lvl="2"/>
            <a:endParaRPr/>
          </a:p>
          <a:p>
            <a:pPr lvl="3"/>
            <a:endParaRPr/>
          </a:p>
          <a:p>
            <a:pPr lvl="4"/>
            <a:endParaRPr/>
          </a:p>
        </p:txBody>
      </p:sp>
      <p:sp>
        <p:nvSpPr>
          <p:cNvPr id="83" name="Slide Title"/>
          <p:cNvSpPr txBox="1">
            <a:spLocks noGrp="1"/>
          </p:cNvSpPr>
          <p:nvPr>
            <p:ph type="title" hasCustomPrompt="1"/>
          </p:nvPr>
        </p:nvSpPr>
        <p:spPr>
          <a:xfrm>
            <a:off x="603250" y="539750"/>
            <a:ext cx="4889500" cy="717550"/>
          </a:xfrm>
          <a:prstGeom prst="rect">
            <a:avLst/>
          </a:prstGeom>
        </p:spPr>
        <p:txBody>
          <a:bodyPr/>
          <a:lstStyle/>
          <a:p>
            <a:r>
              <a:t>Slide Title</a:t>
            </a:r>
          </a:p>
        </p:txBody>
      </p:sp>
      <p:sp>
        <p:nvSpPr>
          <p:cNvPr id="84"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180494904"/>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99" name="Slide Title"/>
          <p:cNvSpPr txBox="1">
            <a:spLocks noGrp="1"/>
          </p:cNvSpPr>
          <p:nvPr>
            <p:ph type="title" hasCustomPrompt="1"/>
          </p:nvPr>
        </p:nvSpPr>
        <p:spPr>
          <a:xfrm>
            <a:off x="603250" y="539750"/>
            <a:ext cx="10985500" cy="717475"/>
          </a:xfrm>
          <a:prstGeom prst="rect">
            <a:avLst/>
          </a:prstGeom>
        </p:spPr>
        <p:txBody>
          <a:bodyPr/>
          <a:lstStyle/>
          <a:p>
            <a:r>
              <a:t>Slide Title</a:t>
            </a:r>
          </a:p>
        </p:txBody>
      </p:sp>
      <p:sp>
        <p:nvSpPr>
          <p:cNvPr id="100" name="Slide Subtitle"/>
          <p:cNvSpPr txBox="1">
            <a:spLocks noGrp="1"/>
          </p:cNvSpPr>
          <p:nvPr>
            <p:ph type="body" sz="quarter" idx="21" hasCustomPrompt="1"/>
          </p:nvPr>
        </p:nvSpPr>
        <p:spPr>
          <a:xfrm>
            <a:off x="603250" y="1186481"/>
            <a:ext cx="10985500" cy="467390"/>
          </a:xfrm>
          <a:prstGeom prst="rect">
            <a:avLst/>
          </a:prstGeom>
        </p:spPr>
        <p:txBody>
          <a:bodyPr lIns="22859" tIns="22859" rIns="22859" bIns="22859"/>
          <a:lstStyle>
            <a:lvl1pPr marL="0" indent="0" defTabSz="412750">
              <a:lnSpc>
                <a:spcPct val="100000"/>
              </a:lnSpc>
              <a:spcBef>
                <a:spcPts val="0"/>
              </a:spcBef>
              <a:buSzTx/>
              <a:buNone/>
              <a:defRPr sz="2600" b="1"/>
            </a:lvl1pPr>
          </a:lstStyle>
          <a:p>
            <a:r>
              <a:t>Slide Subtitle</a:t>
            </a:r>
          </a:p>
        </p:txBody>
      </p:sp>
      <p:sp>
        <p:nvSpPr>
          <p:cNvPr id="101"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845264600"/>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Agenda">
    <p:spTree>
      <p:nvGrpSpPr>
        <p:cNvPr id="1" name=""/>
        <p:cNvGrpSpPr/>
        <p:nvPr/>
      </p:nvGrpSpPr>
      <p:grpSpPr>
        <a:xfrm>
          <a:off x="0" y="0"/>
          <a:ext cx="0" cy="0"/>
          <a:chOff x="0" y="0"/>
          <a:chExt cx="0" cy="0"/>
        </a:xfrm>
      </p:grpSpPr>
      <p:sp>
        <p:nvSpPr>
          <p:cNvPr id="108" name="Agenda Title"/>
          <p:cNvSpPr txBox="1">
            <a:spLocks noGrp="1"/>
          </p:cNvSpPr>
          <p:nvPr>
            <p:ph type="title" hasCustomPrompt="1"/>
          </p:nvPr>
        </p:nvSpPr>
        <p:spPr>
          <a:xfrm>
            <a:off x="603250" y="539750"/>
            <a:ext cx="10985500" cy="717550"/>
          </a:xfrm>
          <a:prstGeom prst="rect">
            <a:avLst/>
          </a:prstGeom>
        </p:spPr>
        <p:txBody>
          <a:bodyPr/>
          <a:lstStyle/>
          <a:p>
            <a:r>
              <a:t>Agenda Title</a:t>
            </a:r>
          </a:p>
        </p:txBody>
      </p:sp>
      <p:sp>
        <p:nvSpPr>
          <p:cNvPr id="109" name="Agenda Subtitle"/>
          <p:cNvSpPr txBox="1">
            <a:spLocks noGrp="1"/>
          </p:cNvSpPr>
          <p:nvPr>
            <p:ph type="body" sz="quarter" idx="21" hasCustomPrompt="1"/>
          </p:nvPr>
        </p:nvSpPr>
        <p:spPr>
          <a:xfrm>
            <a:off x="603250" y="1186481"/>
            <a:ext cx="10985500" cy="467390"/>
          </a:xfrm>
          <a:prstGeom prst="rect">
            <a:avLst/>
          </a:prstGeom>
        </p:spPr>
        <p:txBody>
          <a:bodyPr lIns="22859" tIns="22859" rIns="22859" bIns="22859"/>
          <a:lstStyle>
            <a:lvl1pPr marL="0" indent="0" defTabSz="412750">
              <a:lnSpc>
                <a:spcPct val="100000"/>
              </a:lnSpc>
              <a:spcBef>
                <a:spcPts val="0"/>
              </a:spcBef>
              <a:buSzTx/>
              <a:buNone/>
              <a:defRPr sz="2600" b="1"/>
            </a:lvl1pPr>
          </a:lstStyle>
          <a:p>
            <a:r>
              <a:t>Agenda Subtitle</a:t>
            </a:r>
          </a:p>
        </p:txBody>
      </p:sp>
      <p:sp>
        <p:nvSpPr>
          <p:cNvPr id="110" name="Body Level One…"/>
          <p:cNvSpPr txBox="1">
            <a:spLocks noGrp="1"/>
          </p:cNvSpPr>
          <p:nvPr>
            <p:ph type="body" idx="1" hasCustomPrompt="1"/>
          </p:nvPr>
        </p:nvSpPr>
        <p:spPr>
          <a:prstGeom prst="rect">
            <a:avLst/>
          </a:prstGeom>
        </p:spPr>
        <p:txBody>
          <a:bodyPr/>
          <a:lstStyle>
            <a:lvl1pPr marL="0" indent="0" defTabSz="412750">
              <a:lnSpc>
                <a:spcPct val="100000"/>
              </a:lnSpc>
              <a:spcBef>
                <a:spcPts val="900"/>
              </a:spcBef>
              <a:buSzTx/>
              <a:buNone/>
              <a:defRPr sz="2600" spc="-26"/>
            </a:lvl1pPr>
            <a:lvl2pPr marL="0" indent="457200" defTabSz="412750">
              <a:lnSpc>
                <a:spcPct val="100000"/>
              </a:lnSpc>
              <a:spcBef>
                <a:spcPts val="900"/>
              </a:spcBef>
              <a:buSzTx/>
              <a:buNone/>
              <a:defRPr sz="2600" spc="-26"/>
            </a:lvl2pPr>
            <a:lvl3pPr marL="0" indent="914400" defTabSz="412750">
              <a:lnSpc>
                <a:spcPct val="100000"/>
              </a:lnSpc>
              <a:spcBef>
                <a:spcPts val="900"/>
              </a:spcBef>
              <a:buSzTx/>
              <a:buNone/>
              <a:defRPr sz="2600" spc="-26"/>
            </a:lvl3pPr>
            <a:lvl4pPr marL="0" indent="1371600" defTabSz="412750">
              <a:lnSpc>
                <a:spcPct val="100000"/>
              </a:lnSpc>
              <a:spcBef>
                <a:spcPts val="900"/>
              </a:spcBef>
              <a:buSzTx/>
              <a:buNone/>
              <a:defRPr sz="2600" spc="-26"/>
            </a:lvl4pPr>
            <a:lvl5pPr marL="0" indent="1828800" defTabSz="412750">
              <a:lnSpc>
                <a:spcPct val="100000"/>
              </a:lnSpc>
              <a:spcBef>
                <a:spcPts val="900"/>
              </a:spcBef>
              <a:buSzTx/>
              <a:buNone/>
              <a:defRPr sz="2600" spc="-26"/>
            </a:lvl5pPr>
          </a:lstStyle>
          <a:p>
            <a:r>
              <a:t>Agenda Topics</a:t>
            </a:r>
          </a:p>
          <a:p>
            <a:pPr lvl="1"/>
            <a:endParaRPr/>
          </a:p>
          <a:p>
            <a:pPr lvl="2"/>
            <a:endParaRPr/>
          </a:p>
          <a:p>
            <a:pPr lvl="3"/>
            <a:endParaRPr/>
          </a:p>
          <a:p>
            <a:pPr lvl="4"/>
            <a:endParaRPr/>
          </a:p>
        </p:txBody>
      </p:sp>
      <p:sp>
        <p:nvSpPr>
          <p:cNvPr id="111"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121793457"/>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Statement">
    <p:spTree>
      <p:nvGrpSpPr>
        <p:cNvPr id="1" name=""/>
        <p:cNvGrpSpPr/>
        <p:nvPr/>
      </p:nvGrpSpPr>
      <p:grpSpPr>
        <a:xfrm>
          <a:off x="0" y="0"/>
          <a:ext cx="0" cy="0"/>
          <a:chOff x="0" y="0"/>
          <a:chExt cx="0" cy="0"/>
        </a:xfrm>
      </p:grpSpPr>
      <p:sp>
        <p:nvSpPr>
          <p:cNvPr id="118" name="Body Level One…"/>
          <p:cNvSpPr txBox="1">
            <a:spLocks noGrp="1"/>
          </p:cNvSpPr>
          <p:nvPr>
            <p:ph type="body" sz="half" idx="1" hasCustomPrompt="1"/>
          </p:nvPr>
        </p:nvSpPr>
        <p:spPr>
          <a:xfrm>
            <a:off x="603250" y="2460421"/>
            <a:ext cx="10985500" cy="1937158"/>
          </a:xfrm>
          <a:prstGeom prst="rect">
            <a:avLst/>
          </a:prstGeom>
        </p:spPr>
        <p:txBody>
          <a:bodyPr anchor="ctr"/>
          <a:lstStyle>
            <a:lvl1pPr marL="0" indent="0" algn="ctr">
              <a:lnSpc>
                <a:spcPct val="80000"/>
              </a:lnSpc>
              <a:spcBef>
                <a:spcPts val="0"/>
              </a:spcBef>
              <a:buSzTx/>
              <a:buNone/>
              <a:defRPr sz="5800" spc="-116">
                <a:latin typeface="Helvetica Neue Medium"/>
                <a:ea typeface="Helvetica Neue Medium"/>
                <a:cs typeface="Helvetica Neue Medium"/>
                <a:sym typeface="Helvetica Neue Medium"/>
              </a:defRPr>
            </a:lvl1pPr>
            <a:lvl2pPr marL="0" indent="457200" algn="ctr">
              <a:lnSpc>
                <a:spcPct val="80000"/>
              </a:lnSpc>
              <a:spcBef>
                <a:spcPts val="0"/>
              </a:spcBef>
              <a:buSzTx/>
              <a:buNone/>
              <a:defRPr sz="5800" spc="-116">
                <a:latin typeface="Helvetica Neue Medium"/>
                <a:ea typeface="Helvetica Neue Medium"/>
                <a:cs typeface="Helvetica Neue Medium"/>
                <a:sym typeface="Helvetica Neue Medium"/>
              </a:defRPr>
            </a:lvl2pPr>
            <a:lvl3pPr marL="0" indent="914400" algn="ctr">
              <a:lnSpc>
                <a:spcPct val="80000"/>
              </a:lnSpc>
              <a:spcBef>
                <a:spcPts val="0"/>
              </a:spcBef>
              <a:buSzTx/>
              <a:buNone/>
              <a:defRPr sz="5800" spc="-116">
                <a:latin typeface="Helvetica Neue Medium"/>
                <a:ea typeface="Helvetica Neue Medium"/>
                <a:cs typeface="Helvetica Neue Medium"/>
                <a:sym typeface="Helvetica Neue Medium"/>
              </a:defRPr>
            </a:lvl3pPr>
            <a:lvl4pPr marL="0" indent="1371600" algn="ctr">
              <a:lnSpc>
                <a:spcPct val="80000"/>
              </a:lnSpc>
              <a:spcBef>
                <a:spcPts val="0"/>
              </a:spcBef>
              <a:buSzTx/>
              <a:buNone/>
              <a:defRPr sz="5800" spc="-116">
                <a:latin typeface="Helvetica Neue Medium"/>
                <a:ea typeface="Helvetica Neue Medium"/>
                <a:cs typeface="Helvetica Neue Medium"/>
                <a:sym typeface="Helvetica Neue Medium"/>
              </a:defRPr>
            </a:lvl4pPr>
            <a:lvl5pPr marL="0" indent="1828800" algn="ctr">
              <a:lnSpc>
                <a:spcPct val="80000"/>
              </a:lnSpc>
              <a:spcBef>
                <a:spcPts val="0"/>
              </a:spcBef>
              <a:buSzTx/>
              <a:buNone/>
              <a:defRPr sz="5800" spc="-116">
                <a:latin typeface="Helvetica Neue Medium"/>
                <a:ea typeface="Helvetica Neue Medium"/>
                <a:cs typeface="Helvetica Neue Medium"/>
                <a:sym typeface="Helvetica Neue Medium"/>
              </a:defRPr>
            </a:lvl5pPr>
          </a:lstStyle>
          <a:p>
            <a:r>
              <a:t>Statement</a:t>
            </a:r>
          </a:p>
          <a:p>
            <a:pPr lvl="1"/>
            <a:endParaRPr/>
          </a:p>
          <a:p>
            <a:pPr lvl="2"/>
            <a:endParaRPr/>
          </a:p>
          <a:p>
            <a:pPr lvl="3"/>
            <a:endParaRPr/>
          </a:p>
          <a:p>
            <a:pPr lvl="4"/>
            <a:endParaRPr/>
          </a:p>
        </p:txBody>
      </p:sp>
      <p:sp>
        <p:nvSpPr>
          <p:cNvPr id="119"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562007039"/>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x">
  <p:cSld name="Big Fact">
    <p:spTree>
      <p:nvGrpSpPr>
        <p:cNvPr id="1" name=""/>
        <p:cNvGrpSpPr/>
        <p:nvPr/>
      </p:nvGrpSpPr>
      <p:grpSpPr>
        <a:xfrm>
          <a:off x="0" y="0"/>
          <a:ext cx="0" cy="0"/>
          <a:chOff x="0" y="0"/>
          <a:chExt cx="0" cy="0"/>
        </a:xfrm>
      </p:grpSpPr>
      <p:sp>
        <p:nvSpPr>
          <p:cNvPr id="126" name="Body Level One…"/>
          <p:cNvSpPr txBox="1">
            <a:spLocks noGrp="1"/>
          </p:cNvSpPr>
          <p:nvPr>
            <p:ph type="body" idx="1" hasCustomPrompt="1"/>
          </p:nvPr>
        </p:nvSpPr>
        <p:spPr>
          <a:xfrm>
            <a:off x="603250" y="537963"/>
            <a:ext cx="10985500" cy="3620793"/>
          </a:xfrm>
          <a:prstGeom prst="rect">
            <a:avLst/>
          </a:prstGeom>
        </p:spPr>
        <p:txBody>
          <a:bodyPr anchor="b"/>
          <a:lstStyle>
            <a:lvl1pPr marL="0" indent="0" algn="ctr">
              <a:lnSpc>
                <a:spcPct val="80000"/>
              </a:lnSpc>
              <a:spcBef>
                <a:spcPts val="0"/>
              </a:spcBef>
              <a:buSzTx/>
              <a:buNone/>
              <a:defRPr sz="12400" b="1" spc="-124"/>
            </a:lvl1pPr>
            <a:lvl2pPr marL="0" indent="457200" algn="ctr">
              <a:lnSpc>
                <a:spcPct val="80000"/>
              </a:lnSpc>
              <a:spcBef>
                <a:spcPts val="0"/>
              </a:spcBef>
              <a:buSzTx/>
              <a:buNone/>
              <a:defRPr sz="12400" b="1" spc="-124"/>
            </a:lvl2pPr>
            <a:lvl3pPr marL="0" indent="914400" algn="ctr">
              <a:lnSpc>
                <a:spcPct val="80000"/>
              </a:lnSpc>
              <a:spcBef>
                <a:spcPts val="0"/>
              </a:spcBef>
              <a:buSzTx/>
              <a:buNone/>
              <a:defRPr sz="12400" b="1" spc="-124"/>
            </a:lvl3pPr>
            <a:lvl4pPr marL="0" indent="1371600" algn="ctr">
              <a:lnSpc>
                <a:spcPct val="80000"/>
              </a:lnSpc>
              <a:spcBef>
                <a:spcPts val="0"/>
              </a:spcBef>
              <a:buSzTx/>
              <a:buNone/>
              <a:defRPr sz="12400" b="1" spc="-124"/>
            </a:lvl4pPr>
            <a:lvl5pPr marL="0" indent="1828800" algn="ctr">
              <a:lnSpc>
                <a:spcPct val="80000"/>
              </a:lnSpc>
              <a:spcBef>
                <a:spcPts val="0"/>
              </a:spcBef>
              <a:buSzTx/>
              <a:buNone/>
              <a:defRPr sz="12400" b="1" spc="-124"/>
            </a:lvl5pPr>
          </a:lstStyle>
          <a:p>
            <a:r>
              <a:t>100%</a:t>
            </a:r>
          </a:p>
          <a:p>
            <a:pPr lvl="1"/>
            <a:endParaRPr/>
          </a:p>
          <a:p>
            <a:pPr lvl="2"/>
            <a:endParaRPr/>
          </a:p>
          <a:p>
            <a:pPr lvl="3"/>
            <a:endParaRPr/>
          </a:p>
          <a:p>
            <a:pPr lvl="4"/>
            <a:endParaRPr/>
          </a:p>
        </p:txBody>
      </p:sp>
      <p:sp>
        <p:nvSpPr>
          <p:cNvPr id="127" name="Fact information"/>
          <p:cNvSpPr txBox="1">
            <a:spLocks noGrp="1"/>
          </p:cNvSpPr>
          <p:nvPr>
            <p:ph type="body" sz="quarter" idx="21" hasCustomPrompt="1"/>
          </p:nvPr>
        </p:nvSpPr>
        <p:spPr>
          <a:xfrm>
            <a:off x="603250" y="4131090"/>
            <a:ext cx="10985500" cy="467390"/>
          </a:xfrm>
          <a:prstGeom prst="rect">
            <a:avLst/>
          </a:prstGeom>
        </p:spPr>
        <p:txBody>
          <a:bodyPr lIns="22859" tIns="22859" rIns="22859" bIns="22859"/>
          <a:lstStyle>
            <a:lvl1pPr marL="0" indent="0" algn="ctr" defTabSz="412750">
              <a:lnSpc>
                <a:spcPct val="100000"/>
              </a:lnSpc>
              <a:spcBef>
                <a:spcPts val="0"/>
              </a:spcBef>
              <a:buSzTx/>
              <a:buNone/>
              <a:defRPr sz="2600" b="1"/>
            </a:lvl1pPr>
          </a:lstStyle>
          <a:p>
            <a:r>
              <a:t>Fact information</a:t>
            </a:r>
          </a:p>
        </p:txBody>
      </p:sp>
      <p:sp>
        <p:nvSpPr>
          <p:cNvPr id="128"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677263383"/>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Θέση ημερομηνίας 1"/>
          <p:cNvSpPr>
            <a:spLocks noGrp="1"/>
          </p:cNvSpPr>
          <p:nvPr>
            <p:ph type="dt" sz="half" idx="10"/>
          </p:nvPr>
        </p:nvSpPr>
        <p:spPr/>
        <p:txBody>
          <a:bodyPr/>
          <a:lstStyle/>
          <a:p>
            <a:fld id="{52B69728-13CB-4FA4-904D-CF5C4C899BE6}" type="datetimeFigureOut">
              <a:rPr lang="el-GR" smtClean="0"/>
              <a:pPr/>
              <a:t>23/7/2025</a:t>
            </a:fld>
            <a:endParaRPr lang="el-GR"/>
          </a:p>
        </p:txBody>
      </p:sp>
      <p:sp>
        <p:nvSpPr>
          <p:cNvPr id="3" name="Θέση υποσέλιδου 2"/>
          <p:cNvSpPr>
            <a:spLocks noGrp="1"/>
          </p:cNvSpPr>
          <p:nvPr>
            <p:ph type="ftr" sz="quarter" idx="11"/>
          </p:nvPr>
        </p:nvSpPr>
        <p:spPr/>
        <p:txBody>
          <a:bodyPr/>
          <a:lstStyle/>
          <a:p>
            <a:endParaRPr lang="el-GR"/>
          </a:p>
        </p:txBody>
      </p:sp>
      <p:sp>
        <p:nvSpPr>
          <p:cNvPr id="4" name="Θέση αριθμού διαφάνειας 3"/>
          <p:cNvSpPr>
            <a:spLocks noGrp="1"/>
          </p:cNvSpPr>
          <p:nvPr>
            <p:ph type="sldNum" sz="quarter" idx="12"/>
          </p:nvPr>
        </p:nvSpPr>
        <p:spPr/>
        <p:txBody>
          <a:bodyPr/>
          <a:lstStyle/>
          <a:p>
            <a:fld id="{492F0BFE-09C8-4C53-B8F5-44730026CF66}" type="slidenum">
              <a:rPr lang="el-GR" smtClean="0"/>
              <a:pPr/>
              <a:t>‹#›</a:t>
            </a:fld>
            <a:endParaRPr lang="el-G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135" name="Attribution"/>
          <p:cNvSpPr txBox="1">
            <a:spLocks noGrp="1"/>
          </p:cNvSpPr>
          <p:nvPr>
            <p:ph type="body" sz="quarter" idx="21" hasCustomPrompt="1"/>
          </p:nvPr>
        </p:nvSpPr>
        <p:spPr>
          <a:xfrm>
            <a:off x="1215012" y="5337726"/>
            <a:ext cx="10100027" cy="318490"/>
          </a:xfrm>
          <a:prstGeom prst="rect">
            <a:avLst/>
          </a:prstGeom>
        </p:spPr>
        <p:txBody>
          <a:bodyPr lIns="22859" tIns="22859" rIns="22859" bIns="22859"/>
          <a:lstStyle>
            <a:lvl1pPr marL="0" indent="0" defTabSz="408622">
              <a:lnSpc>
                <a:spcPct val="100000"/>
              </a:lnSpc>
              <a:spcBef>
                <a:spcPts val="0"/>
              </a:spcBef>
              <a:buSzTx/>
              <a:buNone/>
              <a:defRPr sz="1782" b="1"/>
            </a:lvl1pPr>
          </a:lstStyle>
          <a:p>
            <a:r>
              <a:t>Attribution</a:t>
            </a:r>
          </a:p>
        </p:txBody>
      </p:sp>
      <p:sp>
        <p:nvSpPr>
          <p:cNvPr id="136" name="Body Level One…"/>
          <p:cNvSpPr txBox="1">
            <a:spLocks noGrp="1"/>
          </p:cNvSpPr>
          <p:nvPr>
            <p:ph type="body" sz="half" idx="1" hasCustomPrompt="1"/>
          </p:nvPr>
        </p:nvSpPr>
        <p:spPr>
          <a:xfrm>
            <a:off x="876961" y="2469930"/>
            <a:ext cx="10438078" cy="1918140"/>
          </a:xfrm>
          <a:prstGeom prst="rect">
            <a:avLst/>
          </a:prstGeom>
        </p:spPr>
        <p:txBody>
          <a:bodyPr/>
          <a:lstStyle>
            <a:lvl1pPr marL="319461" indent="-234950">
              <a:spcBef>
                <a:spcPts val="0"/>
              </a:spcBef>
              <a:buSzTx/>
              <a:buNone/>
              <a:defRPr sz="4200" spc="-84">
                <a:latin typeface="Helvetica Neue Medium"/>
                <a:ea typeface="Helvetica Neue Medium"/>
                <a:cs typeface="Helvetica Neue Medium"/>
                <a:sym typeface="Helvetica Neue Medium"/>
              </a:defRPr>
            </a:lvl1pPr>
            <a:lvl2pPr marL="319461" indent="222250">
              <a:spcBef>
                <a:spcPts val="0"/>
              </a:spcBef>
              <a:buSzTx/>
              <a:buNone/>
              <a:defRPr sz="4200" spc="-84">
                <a:latin typeface="Helvetica Neue Medium"/>
                <a:ea typeface="Helvetica Neue Medium"/>
                <a:cs typeface="Helvetica Neue Medium"/>
                <a:sym typeface="Helvetica Neue Medium"/>
              </a:defRPr>
            </a:lvl2pPr>
            <a:lvl3pPr marL="319461" indent="679450">
              <a:spcBef>
                <a:spcPts val="0"/>
              </a:spcBef>
              <a:buSzTx/>
              <a:buNone/>
              <a:defRPr sz="4200" spc="-84">
                <a:latin typeface="Helvetica Neue Medium"/>
                <a:ea typeface="Helvetica Neue Medium"/>
                <a:cs typeface="Helvetica Neue Medium"/>
                <a:sym typeface="Helvetica Neue Medium"/>
              </a:defRPr>
            </a:lvl3pPr>
            <a:lvl4pPr marL="319461" indent="1136650">
              <a:spcBef>
                <a:spcPts val="0"/>
              </a:spcBef>
              <a:buSzTx/>
              <a:buNone/>
              <a:defRPr sz="4200" spc="-84">
                <a:latin typeface="Helvetica Neue Medium"/>
                <a:ea typeface="Helvetica Neue Medium"/>
                <a:cs typeface="Helvetica Neue Medium"/>
                <a:sym typeface="Helvetica Neue Medium"/>
              </a:defRPr>
            </a:lvl4pPr>
            <a:lvl5pPr marL="319461" indent="1593850">
              <a:spcBef>
                <a:spcPts val="0"/>
              </a:spcBef>
              <a:buSzTx/>
              <a:buNone/>
              <a:defRPr sz="4200" spc="-84">
                <a:latin typeface="Helvetica Neue Medium"/>
                <a:ea typeface="Helvetica Neue Medium"/>
                <a:cs typeface="Helvetica Neue Medium"/>
                <a:sym typeface="Helvetica Neue Medium"/>
              </a:defRPr>
            </a:lvl5pPr>
          </a:lstStyle>
          <a:p>
            <a:r>
              <a:t>“Notable Quote”</a:t>
            </a:r>
          </a:p>
          <a:p>
            <a:pPr lvl="1"/>
            <a:endParaRPr/>
          </a:p>
          <a:p>
            <a:pPr lvl="2"/>
            <a:endParaRPr/>
          </a:p>
          <a:p>
            <a:pPr lvl="3"/>
            <a:endParaRPr/>
          </a:p>
          <a:p>
            <a:pPr lvl="4"/>
            <a:endParaRPr/>
          </a:p>
        </p:txBody>
      </p:sp>
      <p:sp>
        <p:nvSpPr>
          <p:cNvPr id="137"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229206760"/>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144" name="Bowl of salad with fried rice, boiled eggs and chopsticks"/>
          <p:cNvSpPr>
            <a:spLocks noGrp="1"/>
          </p:cNvSpPr>
          <p:nvPr>
            <p:ph type="pic" sz="quarter" idx="21"/>
          </p:nvPr>
        </p:nvSpPr>
        <p:spPr>
          <a:xfrm>
            <a:off x="7880350" y="508000"/>
            <a:ext cx="3719550" cy="2974839"/>
          </a:xfrm>
          <a:prstGeom prst="rect">
            <a:avLst/>
          </a:prstGeom>
        </p:spPr>
        <p:txBody>
          <a:bodyPr lIns="91439" tIns="45719" rIns="91439" bIns="45719">
            <a:noAutofit/>
          </a:bodyPr>
          <a:lstStyle/>
          <a:p>
            <a:endParaRPr/>
          </a:p>
        </p:txBody>
      </p:sp>
      <p:sp>
        <p:nvSpPr>
          <p:cNvPr id="145" name="Bowl with salmon cakes, salad and houmous "/>
          <p:cNvSpPr>
            <a:spLocks noGrp="1"/>
          </p:cNvSpPr>
          <p:nvPr>
            <p:ph type="pic" sz="half" idx="22"/>
          </p:nvPr>
        </p:nvSpPr>
        <p:spPr>
          <a:xfrm>
            <a:off x="6750050" y="1989137"/>
            <a:ext cx="5219700" cy="6075091"/>
          </a:xfrm>
          <a:prstGeom prst="rect">
            <a:avLst/>
          </a:prstGeom>
        </p:spPr>
        <p:txBody>
          <a:bodyPr lIns="91439" tIns="45719" rIns="91439" bIns="45719">
            <a:noAutofit/>
          </a:bodyPr>
          <a:lstStyle/>
          <a:p>
            <a:endParaRPr/>
          </a:p>
        </p:txBody>
      </p:sp>
      <p:sp>
        <p:nvSpPr>
          <p:cNvPr id="146" name="Bowl of pappardelle pasta with parsley butter, roasted hazelnuts and shaved parmesan cheese"/>
          <p:cNvSpPr>
            <a:spLocks noGrp="1"/>
          </p:cNvSpPr>
          <p:nvPr>
            <p:ph type="pic" idx="23"/>
          </p:nvPr>
        </p:nvSpPr>
        <p:spPr>
          <a:xfrm>
            <a:off x="-69850" y="247650"/>
            <a:ext cx="8305800" cy="6229350"/>
          </a:xfrm>
          <a:prstGeom prst="rect">
            <a:avLst/>
          </a:prstGeom>
        </p:spPr>
        <p:txBody>
          <a:bodyPr lIns="91439" tIns="45719" rIns="91439" bIns="45719">
            <a:noAutofit/>
          </a:bodyPr>
          <a:lstStyle/>
          <a:p>
            <a:endParaRPr/>
          </a:p>
        </p:txBody>
      </p:sp>
      <p:sp>
        <p:nvSpPr>
          <p:cNvPr id="147"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228386030"/>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54" name="bowl of salad with fried rice, boiled eggs and chopsticks"/>
          <p:cNvSpPr>
            <a:spLocks noGrp="1"/>
          </p:cNvSpPr>
          <p:nvPr>
            <p:ph type="pic" idx="21"/>
          </p:nvPr>
        </p:nvSpPr>
        <p:spPr>
          <a:xfrm>
            <a:off x="-666750" y="-2762250"/>
            <a:ext cx="13525500" cy="10820400"/>
          </a:xfrm>
          <a:prstGeom prst="rect">
            <a:avLst/>
          </a:prstGeom>
        </p:spPr>
        <p:txBody>
          <a:bodyPr lIns="91439" tIns="45719" rIns="91439" bIns="45719">
            <a:noAutofit/>
          </a:bodyPr>
          <a:lstStyle/>
          <a:p>
            <a:endParaRPr/>
          </a:p>
        </p:txBody>
      </p:sp>
      <p:sp>
        <p:nvSpPr>
          <p:cNvPr id="155"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pPr/>
              <a:t>‹#›</a:t>
            </a:fld>
            <a:endParaRPr/>
          </a:p>
        </p:txBody>
      </p:sp>
    </p:spTree>
    <p:extLst>
      <p:ext uri="{BB962C8B-B14F-4D97-AF65-F5344CB8AC3E}">
        <p14:creationId xmlns:p14="http://schemas.microsoft.com/office/powerpoint/2010/main" val="2460015036"/>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62"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468970474"/>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type="tx">
  <p:cSld name="3_Title Slide">
    <p:spTree>
      <p:nvGrpSpPr>
        <p:cNvPr id="1" name=""/>
        <p:cNvGrpSpPr/>
        <p:nvPr/>
      </p:nvGrpSpPr>
      <p:grpSpPr>
        <a:xfrm>
          <a:off x="0" y="0"/>
          <a:ext cx="0" cy="0"/>
          <a:chOff x="0" y="0"/>
          <a:chExt cx="0" cy="0"/>
        </a:xfrm>
      </p:grpSpPr>
      <p:sp>
        <p:nvSpPr>
          <p:cNvPr id="179" name="Google Shape;91;p125"/>
          <p:cNvSpPr/>
          <p:nvPr/>
        </p:nvSpPr>
        <p:spPr>
          <a:xfrm>
            <a:off x="3175" y="2608637"/>
            <a:ext cx="6858001" cy="424936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solidFill>
            <a:srgbClr val="013476"/>
          </a:solidFill>
          <a:ln w="3175">
            <a:miter lim="400000"/>
          </a:ln>
        </p:spPr>
        <p:txBody>
          <a:bodyPr lIns="45719" rIns="45719" anchor="ctr"/>
          <a:lstStyle/>
          <a:p>
            <a:pPr algn="ctr" defTabSz="914400">
              <a:lnSpc>
                <a:spcPct val="100000"/>
              </a:lnSpc>
              <a:spcBef>
                <a:spcPts val="0"/>
              </a:spcBef>
              <a:defRPr sz="1400">
                <a:solidFill>
                  <a:srgbClr val="FFFFFF"/>
                </a:solidFill>
                <a:latin typeface="Arial"/>
                <a:ea typeface="Arial"/>
                <a:cs typeface="Arial"/>
                <a:sym typeface="Arial"/>
              </a:defRPr>
            </a:pPr>
            <a:endParaRPr/>
          </a:p>
        </p:txBody>
      </p:sp>
      <p:pic>
        <p:nvPicPr>
          <p:cNvPr id="180" name="Google Shape;92;p125" descr="Google Shape;92;p125"/>
          <p:cNvPicPr>
            <a:picLocks noChangeAspect="1"/>
          </p:cNvPicPr>
          <p:nvPr/>
        </p:nvPicPr>
        <p:blipFill>
          <a:blip r:embed="rId2"/>
          <a:srcRect l="2184" t="6084" r="87330" b="75016"/>
          <a:stretch>
            <a:fillRect/>
          </a:stretch>
        </p:blipFill>
        <p:spPr>
          <a:xfrm>
            <a:off x="869969" y="5228948"/>
            <a:ext cx="1157602" cy="1173679"/>
          </a:xfrm>
          <a:prstGeom prst="rect">
            <a:avLst/>
          </a:prstGeom>
          <a:ln w="3175">
            <a:miter lim="400000"/>
          </a:ln>
        </p:spPr>
      </p:pic>
      <p:sp>
        <p:nvSpPr>
          <p:cNvPr id="181" name="Slide Number"/>
          <p:cNvSpPr txBox="1">
            <a:spLocks noGrp="1"/>
          </p:cNvSpPr>
          <p:nvPr>
            <p:ph type="sldNum" sz="quarter" idx="2"/>
          </p:nvPr>
        </p:nvSpPr>
        <p:spPr>
          <a:xfrm>
            <a:off x="5892800" y="6172200"/>
            <a:ext cx="2844800" cy="368301"/>
          </a:xfrm>
          <a:prstGeom prst="rect">
            <a:avLst/>
          </a:prstGeom>
        </p:spPr>
        <p:txBody>
          <a:bodyPr lIns="45719" tIns="45719" rIns="45719" bIns="45719" anchor="ctr"/>
          <a:lstStyle>
            <a:lvl1pPr algn="r" defTabSz="914400">
              <a:defRPr sz="1200">
                <a:solidFill>
                  <a:srgbClr val="888888"/>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196037965"/>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tx">
  <p:cSld name="4_Title Slide">
    <p:spTree>
      <p:nvGrpSpPr>
        <p:cNvPr id="1" name=""/>
        <p:cNvGrpSpPr/>
        <p:nvPr/>
      </p:nvGrpSpPr>
      <p:grpSpPr>
        <a:xfrm>
          <a:off x="0" y="0"/>
          <a:ext cx="0" cy="0"/>
          <a:chOff x="0" y="0"/>
          <a:chExt cx="0" cy="0"/>
        </a:xfrm>
      </p:grpSpPr>
      <p:sp>
        <p:nvSpPr>
          <p:cNvPr id="198" name="Google Shape;91;p125"/>
          <p:cNvSpPr/>
          <p:nvPr/>
        </p:nvSpPr>
        <p:spPr>
          <a:xfrm>
            <a:off x="3175" y="2608637"/>
            <a:ext cx="6858001" cy="424936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solidFill>
            <a:srgbClr val="013476"/>
          </a:solidFill>
          <a:ln w="3175">
            <a:miter lim="400000"/>
          </a:ln>
        </p:spPr>
        <p:txBody>
          <a:bodyPr lIns="45718" tIns="45718" rIns="45718" bIns="45718" anchor="ctr"/>
          <a:lstStyle/>
          <a:p>
            <a:pPr algn="ctr" defTabSz="914400">
              <a:lnSpc>
                <a:spcPct val="100000"/>
              </a:lnSpc>
              <a:spcBef>
                <a:spcPts val="0"/>
              </a:spcBef>
              <a:defRPr sz="1400">
                <a:solidFill>
                  <a:srgbClr val="FFFFFF"/>
                </a:solidFill>
                <a:latin typeface="Arial"/>
                <a:ea typeface="Arial"/>
                <a:cs typeface="Arial"/>
                <a:sym typeface="Arial"/>
              </a:defRPr>
            </a:pPr>
            <a:endParaRPr/>
          </a:p>
        </p:txBody>
      </p:sp>
      <p:pic>
        <p:nvPicPr>
          <p:cNvPr id="199" name="Google Shape;92;p125" descr="Google Shape;92;p125"/>
          <p:cNvPicPr>
            <a:picLocks noChangeAspect="1"/>
          </p:cNvPicPr>
          <p:nvPr/>
        </p:nvPicPr>
        <p:blipFill>
          <a:blip r:embed="rId2"/>
          <a:srcRect l="2185" t="6084" r="87330" b="75016"/>
          <a:stretch>
            <a:fillRect/>
          </a:stretch>
        </p:blipFill>
        <p:spPr>
          <a:xfrm>
            <a:off x="869968" y="5228948"/>
            <a:ext cx="1157604" cy="1173680"/>
          </a:xfrm>
          <a:prstGeom prst="rect">
            <a:avLst/>
          </a:prstGeom>
          <a:ln w="3175">
            <a:miter lim="400000"/>
          </a:ln>
        </p:spPr>
      </p:pic>
      <p:sp>
        <p:nvSpPr>
          <p:cNvPr id="200" name="Slide Number"/>
          <p:cNvSpPr txBox="1">
            <a:spLocks noGrp="1"/>
          </p:cNvSpPr>
          <p:nvPr>
            <p:ph type="sldNum" sz="quarter" idx="2"/>
          </p:nvPr>
        </p:nvSpPr>
        <p:spPr>
          <a:xfrm>
            <a:off x="8478978" y="6221731"/>
            <a:ext cx="258623" cy="269239"/>
          </a:xfrm>
          <a:prstGeom prst="rect">
            <a:avLst/>
          </a:prstGeom>
        </p:spPr>
        <p:txBody>
          <a:bodyPr lIns="45718" tIns="45718" rIns="45718" bIns="45718" anchor="ctr"/>
          <a:lstStyle>
            <a:lvl1pPr algn="r" defTabSz="914400">
              <a:defRPr sz="1200">
                <a:solidFill>
                  <a:srgbClr val="888888"/>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3328537723"/>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07"/>
        <p:cNvGrpSpPr/>
        <p:nvPr/>
      </p:nvGrpSpPr>
      <p:grpSpPr>
        <a:xfrm>
          <a:off x="0" y="0"/>
          <a:ext cx="0" cy="0"/>
          <a:chOff x="0" y="0"/>
          <a:chExt cx="0" cy="0"/>
        </a:xfrm>
      </p:grpSpPr>
      <p:sp>
        <p:nvSpPr>
          <p:cNvPr id="108" name="Google Shape;108;p38"/>
          <p:cNvSpPr txBox="1">
            <a:spLocks noGrp="1"/>
          </p:cNvSpPr>
          <p:nvPr>
            <p:ph type="title"/>
          </p:nvPr>
        </p:nvSpPr>
        <p:spPr>
          <a:xfrm>
            <a:off x="344311" y="263525"/>
            <a:ext cx="11503378" cy="605719"/>
          </a:xfrm>
          <a:prstGeom prst="rect">
            <a:avLst/>
          </a:prstGeom>
          <a:solidFill>
            <a:srgbClr val="143F6A"/>
          </a:solid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53356"/>
              </a:buClr>
              <a:buSzPts val="3200"/>
              <a:buFont typeface="Helvetica Neue"/>
              <a:buNone/>
              <a:defRPr b="1">
                <a:solidFill>
                  <a:schemeClr val="lt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Section">
    <p:spTree>
      <p:nvGrpSpPr>
        <p:cNvPr id="1" name=""/>
        <p:cNvGrpSpPr/>
        <p:nvPr/>
      </p:nvGrpSpPr>
      <p:grpSpPr>
        <a:xfrm>
          <a:off x="0" y="0"/>
          <a:ext cx="0" cy="0"/>
          <a:chOff x="0" y="0"/>
          <a:chExt cx="0" cy="0"/>
        </a:xfrm>
      </p:grpSpPr>
      <p:sp>
        <p:nvSpPr>
          <p:cNvPr id="91" name="Section Title"/>
          <p:cNvSpPr txBox="1">
            <a:spLocks noGrp="1"/>
          </p:cNvSpPr>
          <p:nvPr>
            <p:ph type="title" hasCustomPrompt="1"/>
          </p:nvPr>
        </p:nvSpPr>
        <p:spPr>
          <a:xfrm>
            <a:off x="603248" y="2266950"/>
            <a:ext cx="10985502" cy="2324100"/>
          </a:xfrm>
          <a:prstGeom prst="rect">
            <a:avLst/>
          </a:prstGeom>
        </p:spPr>
        <p:txBody>
          <a:bodyPr anchor="ctr"/>
          <a:lstStyle>
            <a:lvl1pPr>
              <a:defRPr sz="5800" b="0" spc="-116">
                <a:latin typeface="Helvetica Neue Medium"/>
                <a:ea typeface="Helvetica Neue Medium"/>
                <a:cs typeface="Helvetica Neue Medium"/>
                <a:sym typeface="Helvetica Neue Medium"/>
              </a:defRPr>
            </a:lvl1pPr>
          </a:lstStyle>
          <a:p>
            <a:r>
              <a:t>Section Title</a:t>
            </a:r>
          </a:p>
        </p:txBody>
      </p:sp>
      <p:sp>
        <p:nvSpPr>
          <p:cNvPr id="92" name="Slide Number"/>
          <p:cNvSpPr txBox="1">
            <a:spLocks noGrp="1"/>
          </p:cNvSpPr>
          <p:nvPr>
            <p:ph type="sldNum" sz="quarter" idx="2"/>
          </p:nvPr>
        </p:nvSpPr>
        <p:spPr>
          <a:xfrm>
            <a:off x="5997574" y="6542616"/>
            <a:ext cx="190603" cy="187301"/>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837017057"/>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DEFAULT">
  <p:cSld name="DEFAULT">
    <p:bg>
      <p:bgPr>
        <a:solidFill>
          <a:schemeClr val="lt1"/>
        </a:solidFill>
        <a:effectLst/>
      </p:bgPr>
    </p:bg>
    <p:spTree>
      <p:nvGrpSpPr>
        <p:cNvPr id="1" name="Shape 10"/>
        <p:cNvGrpSpPr/>
        <p:nvPr/>
      </p:nvGrpSpPr>
      <p:grpSpPr>
        <a:xfrm>
          <a:off x="0" y="0"/>
          <a:ext cx="0" cy="0"/>
          <a:chOff x="0" y="0"/>
          <a:chExt cx="0" cy="0"/>
        </a:xfrm>
      </p:grpSpPr>
    </p:spTree>
    <p:extLst>
      <p:ext uri="{BB962C8B-B14F-4D97-AF65-F5344CB8AC3E}">
        <p14:creationId xmlns:p14="http://schemas.microsoft.com/office/powerpoint/2010/main" val="15718767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cSld name="Μόνο τίτλος">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Στυλ κύριου τίτλου</a:t>
            </a:r>
          </a:p>
        </p:txBody>
      </p:sp>
      <p:sp>
        <p:nvSpPr>
          <p:cNvPr id="3" name="Θέση ημερομηνίας 2"/>
          <p:cNvSpPr>
            <a:spLocks noGrp="1"/>
          </p:cNvSpPr>
          <p:nvPr>
            <p:ph type="dt" sz="half" idx="10"/>
          </p:nvPr>
        </p:nvSpPr>
        <p:spPr/>
        <p:txBody>
          <a:bodyPr/>
          <a:lstStyle/>
          <a:p>
            <a:pPr>
              <a:buClr>
                <a:srgbClr val="000000"/>
              </a:buClr>
              <a:buFont typeface="Arial"/>
              <a:buNone/>
            </a:pPr>
            <a:fld id="{52B69728-13CB-4FA4-904D-CF5C4C899BE6}" type="datetimeFigureOut">
              <a:rPr lang="el-GR" sz="933" kern="0">
                <a:solidFill>
                  <a:srgbClr val="000000"/>
                </a:solidFill>
                <a:cs typeface="Arial"/>
                <a:sym typeface="Arial"/>
              </a:rPr>
              <a:pPr>
                <a:buClr>
                  <a:srgbClr val="000000"/>
                </a:buClr>
                <a:buFont typeface="Arial"/>
                <a:buNone/>
              </a:pPr>
              <a:t>23/7/2025</a:t>
            </a:fld>
            <a:endParaRPr lang="el-GR" sz="933" kern="0">
              <a:solidFill>
                <a:srgbClr val="000000"/>
              </a:solidFill>
              <a:cs typeface="Arial"/>
              <a:sym typeface="Arial"/>
            </a:endParaRPr>
          </a:p>
        </p:txBody>
      </p:sp>
      <p:sp>
        <p:nvSpPr>
          <p:cNvPr id="4" name="Θέση υποσέλιδου 3"/>
          <p:cNvSpPr>
            <a:spLocks noGrp="1"/>
          </p:cNvSpPr>
          <p:nvPr>
            <p:ph type="ftr" sz="quarter" idx="11"/>
          </p:nvPr>
        </p:nvSpPr>
        <p:spPr/>
        <p:txBody>
          <a:bodyPr/>
          <a:lstStyle/>
          <a:p>
            <a:pPr>
              <a:buClr>
                <a:srgbClr val="000000"/>
              </a:buClr>
              <a:buFont typeface="Arial"/>
              <a:buNone/>
            </a:pPr>
            <a:endParaRPr lang="el-GR" sz="933" kern="0">
              <a:solidFill>
                <a:srgbClr val="000000"/>
              </a:solidFill>
              <a:cs typeface="Arial"/>
              <a:sym typeface="Arial"/>
            </a:endParaRPr>
          </a:p>
        </p:txBody>
      </p:sp>
      <p:sp>
        <p:nvSpPr>
          <p:cNvPr id="5" name="Θέση αριθμού διαφάνειας 4"/>
          <p:cNvSpPr>
            <a:spLocks noGrp="1"/>
          </p:cNvSpPr>
          <p:nvPr>
            <p:ph type="sldNum" sz="quarter" idx="12"/>
          </p:nvPr>
        </p:nvSpPr>
        <p:spPr/>
        <p:txBody>
          <a:bodyPr/>
          <a:lstStyle/>
          <a:p>
            <a:pPr>
              <a:buClr>
                <a:srgbClr val="000000"/>
              </a:buClr>
              <a:buFont typeface="Arial"/>
              <a:buNone/>
            </a:pPr>
            <a:fld id="{492F0BFE-09C8-4C53-B8F5-44730026CF66}" type="slidenum">
              <a:rPr lang="el-GR" sz="933" kern="0">
                <a:solidFill>
                  <a:srgbClr val="000000"/>
                </a:solidFill>
                <a:cs typeface="Arial"/>
                <a:sym typeface="Arial"/>
              </a:rPr>
              <a:pPr>
                <a:buClr>
                  <a:srgbClr val="000000"/>
                </a:buClr>
                <a:buFont typeface="Arial"/>
                <a:buNone/>
              </a:pPr>
              <a:t>‹#›</a:t>
            </a:fld>
            <a:endParaRPr lang="el-GR" sz="933" kern="0">
              <a:solidFill>
                <a:srgbClr val="000000"/>
              </a:solidFill>
              <a:cs typeface="Arial"/>
              <a:sym typeface="Arial"/>
            </a:endParaRPr>
          </a:p>
        </p:txBody>
      </p:sp>
    </p:spTree>
    <p:extLst>
      <p:ext uri="{BB962C8B-B14F-4D97-AF65-F5344CB8AC3E}">
        <p14:creationId xmlns:p14="http://schemas.microsoft.com/office/powerpoint/2010/main" val="709125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a:xfrm>
            <a:off x="839788" y="457200"/>
            <a:ext cx="3932237" cy="1600200"/>
          </a:xfrm>
        </p:spPr>
        <p:txBody>
          <a:bodyPr anchor="b"/>
          <a:lstStyle>
            <a:lvl1pPr>
              <a:defRPr sz="3200"/>
            </a:lvl1pPr>
          </a:lstStyle>
          <a:p>
            <a:r>
              <a:rPr lang="el-GR"/>
              <a:t>Στυλ κύριου τίτλου</a:t>
            </a:r>
          </a:p>
        </p:txBody>
      </p:sp>
      <p:sp>
        <p:nvSpPr>
          <p:cNvPr id="3" name="Θέση περιεχομένου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κειμένου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Επεξεργασία στυλ υποδείγματος κειμένου</a:t>
            </a:r>
          </a:p>
        </p:txBody>
      </p:sp>
      <p:sp>
        <p:nvSpPr>
          <p:cNvPr id="5" name="Θέση ημερομηνίας 4"/>
          <p:cNvSpPr>
            <a:spLocks noGrp="1"/>
          </p:cNvSpPr>
          <p:nvPr>
            <p:ph type="dt" sz="half" idx="10"/>
          </p:nvPr>
        </p:nvSpPr>
        <p:spPr/>
        <p:txBody>
          <a:bodyPr/>
          <a:lstStyle/>
          <a:p>
            <a:fld id="{52B69728-13CB-4FA4-904D-CF5C4C899BE6}" type="datetimeFigureOut">
              <a:rPr lang="el-GR" smtClean="0"/>
              <a:pPr/>
              <a:t>23/7/2025</a:t>
            </a:fld>
            <a:endParaRPr lang="el-GR"/>
          </a:p>
        </p:txBody>
      </p:sp>
      <p:sp>
        <p:nvSpPr>
          <p:cNvPr id="6" name="Θέση υποσέλιδου 5"/>
          <p:cNvSpPr>
            <a:spLocks noGrp="1"/>
          </p:cNvSpPr>
          <p:nvPr>
            <p:ph type="ftr" sz="quarter" idx="11"/>
          </p:nvPr>
        </p:nvSpPr>
        <p:spPr/>
        <p:txBody>
          <a:bodyPr/>
          <a:lstStyle/>
          <a:p>
            <a:endParaRPr lang="el-GR"/>
          </a:p>
        </p:txBody>
      </p:sp>
      <p:sp>
        <p:nvSpPr>
          <p:cNvPr id="7" name="Θέση αριθμού διαφάνειας 6"/>
          <p:cNvSpPr>
            <a:spLocks noGrp="1"/>
          </p:cNvSpPr>
          <p:nvPr>
            <p:ph type="sldNum" sz="quarter" idx="12"/>
          </p:nvPr>
        </p:nvSpPr>
        <p:spPr/>
        <p:txBody>
          <a:bodyPr/>
          <a:lstStyle/>
          <a:p>
            <a:fld id="{492F0BFE-09C8-4C53-B8F5-44730026CF66}" type="slidenum">
              <a:rPr lang="el-GR" smtClean="0"/>
              <a:pPr/>
              <a:t>‹#›</a:t>
            </a:fld>
            <a:endParaRPr lang="el-G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Στυλ κύριου τίτλου</a:t>
            </a:r>
          </a:p>
        </p:txBody>
      </p:sp>
      <p:sp>
        <p:nvSpPr>
          <p:cNvPr id="3" name="Θέση περιεχομένου 2"/>
          <p:cNvSpPr>
            <a:spLocks noGrp="1"/>
          </p:cNvSpPr>
          <p:nvPr>
            <p:ph idx="1" hasCustomPrompt="1"/>
          </p:nvPr>
        </p:nvSpPr>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10"/>
          </p:nvPr>
        </p:nvSpPr>
        <p:spPr/>
        <p:txBody>
          <a:bodyPr/>
          <a:lstStyle/>
          <a:p>
            <a:pPr>
              <a:buClr>
                <a:srgbClr val="000000"/>
              </a:buClr>
              <a:buFont typeface="Arial"/>
              <a:buNone/>
            </a:pPr>
            <a:fld id="{52B69728-13CB-4FA4-904D-CF5C4C899BE6}" type="datetimeFigureOut">
              <a:rPr lang="el-GR" sz="933" kern="0">
                <a:solidFill>
                  <a:srgbClr val="000000"/>
                </a:solidFill>
                <a:cs typeface="Arial"/>
                <a:sym typeface="Arial"/>
              </a:rPr>
              <a:pPr>
                <a:buClr>
                  <a:srgbClr val="000000"/>
                </a:buClr>
                <a:buFont typeface="Arial"/>
                <a:buNone/>
              </a:pPr>
              <a:t>23/7/2025</a:t>
            </a:fld>
            <a:endParaRPr lang="el-GR" sz="933" kern="0">
              <a:solidFill>
                <a:srgbClr val="000000"/>
              </a:solidFill>
              <a:cs typeface="Arial"/>
              <a:sym typeface="Arial"/>
            </a:endParaRPr>
          </a:p>
        </p:txBody>
      </p:sp>
      <p:sp>
        <p:nvSpPr>
          <p:cNvPr id="5" name="Θέση υποσέλιδου 4"/>
          <p:cNvSpPr>
            <a:spLocks noGrp="1"/>
          </p:cNvSpPr>
          <p:nvPr>
            <p:ph type="ftr" sz="quarter" idx="11"/>
          </p:nvPr>
        </p:nvSpPr>
        <p:spPr/>
        <p:txBody>
          <a:bodyPr/>
          <a:lstStyle/>
          <a:p>
            <a:pPr>
              <a:buClr>
                <a:srgbClr val="000000"/>
              </a:buClr>
              <a:buFont typeface="Arial"/>
              <a:buNone/>
            </a:pPr>
            <a:endParaRPr lang="el-GR" sz="933" kern="0">
              <a:solidFill>
                <a:srgbClr val="000000"/>
              </a:solidFill>
              <a:cs typeface="Arial"/>
              <a:sym typeface="Arial"/>
            </a:endParaRPr>
          </a:p>
        </p:txBody>
      </p:sp>
      <p:sp>
        <p:nvSpPr>
          <p:cNvPr id="6" name="Θέση αριθμού διαφάνειας 5"/>
          <p:cNvSpPr>
            <a:spLocks noGrp="1"/>
          </p:cNvSpPr>
          <p:nvPr>
            <p:ph type="sldNum" sz="quarter" idx="12"/>
          </p:nvPr>
        </p:nvSpPr>
        <p:spPr/>
        <p:txBody>
          <a:bodyPr/>
          <a:lstStyle/>
          <a:p>
            <a:pPr>
              <a:buClr>
                <a:srgbClr val="000000"/>
              </a:buClr>
              <a:buFont typeface="Arial"/>
              <a:buNone/>
            </a:pPr>
            <a:fld id="{492F0BFE-09C8-4C53-B8F5-44730026CF66}" type="slidenum">
              <a:rPr lang="el-GR" sz="933" kern="0">
                <a:solidFill>
                  <a:srgbClr val="000000"/>
                </a:solidFill>
                <a:cs typeface="Arial"/>
                <a:sym typeface="Arial"/>
              </a:rPr>
              <a:pPr>
                <a:buClr>
                  <a:srgbClr val="000000"/>
                </a:buClr>
                <a:buFont typeface="Arial"/>
                <a:buNone/>
              </a:pPr>
              <a:t>‹#›</a:t>
            </a:fld>
            <a:endParaRPr lang="el-GR" sz="933" kern="0">
              <a:solidFill>
                <a:srgbClr val="000000"/>
              </a:solidFill>
              <a:cs typeface="Arial"/>
              <a:sym typeface="Arial"/>
            </a:endParaRPr>
          </a:p>
        </p:txBody>
      </p:sp>
    </p:spTree>
    <p:extLst>
      <p:ext uri="{BB962C8B-B14F-4D97-AF65-F5344CB8AC3E}">
        <p14:creationId xmlns:p14="http://schemas.microsoft.com/office/powerpoint/2010/main" val="22526419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39"/>
        <p:cNvGrpSpPr/>
        <p:nvPr/>
      </p:nvGrpSpPr>
      <p:grpSpPr>
        <a:xfrm>
          <a:off x="0" y="0"/>
          <a:ext cx="0" cy="0"/>
          <a:chOff x="0" y="0"/>
          <a:chExt cx="0" cy="0"/>
        </a:xfrm>
      </p:grpSpPr>
      <p:sp>
        <p:nvSpPr>
          <p:cNvPr id="2" name="Google Shape;42;p50">
            <a:extLst>
              <a:ext uri="{FF2B5EF4-FFF2-40B4-BE49-F238E27FC236}">
                <a16:creationId xmlns:a16="http://schemas.microsoft.com/office/drawing/2014/main" id="{A5CCE518-C5B2-91EB-B051-94D4E612DA89}"/>
              </a:ext>
            </a:extLst>
          </p:cNvPr>
          <p:cNvSpPr>
            <a:spLocks noChangeArrowheads="1"/>
          </p:cNvSpPr>
          <p:nvPr/>
        </p:nvSpPr>
        <p:spPr bwMode="auto">
          <a:xfrm>
            <a:off x="0" y="0"/>
            <a:ext cx="11068050" cy="6858000"/>
          </a:xfrm>
          <a:prstGeom prst="rtTriangle">
            <a:avLst/>
          </a:prstGeom>
          <a:solidFill>
            <a:srgbClr val="3462A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sz="1400" kern="0">
              <a:solidFill>
                <a:srgbClr val="FFFFFF"/>
              </a:solidFill>
              <a:cs typeface="Calibri" panose="020F0502020204030204" pitchFamily="34" charset="0"/>
              <a:sym typeface="Calibri" panose="020F0502020204030204" pitchFamily="34" charset="0"/>
            </a:endParaRPr>
          </a:p>
        </p:txBody>
      </p:sp>
      <p:pic>
        <p:nvPicPr>
          <p:cNvPr id="3" name="Google Shape;43;p50" descr="Image result for ÎµÎ»Î»Î·Î½Î¹ÎºÎ· Î´Î·Î¼Î¿ÎºÏÎ±ÏÎ¹Î± logo">
            <a:extLst>
              <a:ext uri="{FF2B5EF4-FFF2-40B4-BE49-F238E27FC236}">
                <a16:creationId xmlns:a16="http://schemas.microsoft.com/office/drawing/2014/main" id="{FDBE6A7C-1AF2-DAB5-A03C-992ADCC79C4D}"/>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8875" y="4256088"/>
            <a:ext cx="1831975" cy="179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Google Shape;40;p50"/>
          <p:cNvSpPr txBox="1">
            <a:spLocks noGrp="1"/>
          </p:cNvSpPr>
          <p:nvPr>
            <p:ph type="ctrTitle"/>
          </p:nvPr>
        </p:nvSpPr>
        <p:spPr>
          <a:xfrm>
            <a:off x="3886200" y="476125"/>
            <a:ext cx="8096400" cy="1538100"/>
          </a:xfrm>
          <a:prstGeom prst="rect">
            <a:avLst/>
          </a:prstGeom>
          <a:noFill/>
          <a:ln>
            <a:noFill/>
          </a:ln>
        </p:spPr>
        <p:txBody>
          <a:bodyPr spcFirstLastPara="1">
            <a:normAutofit/>
          </a:bodyPr>
          <a:lstStyle>
            <a:lvl1pPr lvl="0" algn="r">
              <a:lnSpc>
                <a:spcPct val="90000"/>
              </a:lnSpc>
              <a:spcBef>
                <a:spcPts val="0"/>
              </a:spcBef>
              <a:spcAft>
                <a:spcPts val="0"/>
              </a:spcAft>
              <a:buClr>
                <a:srgbClr val="253356"/>
              </a:buClr>
              <a:buSzPts val="4000"/>
              <a:buFont typeface="Calibri"/>
              <a:buNone/>
              <a:defRPr sz="4000" b="1">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50"/>
          <p:cNvSpPr txBox="1">
            <a:spLocks noGrp="1"/>
          </p:cNvSpPr>
          <p:nvPr>
            <p:ph type="subTitle" idx="1"/>
          </p:nvPr>
        </p:nvSpPr>
        <p:spPr>
          <a:xfrm>
            <a:off x="5981700" y="2601119"/>
            <a:ext cx="6000750" cy="1655762"/>
          </a:xfrm>
          <a:prstGeom prst="rect">
            <a:avLst/>
          </a:prstGeom>
          <a:noFill/>
          <a:ln>
            <a:noFill/>
          </a:ln>
        </p:spPr>
        <p:txBody>
          <a:bodyPr spcFirstLastPara="1" anchor="ctr">
            <a:normAutofit/>
          </a:bodyPr>
          <a:lstStyle>
            <a:lvl1pPr lvl="0" algn="r">
              <a:lnSpc>
                <a:spcPct val="90000"/>
              </a:lnSpc>
              <a:spcBef>
                <a:spcPts val="1000"/>
              </a:spcBef>
              <a:spcAft>
                <a:spcPts val="0"/>
              </a:spcAft>
              <a:buClr>
                <a:srgbClr val="253356"/>
              </a:buClr>
              <a:buSzPts val="2400"/>
              <a:buNone/>
              <a:defRPr sz="2400" b="1">
                <a:solidFill>
                  <a:srgbClr val="253356"/>
                </a:solidFill>
                <a:latin typeface="Calibri"/>
                <a:ea typeface="Calibri"/>
                <a:cs typeface="Calibri"/>
                <a:sym typeface="Calibri"/>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057192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Shape 50"/>
        <p:cNvGrpSpPr/>
        <p:nvPr/>
      </p:nvGrpSpPr>
      <p:grpSpPr>
        <a:xfrm>
          <a:off x="0" y="0"/>
          <a:ext cx="0" cy="0"/>
          <a:chOff x="0" y="0"/>
          <a:chExt cx="0" cy="0"/>
        </a:xfrm>
      </p:grpSpPr>
      <p:sp>
        <p:nvSpPr>
          <p:cNvPr id="51" name="Google Shape;51;p57"/>
          <p:cNvSpPr txBox="1">
            <a:spLocks noGrp="1"/>
          </p:cNvSpPr>
          <p:nvPr>
            <p:ph type="title"/>
          </p:nvPr>
        </p:nvSpPr>
        <p:spPr>
          <a:xfrm>
            <a:off x="344311" y="263525"/>
            <a:ext cx="11503378" cy="605719"/>
          </a:xfrm>
          <a:prstGeom prst="rect">
            <a:avLst/>
          </a:prstGeom>
          <a:solidFill>
            <a:schemeClr val="accent3">
              <a:lumMod val="50000"/>
            </a:schemeClr>
          </a:solidFill>
          <a:ln>
            <a:noFill/>
          </a:ln>
        </p:spPr>
        <p:txBody>
          <a:bodyPr spcFirstLastPara="1">
            <a:normAutofit/>
          </a:bodyPr>
          <a:lstStyle>
            <a:lvl1pPr lvl="0" algn="l">
              <a:lnSpc>
                <a:spcPct val="90000"/>
              </a:lnSpc>
              <a:spcBef>
                <a:spcPts val="0"/>
              </a:spcBef>
              <a:spcAft>
                <a:spcPts val="0"/>
              </a:spcAft>
              <a:buClr>
                <a:srgbClr val="253356"/>
              </a:buClr>
              <a:buSzPts val="3200"/>
              <a:buFont typeface="Helvetica Neue"/>
              <a:buNone/>
              <a:defRPr b="1">
                <a:solidFill>
                  <a:schemeClr val="bg1"/>
                </a:solidFill>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723603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56"/>
        <p:cNvGrpSpPr/>
        <p:nvPr/>
      </p:nvGrpSpPr>
      <p:grpSpPr>
        <a:xfrm>
          <a:off x="0" y="0"/>
          <a:ext cx="0" cy="0"/>
          <a:chOff x="0" y="0"/>
          <a:chExt cx="0" cy="0"/>
        </a:xfrm>
      </p:grpSpPr>
      <p:sp>
        <p:nvSpPr>
          <p:cNvPr id="57" name="Google Shape;57;p58"/>
          <p:cNvSpPr txBox="1">
            <a:spLocks noGrp="1"/>
          </p:cNvSpPr>
          <p:nvPr>
            <p:ph type="title"/>
          </p:nvPr>
        </p:nvSpPr>
        <p:spPr>
          <a:xfrm>
            <a:off x="838200" y="365125"/>
            <a:ext cx="10515600" cy="739775"/>
          </a:xfrm>
          <a:prstGeom prst="rect">
            <a:avLst/>
          </a:prstGeom>
          <a:noFill/>
          <a:ln>
            <a:noFill/>
          </a:ln>
        </p:spPr>
        <p:txBody>
          <a:bodyPr spcFirstLastPara="1">
            <a:normAutofit/>
          </a:bodyPr>
          <a:lstStyle>
            <a:lvl1pPr lvl="0" algn="l">
              <a:lnSpc>
                <a:spcPct val="90000"/>
              </a:lnSpc>
              <a:spcBef>
                <a:spcPts val="0"/>
              </a:spcBef>
              <a:spcAft>
                <a:spcPts val="0"/>
              </a:spcAft>
              <a:buClr>
                <a:srgbClr val="253356"/>
              </a:buClr>
              <a:buSzPts val="3200"/>
              <a:buFont typeface="Helvetica Neue"/>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58"/>
          <p:cNvSpPr txBox="1">
            <a:spLocks noGrp="1"/>
          </p:cNvSpPr>
          <p:nvPr>
            <p:ph type="body" idx="1"/>
          </p:nvPr>
        </p:nvSpPr>
        <p:spPr>
          <a:xfrm>
            <a:off x="838200" y="1825625"/>
            <a:ext cx="5181600" cy="4351338"/>
          </a:xfrm>
          <a:prstGeom prst="rect">
            <a:avLst/>
          </a:prstGeom>
          <a:noFill/>
          <a:ln>
            <a:noFill/>
          </a:ln>
        </p:spPr>
        <p:txBody>
          <a:bodyPr spcFirstLastPara="1">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 name="Google Shape;59;p58"/>
          <p:cNvSpPr txBox="1">
            <a:spLocks noGrp="1"/>
          </p:cNvSpPr>
          <p:nvPr>
            <p:ph type="body" idx="2"/>
          </p:nvPr>
        </p:nvSpPr>
        <p:spPr>
          <a:xfrm>
            <a:off x="6172200" y="1825625"/>
            <a:ext cx="5181600" cy="4351338"/>
          </a:xfrm>
          <a:prstGeom prst="rect">
            <a:avLst/>
          </a:prstGeom>
          <a:noFill/>
          <a:ln>
            <a:noFill/>
          </a:ln>
        </p:spPr>
        <p:txBody>
          <a:bodyPr spcFirstLastPara="1">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 name="Google Shape;60;p58">
            <a:extLst>
              <a:ext uri="{FF2B5EF4-FFF2-40B4-BE49-F238E27FC236}">
                <a16:creationId xmlns:a16="http://schemas.microsoft.com/office/drawing/2014/main" id="{D8A8B006-A96A-0A90-B8A9-9682A63E4245}"/>
              </a:ext>
            </a:extLst>
          </p:cNvPr>
          <p:cNvSpPr txBox="1">
            <a:spLocks noGrp="1"/>
          </p:cNvSpPr>
          <p:nvPr>
            <p:ph type="dt" idx="10"/>
          </p:nvPr>
        </p:nvSpPr>
        <p:spPr>
          <a:noFill/>
        </p:spPr>
        <p:txBody>
          <a:bodyPr spcFirstLastPara="1">
            <a:noAutofit/>
          </a:bodyPr>
          <a:lstStyle>
            <a:lvl1pPr lvl="0" algn="l" fontAlgn="auto">
              <a:lnSpc>
                <a:spcPct val="100000"/>
              </a:lnSpc>
              <a:spcBef>
                <a:spcPts val="0"/>
              </a:spcBef>
              <a:spcAft>
                <a:spcPts val="0"/>
              </a:spcAft>
              <a:buSzPts val="1400"/>
              <a:buFont typeface="Arial"/>
              <a:buNone/>
              <a:defRPr dirty="0">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a:defRPr/>
            </a:pPr>
            <a:endParaRPr lang="x-none"/>
          </a:p>
        </p:txBody>
      </p:sp>
      <p:sp>
        <p:nvSpPr>
          <p:cNvPr id="3" name="Google Shape;61;p58">
            <a:extLst>
              <a:ext uri="{FF2B5EF4-FFF2-40B4-BE49-F238E27FC236}">
                <a16:creationId xmlns:a16="http://schemas.microsoft.com/office/drawing/2014/main" id="{BB10F7F4-2081-D0FC-3388-7F063562345A}"/>
              </a:ext>
            </a:extLst>
          </p:cNvPr>
          <p:cNvSpPr txBox="1">
            <a:spLocks noGrp="1"/>
          </p:cNvSpPr>
          <p:nvPr>
            <p:ph type="ftr" idx="11"/>
          </p:nvPr>
        </p:nvSpPr>
        <p:spPr>
          <a:noFill/>
        </p:spPr>
        <p:txBody>
          <a:bodyPr spcFirstLastPara="1">
            <a:noAutofit/>
          </a:bodyPr>
          <a:lstStyle>
            <a:lvl1pPr lvl="0" algn="ctr" fontAlgn="auto">
              <a:lnSpc>
                <a:spcPct val="100000"/>
              </a:lnSpc>
              <a:spcBef>
                <a:spcPts val="0"/>
              </a:spcBef>
              <a:spcAft>
                <a:spcPts val="0"/>
              </a:spcAft>
              <a:buSzPts val="1400"/>
              <a:buFont typeface="Arial"/>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a:defRPr/>
            </a:pPr>
            <a:endParaRPr lang="x-none"/>
          </a:p>
        </p:txBody>
      </p:sp>
      <p:sp>
        <p:nvSpPr>
          <p:cNvPr id="4" name="Google Shape;62;p58">
            <a:extLst>
              <a:ext uri="{FF2B5EF4-FFF2-40B4-BE49-F238E27FC236}">
                <a16:creationId xmlns:a16="http://schemas.microsoft.com/office/drawing/2014/main" id="{F1B58136-6E90-B724-29CA-E5891C197977}"/>
              </a:ext>
            </a:extLst>
          </p:cNvPr>
          <p:cNvSpPr txBox="1">
            <a:spLocks noGrp="1"/>
          </p:cNvSpPr>
          <p:nvPr>
            <p:ph type="sldNum" idx="12"/>
          </p:nvPr>
        </p:nvSpPr>
        <p:spPr>
          <a:noFill/>
        </p:spPr>
        <p:txBody>
          <a:bodyPr>
            <a:noAutofit/>
          </a:bodyPr>
          <a:lstStyle>
            <a:lvl1pPr>
              <a:defRPr/>
            </a:lvl1pPr>
          </a:lstStyle>
          <a:p>
            <a:fld id="{2069D4DD-6629-41D5-B9D8-B5629C1EA8AC}" type="slidenum">
              <a:rPr lang="en-US" altLang="en-US"/>
              <a:pPr/>
              <a:t>‹#›</a:t>
            </a:fld>
            <a:endParaRPr lang="en-US" altLang="en-US"/>
          </a:p>
        </p:txBody>
      </p:sp>
    </p:spTree>
    <p:extLst>
      <p:ext uri="{BB962C8B-B14F-4D97-AF65-F5344CB8AC3E}">
        <p14:creationId xmlns:p14="http://schemas.microsoft.com/office/powerpoint/2010/main" val="7960204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98"/>
        <p:cNvGrpSpPr/>
        <p:nvPr/>
      </p:nvGrpSpPr>
      <p:grpSpPr>
        <a:xfrm>
          <a:off x="0" y="0"/>
          <a:ext cx="0" cy="0"/>
          <a:chOff x="0" y="0"/>
          <a:chExt cx="0" cy="0"/>
        </a:xfrm>
      </p:grpSpPr>
      <p:sp>
        <p:nvSpPr>
          <p:cNvPr id="2" name="Google Shape;99;p64">
            <a:extLst>
              <a:ext uri="{FF2B5EF4-FFF2-40B4-BE49-F238E27FC236}">
                <a16:creationId xmlns:a16="http://schemas.microsoft.com/office/drawing/2014/main" id="{5FD71837-421F-D535-C731-6CE78EA960DA}"/>
              </a:ext>
            </a:extLst>
          </p:cNvPr>
          <p:cNvSpPr>
            <a:spLocks noChangeArrowheads="1"/>
          </p:cNvSpPr>
          <p:nvPr/>
        </p:nvSpPr>
        <p:spPr bwMode="auto">
          <a:xfrm rot="10800000">
            <a:off x="1123950" y="0"/>
            <a:ext cx="11068050" cy="6858000"/>
          </a:xfrm>
          <a:prstGeom prst="rtTriangle">
            <a:avLst/>
          </a:prstGeom>
          <a:solidFill>
            <a:srgbClr val="3462A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sz="1400" kern="0">
              <a:solidFill>
                <a:srgbClr val="FFFFFF"/>
              </a:solidFill>
              <a:cs typeface="Calibri" panose="020F0502020204030204" pitchFamily="34" charset="0"/>
              <a:sym typeface="Calibri" panose="020F0502020204030204" pitchFamily="34" charset="0"/>
            </a:endParaRPr>
          </a:p>
        </p:txBody>
      </p:sp>
      <p:pic>
        <p:nvPicPr>
          <p:cNvPr id="3" name="Google Shape;100;p64" descr="Image result for ÎµÎ»Î»Î·Î½Î¹ÎºÎ· Î´Î·Î¼Î¿ÎºÏÎ±ÏÎ¹Î± logo">
            <a:extLst>
              <a:ext uri="{FF2B5EF4-FFF2-40B4-BE49-F238E27FC236}">
                <a16:creationId xmlns:a16="http://schemas.microsoft.com/office/drawing/2014/main" id="{C3457851-C08B-6535-A2F5-BB535CAA3BDD}"/>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74075" y="1268413"/>
            <a:ext cx="1831975" cy="179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Google Shape;101;p64">
            <a:extLst>
              <a:ext uri="{FF2B5EF4-FFF2-40B4-BE49-F238E27FC236}">
                <a16:creationId xmlns:a16="http://schemas.microsoft.com/office/drawing/2014/main" id="{EF0C39F0-E3CB-78E5-A384-CE93E426B6B9}"/>
              </a:ext>
            </a:extLst>
          </p:cNvPr>
          <p:cNvSpPr>
            <a:spLocks noChangeArrowheads="1"/>
          </p:cNvSpPr>
          <p:nvPr/>
        </p:nvSpPr>
        <p:spPr bwMode="auto">
          <a:xfrm>
            <a:off x="0" y="4672013"/>
            <a:ext cx="2922588" cy="2185987"/>
          </a:xfrm>
          <a:prstGeom prst="rect">
            <a:avLst/>
          </a:prstGeom>
          <a:solidFill>
            <a:schemeClr val="bg1"/>
          </a:solidFill>
          <a:ln w="12700">
            <a:solidFill>
              <a:schemeClr val="bg1"/>
            </a:solidFill>
            <a:miter lim="800000"/>
            <a:headEnd type="none" w="sm" len="sm"/>
            <a:tailEnd type="none" w="sm" len="sm"/>
          </a:ln>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sz="1400" kern="0">
              <a:solidFill>
                <a:srgbClr val="FFFFFF"/>
              </a:solidFill>
              <a:latin typeface="Helvetica Neue"/>
              <a:ea typeface="Helvetica Neue"/>
              <a:cs typeface="Helvetica Neue"/>
              <a:sym typeface="Helvetica Neue"/>
            </a:endParaRPr>
          </a:p>
        </p:txBody>
      </p:sp>
      <p:sp>
        <p:nvSpPr>
          <p:cNvPr id="102" name="Google Shape;102;p64"/>
          <p:cNvSpPr txBox="1">
            <a:spLocks noGrp="1"/>
          </p:cNvSpPr>
          <p:nvPr>
            <p:ph type="ctrTitle"/>
          </p:nvPr>
        </p:nvSpPr>
        <p:spPr>
          <a:xfrm>
            <a:off x="95250" y="4313351"/>
            <a:ext cx="8096250" cy="2387600"/>
          </a:xfrm>
          <a:prstGeom prst="rect">
            <a:avLst/>
          </a:prstGeom>
          <a:noFill/>
          <a:ln>
            <a:noFill/>
          </a:ln>
        </p:spPr>
        <p:txBody>
          <a:bodyPr spcFirstLastPara="1" anchor="b">
            <a:normAutofit/>
          </a:bodyPr>
          <a:lstStyle>
            <a:lvl1pPr lvl="0" algn="l">
              <a:lnSpc>
                <a:spcPct val="90000"/>
              </a:lnSpc>
              <a:spcBef>
                <a:spcPts val="0"/>
              </a:spcBef>
              <a:spcAft>
                <a:spcPts val="0"/>
              </a:spcAft>
              <a:buClr>
                <a:srgbClr val="253356"/>
              </a:buClr>
              <a:buSzPts val="6000"/>
              <a:buFont typeface="Helvetica Neue"/>
              <a:buNone/>
              <a:defRPr sz="6000">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 name="Google Shape;103;p64"/>
          <p:cNvSpPr txBox="1">
            <a:spLocks noGrp="1"/>
          </p:cNvSpPr>
          <p:nvPr>
            <p:ph type="subTitle" idx="1"/>
          </p:nvPr>
        </p:nvSpPr>
        <p:spPr>
          <a:xfrm>
            <a:off x="108857" y="2657588"/>
            <a:ext cx="6000750" cy="1655762"/>
          </a:xfrm>
          <a:prstGeom prst="rect">
            <a:avLst/>
          </a:prstGeom>
          <a:noFill/>
          <a:ln>
            <a:noFill/>
          </a:ln>
        </p:spPr>
        <p:txBody>
          <a:bodyPr spcFirstLastPara="1">
            <a:normAutofit/>
          </a:bodyPr>
          <a:lstStyle>
            <a:lvl1pPr lvl="0" algn="l">
              <a:lnSpc>
                <a:spcPct val="90000"/>
              </a:lnSpc>
              <a:spcBef>
                <a:spcPts val="1000"/>
              </a:spcBef>
              <a:spcAft>
                <a:spcPts val="0"/>
              </a:spcAft>
              <a:buClr>
                <a:schemeClr val="dk1"/>
              </a:buClr>
              <a:buSzPts val="2400"/>
              <a:buNone/>
              <a:defRPr sz="2400">
                <a:latin typeface="Calibri" panose="020F0502020204030204" pitchFamily="34" charset="0"/>
                <a:ea typeface="Helvetica Neue"/>
                <a:cs typeface="Calibri" panose="020F050202020403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66073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Custom Layout" preserve="1">
  <p:cSld name="Custom Layout">
    <p:spTree>
      <p:nvGrpSpPr>
        <p:cNvPr id="1" name="Shape 114"/>
        <p:cNvGrpSpPr/>
        <p:nvPr/>
      </p:nvGrpSpPr>
      <p:grpSpPr>
        <a:xfrm>
          <a:off x="0" y="0"/>
          <a:ext cx="0" cy="0"/>
          <a:chOff x="0" y="0"/>
          <a:chExt cx="0" cy="0"/>
        </a:xfrm>
      </p:grpSpPr>
      <p:pic>
        <p:nvPicPr>
          <p:cNvPr id="2" name="Εικόνα 2">
            <a:extLst>
              <a:ext uri="{FF2B5EF4-FFF2-40B4-BE49-F238E27FC236}">
                <a16:creationId xmlns:a16="http://schemas.microsoft.com/office/drawing/2014/main" id="{D88A9AC2-9E3E-8A10-F3D9-A89F2E1463D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7938"/>
            <a:ext cx="121920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5">
            <a:extLst>
              <a:ext uri="{FF2B5EF4-FFF2-40B4-BE49-F238E27FC236}">
                <a16:creationId xmlns:a16="http://schemas.microsoft.com/office/drawing/2014/main" id="{119BF39A-AC38-F2EC-30EC-0A82E58E6023}"/>
              </a:ext>
            </a:extLst>
          </p:cNvPr>
          <p:cNvSpPr/>
          <p:nvPr userDrawn="1"/>
        </p:nvSpPr>
        <p:spPr>
          <a:xfrm>
            <a:off x="1171575" y="4906963"/>
            <a:ext cx="4021138" cy="1266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Clr>
                <a:srgbClr val="000000"/>
              </a:buClr>
              <a:buFont typeface="Arial"/>
              <a:buNone/>
              <a:defRPr/>
            </a:pPr>
            <a:r>
              <a:rPr lang="el-GR" sz="1400" b="1" kern="0">
                <a:solidFill>
                  <a:srgbClr val="FFFFFF"/>
                </a:solidFill>
                <a:sym typeface="Arial"/>
              </a:rPr>
              <a:t>ΕΛΛΗΝΙΚΗ ΔΗΜΟΚΡΑΤΙΑ</a:t>
            </a:r>
          </a:p>
          <a:p>
            <a:pPr>
              <a:buClr>
                <a:srgbClr val="000000"/>
              </a:buClr>
              <a:buFont typeface="Arial"/>
              <a:buNone/>
              <a:defRPr/>
            </a:pPr>
            <a:r>
              <a:rPr lang="el-GR" sz="1400" b="1" kern="0" err="1">
                <a:solidFill>
                  <a:srgbClr val="FFFFFF"/>
                </a:solidFill>
                <a:sym typeface="Arial"/>
              </a:rPr>
              <a:t>Κυβ</a:t>
            </a:r>
            <a:r>
              <a:rPr lang="x-none" sz="1400" b="1" kern="0">
                <a:solidFill>
                  <a:srgbClr val="FFFFFF"/>
                </a:solidFill>
                <a:sym typeface="Arial"/>
              </a:rPr>
              <a:t>έ</a:t>
            </a:r>
            <a:r>
              <a:rPr lang="el-GR" sz="1400" b="1" kern="0" err="1">
                <a:solidFill>
                  <a:srgbClr val="FFFFFF"/>
                </a:solidFill>
                <a:sym typeface="Arial"/>
              </a:rPr>
              <a:t>ρνηση</a:t>
            </a:r>
            <a:endParaRPr lang="x-none" sz="1400" b="1" kern="0">
              <a:solidFill>
                <a:srgbClr val="FFFFFF"/>
              </a:solidFill>
              <a:sym typeface="Arial"/>
            </a:endParaRPr>
          </a:p>
        </p:txBody>
      </p:sp>
    </p:spTree>
    <p:extLst>
      <p:ext uri="{BB962C8B-B14F-4D97-AF65-F5344CB8AC3E}">
        <p14:creationId xmlns:p14="http://schemas.microsoft.com/office/powerpoint/2010/main" val="21147098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5" name="Subtitle 2"/>
          <p:cNvSpPr>
            <a:spLocks noGrp="1"/>
          </p:cNvSpPr>
          <p:nvPr>
            <p:ph type="subTitle" idx="1"/>
          </p:nvPr>
        </p:nvSpPr>
        <p:spPr>
          <a:xfrm>
            <a:off x="837415" y="3348000"/>
            <a:ext cx="9144000"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006120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05739-CE69-6C41-4AF1-5136AE73C1AD}"/>
              </a:ext>
            </a:extLst>
          </p:cNvPr>
          <p:cNvSpPr txBox="1">
            <a:spLocks/>
          </p:cNvSpPr>
          <p:nvPr userDrawn="1"/>
        </p:nvSpPr>
        <p:spPr>
          <a:xfrm>
            <a:off x="7566025" y="6356350"/>
            <a:ext cx="3787775" cy="374650"/>
          </a:xfrm>
          <a:prstGeom prst="rect">
            <a:avLst/>
          </a:prstGeom>
        </p:spPr>
        <p:txBody>
          <a:bodyPr anchor="ctr">
            <a:norm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lnSpc>
                <a:spcPct val="90000"/>
              </a:lnSpc>
              <a:buClr>
                <a:srgbClr val="000000"/>
              </a:buClr>
              <a:buFont typeface="Arial" panose="020B0604020202020204" pitchFamily="34" charset="0"/>
              <a:buNone/>
            </a:pPr>
            <a:fld id="{1BDB5EAD-F868-416D-842F-C35E932130F7}" type="slidenum">
              <a:rPr lang="en-US" altLang="en-US" sz="1200" kern="0">
                <a:solidFill>
                  <a:srgbClr val="7F7F7F"/>
                </a:solidFill>
                <a:latin typeface="Arial" panose="020B0604020202020204" pitchFamily="34" charset="0"/>
                <a:cs typeface="Arial"/>
                <a:sym typeface="Arial" panose="020B0604020202020204" pitchFamily="34" charset="0"/>
              </a:rPr>
              <a:pPr algn="r">
                <a:lnSpc>
                  <a:spcPct val="90000"/>
                </a:lnSpc>
                <a:buClr>
                  <a:srgbClr val="000000"/>
                </a:buClr>
                <a:buFont typeface="Arial" panose="020B0604020202020204" pitchFamily="34" charset="0"/>
                <a:buNone/>
              </a:pPr>
              <a:t>‹#›</a:t>
            </a:fld>
            <a:endParaRPr lang="en-US" altLang="en-US" sz="1200" kern="0">
              <a:solidFill>
                <a:srgbClr val="7F7F7F"/>
              </a:solidFill>
              <a:latin typeface="Arial" panose="020B0604020202020204" pitchFamily="34" charset="0"/>
              <a:cs typeface="Arial"/>
              <a:sym typeface="Arial" panose="020B0604020202020204" pitchFamily="34" charset="0"/>
            </a:endParaRPr>
          </a:p>
        </p:txBody>
      </p:sp>
      <p:cxnSp>
        <p:nvCxnSpPr>
          <p:cNvPr id="3" name="Straight Connector 2">
            <a:extLst>
              <a:ext uri="{FF2B5EF4-FFF2-40B4-BE49-F238E27FC236}">
                <a16:creationId xmlns:a16="http://schemas.microsoft.com/office/drawing/2014/main" id="{3E4C2053-BFC7-3F3F-5C45-9B0439624CDC}"/>
              </a:ext>
            </a:extLst>
          </p:cNvPr>
          <p:cNvCxnSpPr/>
          <p:nvPr userDrawn="1"/>
        </p:nvCxnSpPr>
        <p:spPr>
          <a:xfrm>
            <a:off x="838200" y="1046163"/>
            <a:ext cx="4064000" cy="0"/>
          </a:xfrm>
          <a:prstGeom prst="line">
            <a:avLst/>
          </a:prstGeom>
          <a:ln>
            <a:solidFill>
              <a:srgbClr val="134A86"/>
            </a:solidFill>
          </a:ln>
        </p:spPr>
        <p:style>
          <a:lnRef idx="1">
            <a:schemeClr val="accent1"/>
          </a:lnRef>
          <a:fillRef idx="0">
            <a:schemeClr val="accent1"/>
          </a:fillRef>
          <a:effectRef idx="0">
            <a:schemeClr val="accent1"/>
          </a:effectRef>
          <a:fontRef idx="minor">
            <a:schemeClr val="tx1"/>
          </a:fontRef>
        </p:style>
      </p:cxnSp>
      <p:sp>
        <p:nvSpPr>
          <p:cNvPr id="4" name="Content Placeholder 3"/>
          <p:cNvSpPr>
            <a:spLocks noGrp="1"/>
          </p:cNvSpPr>
          <p:nvPr>
            <p:ph sz="half" idx="2"/>
          </p:nvPr>
        </p:nvSpPr>
        <p:spPr>
          <a:xfrm>
            <a:off x="839790" y="5102578"/>
            <a:ext cx="10514011" cy="1126732"/>
          </a:xfrm>
        </p:spPr>
        <p:txBody>
          <a:bodyPr/>
          <a:lstStyle>
            <a:lvl1pPr>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03077" y="1454480"/>
            <a:ext cx="4461646" cy="429533"/>
          </a:xfrm>
        </p:spPr>
        <p:txBody>
          <a:bodyPr anchor="b">
            <a:normAutofit/>
          </a:bodyPr>
          <a:lstStyle>
            <a:lvl1pPr marL="0" indent="0" algn="ctr">
              <a:buNone/>
              <a:defRPr sz="1600" b="1"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Picture Placeholder 7"/>
          <p:cNvSpPr>
            <a:spLocks noGrp="1"/>
          </p:cNvSpPr>
          <p:nvPr>
            <p:ph type="pic" sz="quarter" idx="13"/>
          </p:nvPr>
        </p:nvSpPr>
        <p:spPr>
          <a:xfrm>
            <a:off x="1386831" y="1908000"/>
            <a:ext cx="4430769" cy="2880000"/>
          </a:xfrm>
        </p:spPr>
        <p:txBody>
          <a:bodyPr spcFirstLastPara="1">
            <a:normAutofit/>
          </a:bodyPr>
          <a:lstStyle/>
          <a:p>
            <a:pPr lvl="0"/>
            <a:endParaRPr lang="en-GB" noProof="0">
              <a:sym typeface="Helvetica Neue"/>
            </a:endParaRPr>
          </a:p>
        </p:txBody>
      </p:sp>
      <p:sp>
        <p:nvSpPr>
          <p:cNvPr id="11" name="Picture Placeholder 7"/>
          <p:cNvSpPr>
            <a:spLocks noGrp="1"/>
          </p:cNvSpPr>
          <p:nvPr>
            <p:ph type="pic" sz="quarter" idx="14"/>
          </p:nvPr>
        </p:nvSpPr>
        <p:spPr>
          <a:xfrm>
            <a:off x="6203077" y="1908000"/>
            <a:ext cx="4430769" cy="2880000"/>
          </a:xfrm>
        </p:spPr>
        <p:txBody>
          <a:bodyPr spcFirstLastPara="1">
            <a:normAutofit/>
          </a:bodyPr>
          <a:lstStyle/>
          <a:p>
            <a:pPr lvl="0"/>
            <a:endParaRPr lang="en-GB" noProof="0">
              <a:sym typeface="Helvetica Neue"/>
            </a:endParaRPr>
          </a:p>
        </p:txBody>
      </p:sp>
      <p:sp>
        <p:nvSpPr>
          <p:cNvPr id="12" name="Text Placeholder 4"/>
          <p:cNvSpPr>
            <a:spLocks noGrp="1"/>
          </p:cNvSpPr>
          <p:nvPr>
            <p:ph type="body" sz="quarter" idx="15"/>
          </p:nvPr>
        </p:nvSpPr>
        <p:spPr>
          <a:xfrm>
            <a:off x="1386831" y="1454479"/>
            <a:ext cx="4461646" cy="429533"/>
          </a:xfrm>
        </p:spPr>
        <p:txBody>
          <a:bodyPr anchor="b">
            <a:normAutofit/>
          </a:bodyPr>
          <a:lstStyle>
            <a:lvl1pPr marL="0" indent="0" algn="ctr">
              <a:buNone/>
              <a:defRPr sz="1600" b="1"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Title 1"/>
          <p:cNvSpPr>
            <a:spLocks noGrp="1"/>
          </p:cNvSpPr>
          <p:nvPr>
            <p:ph type="title"/>
          </p:nvPr>
        </p:nvSpPr>
        <p:spPr>
          <a:xfrm>
            <a:off x="838201" y="365128"/>
            <a:ext cx="10515600" cy="989540"/>
          </a:xfrm>
        </p:spPr>
        <p:txBody>
          <a:bodyPr>
            <a:normAutofit/>
          </a:bodyPr>
          <a:lstStyle>
            <a:lvl1pPr>
              <a:defRPr sz="2400"/>
            </a:lvl1pPr>
          </a:lstStyle>
          <a:p>
            <a:r>
              <a:rPr lang="en-US"/>
              <a:t>Click to edit Master title style</a:t>
            </a:r>
          </a:p>
        </p:txBody>
      </p:sp>
    </p:spTree>
    <p:extLst>
      <p:ext uri="{BB962C8B-B14F-4D97-AF65-F5344CB8AC3E}">
        <p14:creationId xmlns:p14="http://schemas.microsoft.com/office/powerpoint/2010/main" val="239474012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17"/>
        <p:cNvGrpSpPr/>
        <p:nvPr/>
      </p:nvGrpSpPr>
      <p:grpSpPr>
        <a:xfrm>
          <a:off x="0" y="0"/>
          <a:ext cx="0" cy="0"/>
          <a:chOff x="0" y="0"/>
          <a:chExt cx="0" cy="0"/>
        </a:xfrm>
      </p:grpSpPr>
      <p:sp>
        <p:nvSpPr>
          <p:cNvPr id="2" name="Google Shape;18;p65">
            <a:extLst>
              <a:ext uri="{FF2B5EF4-FFF2-40B4-BE49-F238E27FC236}">
                <a16:creationId xmlns:a16="http://schemas.microsoft.com/office/drawing/2014/main" id="{8483BA14-F5DF-3400-9C3D-CC8B5DE744FF}"/>
              </a:ext>
            </a:extLst>
          </p:cNvPr>
          <p:cNvSpPr>
            <a:spLocks noChangeArrowheads="1"/>
          </p:cNvSpPr>
          <p:nvPr/>
        </p:nvSpPr>
        <p:spPr bwMode="auto">
          <a:xfrm>
            <a:off x="3175" y="2608263"/>
            <a:ext cx="6858000" cy="4249737"/>
          </a:xfrm>
          <a:prstGeom prst="rtTriangle">
            <a:avLst/>
          </a:prstGeom>
          <a:solidFill>
            <a:srgbClr val="01347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sz="1400" kern="0">
              <a:solidFill>
                <a:srgbClr val="FFFFFF"/>
              </a:solidFill>
              <a:cs typeface="Calibri" panose="020F0502020204030204" pitchFamily="34" charset="0"/>
              <a:sym typeface="Calibri" panose="020F0502020204030204" pitchFamily="34" charset="0"/>
            </a:endParaRPr>
          </a:p>
        </p:txBody>
      </p:sp>
      <p:pic>
        <p:nvPicPr>
          <p:cNvPr id="3" name="Google Shape;19;p65" descr="A close up of a logo&#10;&#10;Description automatically generated">
            <a:extLst>
              <a:ext uri="{FF2B5EF4-FFF2-40B4-BE49-F238E27FC236}">
                <a16:creationId xmlns:a16="http://schemas.microsoft.com/office/drawing/2014/main" id="{3DA4ED28-55AF-A80F-434E-CBC88391DEB0}"/>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l="2185" t="6084" r="87331" b="75015"/>
          <a:stretch>
            <a:fillRect/>
          </a:stretch>
        </p:blipFill>
        <p:spPr bwMode="auto">
          <a:xfrm>
            <a:off x="869950" y="5229225"/>
            <a:ext cx="1157288" cy="117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56291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3"/>
        <p:cNvGrpSpPr/>
        <p:nvPr/>
      </p:nvGrpSpPr>
      <p:grpSpPr>
        <a:xfrm>
          <a:off x="0" y="0"/>
          <a:ext cx="0" cy="0"/>
          <a:chOff x="0" y="0"/>
          <a:chExt cx="0" cy="0"/>
        </a:xfrm>
      </p:grpSpPr>
      <p:sp>
        <p:nvSpPr>
          <p:cNvPr id="24" name="Google Shape;24;p6"/>
          <p:cNvSpPr txBox="1">
            <a:spLocks noGrp="1"/>
          </p:cNvSpPr>
          <p:nvPr>
            <p:ph type="title"/>
          </p:nvPr>
        </p:nvSpPr>
        <p:spPr>
          <a:xfrm>
            <a:off x="947033" y="715533"/>
            <a:ext cx="10298000" cy="641600"/>
          </a:xfrm>
          <a:prstGeom prst="rect">
            <a:avLst/>
          </a:prstGeom>
        </p:spPr>
        <p:txBody>
          <a:bodyPr spcFirstLastPara="1" wrap="square" lIns="91425" tIns="91425" rIns="91425" bIns="91425" anchor="ctr"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Tree>
    <p:extLst>
      <p:ext uri="{BB962C8B-B14F-4D97-AF65-F5344CB8AC3E}">
        <p14:creationId xmlns:p14="http://schemas.microsoft.com/office/powerpoint/2010/main" val="3809403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a:xfrm>
            <a:off x="839788" y="457200"/>
            <a:ext cx="3932237" cy="1600200"/>
          </a:xfrm>
        </p:spPr>
        <p:txBody>
          <a:bodyPr anchor="b"/>
          <a:lstStyle>
            <a:lvl1pPr>
              <a:defRPr sz="3200"/>
            </a:lvl1pPr>
          </a:lstStyle>
          <a:p>
            <a:r>
              <a:rPr lang="el-GR"/>
              <a:t>Στυλ κύριου τίτλου</a:t>
            </a:r>
          </a:p>
        </p:txBody>
      </p:sp>
      <p:sp>
        <p:nvSpPr>
          <p:cNvPr id="3" name="Θέση εικόνας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Επεξεργασία στυλ υποδείγματος κειμένου</a:t>
            </a:r>
          </a:p>
        </p:txBody>
      </p:sp>
      <p:sp>
        <p:nvSpPr>
          <p:cNvPr id="5" name="Θέση ημερομηνίας 4"/>
          <p:cNvSpPr>
            <a:spLocks noGrp="1"/>
          </p:cNvSpPr>
          <p:nvPr>
            <p:ph type="dt" sz="half" idx="10"/>
          </p:nvPr>
        </p:nvSpPr>
        <p:spPr/>
        <p:txBody>
          <a:bodyPr/>
          <a:lstStyle/>
          <a:p>
            <a:fld id="{52B69728-13CB-4FA4-904D-CF5C4C899BE6}" type="datetimeFigureOut">
              <a:rPr lang="el-GR" smtClean="0"/>
              <a:pPr/>
              <a:t>23/7/2025</a:t>
            </a:fld>
            <a:endParaRPr lang="el-GR"/>
          </a:p>
        </p:txBody>
      </p:sp>
      <p:sp>
        <p:nvSpPr>
          <p:cNvPr id="6" name="Θέση υποσέλιδου 5"/>
          <p:cNvSpPr>
            <a:spLocks noGrp="1"/>
          </p:cNvSpPr>
          <p:nvPr>
            <p:ph type="ftr" sz="quarter" idx="11"/>
          </p:nvPr>
        </p:nvSpPr>
        <p:spPr/>
        <p:txBody>
          <a:bodyPr/>
          <a:lstStyle/>
          <a:p>
            <a:endParaRPr lang="el-GR"/>
          </a:p>
        </p:txBody>
      </p:sp>
      <p:sp>
        <p:nvSpPr>
          <p:cNvPr id="7" name="Θέση αριθμού διαφάνειας 6"/>
          <p:cNvSpPr>
            <a:spLocks noGrp="1"/>
          </p:cNvSpPr>
          <p:nvPr>
            <p:ph type="sldNum" sz="quarter" idx="12"/>
          </p:nvPr>
        </p:nvSpPr>
        <p:spPr/>
        <p:txBody>
          <a:bodyPr/>
          <a:lstStyle/>
          <a:p>
            <a:fld id="{492F0BFE-09C8-4C53-B8F5-44730026CF66}" type="slidenum">
              <a:rPr lang="el-GR" smtClean="0"/>
              <a:pPr/>
              <a:t>‹#›</a:t>
            </a:fld>
            <a:endParaRPr lang="el-G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39"/>
        <p:cNvGrpSpPr/>
        <p:nvPr/>
      </p:nvGrpSpPr>
      <p:grpSpPr>
        <a:xfrm>
          <a:off x="0" y="0"/>
          <a:ext cx="0" cy="0"/>
          <a:chOff x="0" y="0"/>
          <a:chExt cx="0" cy="0"/>
        </a:xfrm>
      </p:grpSpPr>
      <p:sp>
        <p:nvSpPr>
          <p:cNvPr id="40" name="Google Shape;40;p50"/>
          <p:cNvSpPr txBox="1">
            <a:spLocks noGrp="1"/>
          </p:cNvSpPr>
          <p:nvPr>
            <p:ph type="ctrTitle"/>
          </p:nvPr>
        </p:nvSpPr>
        <p:spPr>
          <a:xfrm>
            <a:off x="3886200" y="476125"/>
            <a:ext cx="8096400" cy="1538100"/>
          </a:xfrm>
          <a:prstGeom prst="rect">
            <a:avLst/>
          </a:prstGeom>
          <a:noFill/>
          <a:ln>
            <a:noFill/>
          </a:ln>
        </p:spPr>
        <p:txBody>
          <a:bodyPr spcFirstLastPara="1" wrap="square" lIns="91425" tIns="45700" rIns="91425" bIns="45700" anchor="ctr" anchorCtr="0">
            <a:normAutofit/>
          </a:bodyPr>
          <a:lstStyle>
            <a:lvl1pPr lvl="0" algn="r">
              <a:lnSpc>
                <a:spcPct val="90000"/>
              </a:lnSpc>
              <a:spcBef>
                <a:spcPts val="0"/>
              </a:spcBef>
              <a:spcAft>
                <a:spcPts val="0"/>
              </a:spcAft>
              <a:buClr>
                <a:srgbClr val="253356"/>
              </a:buClr>
              <a:buSzPts val="4000"/>
              <a:buFont typeface="Calibri"/>
              <a:buNone/>
              <a:defRPr sz="4000" b="1">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50"/>
          <p:cNvSpPr txBox="1">
            <a:spLocks noGrp="1"/>
          </p:cNvSpPr>
          <p:nvPr>
            <p:ph type="subTitle" idx="1"/>
          </p:nvPr>
        </p:nvSpPr>
        <p:spPr>
          <a:xfrm>
            <a:off x="5981700" y="2601119"/>
            <a:ext cx="6000750" cy="1655762"/>
          </a:xfrm>
          <a:prstGeom prst="rect">
            <a:avLst/>
          </a:prstGeom>
          <a:noFill/>
          <a:ln>
            <a:noFill/>
          </a:ln>
        </p:spPr>
        <p:txBody>
          <a:bodyPr spcFirstLastPara="1" wrap="square" lIns="91425" tIns="45700" rIns="91425" bIns="45700" anchor="ctr" anchorCtr="0">
            <a:normAutofit/>
          </a:bodyPr>
          <a:lstStyle>
            <a:lvl1pPr lvl="0" algn="r">
              <a:lnSpc>
                <a:spcPct val="90000"/>
              </a:lnSpc>
              <a:spcBef>
                <a:spcPts val="1000"/>
              </a:spcBef>
              <a:spcAft>
                <a:spcPts val="0"/>
              </a:spcAft>
              <a:buClr>
                <a:srgbClr val="253356"/>
              </a:buClr>
              <a:buSzPts val="2400"/>
              <a:buNone/>
              <a:defRPr sz="2400" b="1">
                <a:solidFill>
                  <a:srgbClr val="253356"/>
                </a:solidFill>
                <a:latin typeface="Calibri"/>
                <a:ea typeface="Calibri"/>
                <a:cs typeface="Calibri"/>
                <a:sym typeface="Calibri"/>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2" name="Google Shape;42;p50"/>
          <p:cNvSpPr/>
          <p:nvPr/>
        </p:nvSpPr>
        <p:spPr>
          <a:xfrm>
            <a:off x="0" y="0"/>
            <a:ext cx="11068050" cy="6858000"/>
          </a:xfrm>
          <a:prstGeom prst="rtTriangle">
            <a:avLst/>
          </a:prstGeom>
          <a:solidFill>
            <a:srgbClr val="3462AB"/>
          </a:solidFill>
          <a:ln>
            <a:noFill/>
          </a:ln>
        </p:spPr>
        <p:txBody>
          <a:bodyPr spcFirstLastPara="1" wrap="square" lIns="91425" tIns="45700" rIns="91425" bIns="45700" anchor="ctr" anchorCtr="0">
            <a:noAutofit/>
          </a:bodyPr>
          <a:lstStyle/>
          <a:p>
            <a:pPr algn="ctr">
              <a:buClr>
                <a:srgbClr val="000000"/>
              </a:buClr>
              <a:buSzPts val="1800"/>
              <a:buFont typeface="Arial"/>
              <a:buNone/>
            </a:pPr>
            <a:endParaRPr sz="1400" kern="0">
              <a:solidFill>
                <a:srgbClr val="FFFFFF"/>
              </a:solidFill>
              <a:latin typeface="Calibri"/>
              <a:ea typeface="Calibri"/>
              <a:cs typeface="Calibri"/>
              <a:sym typeface="Calibri"/>
            </a:endParaRPr>
          </a:p>
        </p:txBody>
      </p:sp>
      <p:pic>
        <p:nvPicPr>
          <p:cNvPr id="43" name="Google Shape;43;p50" descr="Image result for ÎµÎ»Î»Î·Î½Î¹ÎºÎ· Î´Î·Î¼Î¿ÎºÏÎ±ÏÎ¹Î± logo"/>
          <p:cNvPicPr preferRelativeResize="0"/>
          <p:nvPr/>
        </p:nvPicPr>
        <p:blipFill rotWithShape="1">
          <a:blip r:embed="rId2">
            <a:alphaModFix/>
          </a:blip>
          <a:srcRect/>
          <a:stretch/>
        </p:blipFill>
        <p:spPr>
          <a:xfrm>
            <a:off x="1158746" y="4256881"/>
            <a:ext cx="1832104" cy="1795463"/>
          </a:xfrm>
          <a:prstGeom prst="rect">
            <a:avLst/>
          </a:prstGeom>
          <a:noFill/>
          <a:ln>
            <a:noFill/>
          </a:ln>
        </p:spPr>
      </p:pic>
    </p:spTree>
    <p:extLst>
      <p:ext uri="{BB962C8B-B14F-4D97-AF65-F5344CB8AC3E}">
        <p14:creationId xmlns:p14="http://schemas.microsoft.com/office/powerpoint/2010/main" val="242635315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Shape 50"/>
        <p:cNvGrpSpPr/>
        <p:nvPr/>
      </p:nvGrpSpPr>
      <p:grpSpPr>
        <a:xfrm>
          <a:off x="0" y="0"/>
          <a:ext cx="0" cy="0"/>
          <a:chOff x="0" y="0"/>
          <a:chExt cx="0" cy="0"/>
        </a:xfrm>
      </p:grpSpPr>
      <p:sp>
        <p:nvSpPr>
          <p:cNvPr id="51" name="Google Shape;51;p57"/>
          <p:cNvSpPr txBox="1">
            <a:spLocks noGrp="1"/>
          </p:cNvSpPr>
          <p:nvPr>
            <p:ph type="title"/>
          </p:nvPr>
        </p:nvSpPr>
        <p:spPr>
          <a:xfrm>
            <a:off x="344311" y="263525"/>
            <a:ext cx="11503378" cy="605719"/>
          </a:xfrm>
          <a:prstGeom prst="rect">
            <a:avLst/>
          </a:prstGeom>
          <a:solidFill>
            <a:schemeClr val="accent3">
              <a:lumMod val="50000"/>
            </a:schemeClr>
          </a:solid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53356"/>
              </a:buClr>
              <a:buSzPts val="3200"/>
              <a:buFont typeface="Helvetica Neue"/>
              <a:buNone/>
              <a:defRPr b="1">
                <a:solidFill>
                  <a:schemeClr val="bg1"/>
                </a:solidFill>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 name="Θέση ημερομηνίας 7">
            <a:extLst>
              <a:ext uri="{FF2B5EF4-FFF2-40B4-BE49-F238E27FC236}">
                <a16:creationId xmlns:a16="http://schemas.microsoft.com/office/drawing/2014/main" id="{3192B3BC-E2BA-4096-9296-16A1DA6C3A4E}"/>
              </a:ext>
            </a:extLst>
          </p:cNvPr>
          <p:cNvSpPr>
            <a:spLocks noGrp="1"/>
          </p:cNvSpPr>
          <p:nvPr>
            <p:ph type="dt" idx="10"/>
          </p:nvPr>
        </p:nvSpPr>
        <p:spPr/>
        <p:txBody>
          <a:bodyPr/>
          <a:lstStyle/>
          <a:p>
            <a:endParaRPr lang="x-none"/>
          </a:p>
        </p:txBody>
      </p:sp>
      <p:sp>
        <p:nvSpPr>
          <p:cNvPr id="9" name="Θέση υποσέλιδου 8">
            <a:extLst>
              <a:ext uri="{FF2B5EF4-FFF2-40B4-BE49-F238E27FC236}">
                <a16:creationId xmlns:a16="http://schemas.microsoft.com/office/drawing/2014/main" id="{7236FC45-2DF0-49DF-9476-140A7A85E384}"/>
              </a:ext>
            </a:extLst>
          </p:cNvPr>
          <p:cNvSpPr>
            <a:spLocks noGrp="1"/>
          </p:cNvSpPr>
          <p:nvPr>
            <p:ph type="ftr" idx="11"/>
          </p:nvPr>
        </p:nvSpPr>
        <p:spPr/>
        <p:txBody>
          <a:bodyPr/>
          <a:lstStyle/>
          <a:p>
            <a:endParaRPr lang="x-none"/>
          </a:p>
        </p:txBody>
      </p:sp>
      <p:sp>
        <p:nvSpPr>
          <p:cNvPr id="10" name="Θέση αριθμού διαφάνειας 9">
            <a:extLst>
              <a:ext uri="{FF2B5EF4-FFF2-40B4-BE49-F238E27FC236}">
                <a16:creationId xmlns:a16="http://schemas.microsoft.com/office/drawing/2014/main" id="{FCD69816-D9C8-45B2-B5ED-A83F4C7DF21B}"/>
              </a:ext>
            </a:extLst>
          </p:cNvPr>
          <p:cNvSpPr>
            <a:spLocks noGrp="1"/>
          </p:cNvSpPr>
          <p:nvPr>
            <p:ph type="sldNum" idx="12"/>
          </p:nvPr>
        </p:nvSpPr>
        <p:spPr/>
        <p:txBody>
          <a:bodyPr/>
          <a:lstStyle/>
          <a:p>
            <a:fld id="{00000000-1234-1234-1234-123412341234}" type="slidenum">
              <a:rPr lang="en-US" smtClean="0"/>
              <a:pPr/>
              <a:t>‹#›</a:t>
            </a:fld>
            <a:endParaRPr lang="en-US"/>
          </a:p>
        </p:txBody>
      </p:sp>
    </p:spTree>
    <p:extLst>
      <p:ext uri="{BB962C8B-B14F-4D97-AF65-F5344CB8AC3E}">
        <p14:creationId xmlns:p14="http://schemas.microsoft.com/office/powerpoint/2010/main" val="170517626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0"/>
        <p:cNvGrpSpPr/>
        <p:nvPr/>
      </p:nvGrpSpPr>
      <p:grpSpPr>
        <a:xfrm>
          <a:off x="0" y="0"/>
          <a:ext cx="0" cy="0"/>
          <a:chOff x="0" y="0"/>
          <a:chExt cx="0" cy="0"/>
        </a:xfrm>
      </p:grpSpPr>
      <p:sp>
        <p:nvSpPr>
          <p:cNvPr id="51" name="Google Shape;51;p57"/>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53356"/>
              </a:buClr>
              <a:buSzPts val="3200"/>
              <a:buFont typeface="Helvetica Neue"/>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57"/>
          <p:cNvSpPr txBox="1">
            <a:spLocks noGrp="1"/>
          </p:cNvSpPr>
          <p:nvPr>
            <p:ph type="body" idx="1"/>
          </p:nvPr>
        </p:nvSpPr>
        <p:spPr>
          <a:xfrm>
            <a:off x="838200" y="1463675"/>
            <a:ext cx="10515600" cy="4351338"/>
          </a:xfrm>
          <a:prstGeom prst="rect">
            <a:avLst/>
          </a:prstGeom>
          <a:noFill/>
          <a:ln>
            <a:noFill/>
          </a:ln>
        </p:spPr>
        <p:txBody>
          <a:bodyPr spcFirstLastPara="1" wrap="square" lIns="91425" tIns="45700" rIns="91425" bIns="45700" anchor="t" anchorCtr="0">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 name="Google Shape;53;p57"/>
          <p:cNvSpPr txBox="1">
            <a:spLocks noGrp="1"/>
          </p:cNvSpPr>
          <p:nvPr>
            <p:ph type="dt" idx="10"/>
          </p:nvPr>
        </p:nvSpPr>
        <p:spPr>
          <a:xfrm>
            <a:off x="2886075" y="6359525"/>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x-none"/>
          </a:p>
        </p:txBody>
      </p:sp>
      <p:sp>
        <p:nvSpPr>
          <p:cNvPr id="54" name="Google Shape;54;p57"/>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x-none"/>
          </a:p>
        </p:txBody>
      </p:sp>
      <p:sp>
        <p:nvSpPr>
          <p:cNvPr id="55" name="Google Shape;55;p5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Calibri" panose="020F0502020204030204" pitchFamily="34" charset="0"/>
                <a:ea typeface="Helvetica Neue"/>
                <a:cs typeface="Calibri" panose="020F0502020204030204" pitchFamily="34" charset="0"/>
                <a:sym typeface="Helvetica Neue"/>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7785356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56"/>
        <p:cNvGrpSpPr/>
        <p:nvPr/>
      </p:nvGrpSpPr>
      <p:grpSpPr>
        <a:xfrm>
          <a:off x="0" y="0"/>
          <a:ext cx="0" cy="0"/>
          <a:chOff x="0" y="0"/>
          <a:chExt cx="0" cy="0"/>
        </a:xfrm>
      </p:grpSpPr>
      <p:sp>
        <p:nvSpPr>
          <p:cNvPr id="57" name="Google Shape;57;p58"/>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53356"/>
              </a:buClr>
              <a:buSzPts val="3200"/>
              <a:buFont typeface="Helvetica Neue"/>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58"/>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 name="Google Shape;59;p58"/>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298450" algn="l">
              <a:lnSpc>
                <a:spcPct val="90000"/>
              </a:lnSpc>
              <a:spcBef>
                <a:spcPts val="1000"/>
              </a:spcBef>
              <a:spcAft>
                <a:spcPts val="0"/>
              </a:spcAft>
              <a:buClr>
                <a:schemeClr val="dk1"/>
              </a:buClr>
              <a:buSzPts val="1100"/>
              <a:buChar char="•"/>
              <a:defRPr>
                <a:latin typeface="Calibri" panose="020F0502020204030204" pitchFamily="34" charset="0"/>
                <a:ea typeface="Helvetica Neue"/>
                <a:cs typeface="Calibri" panose="020F0502020204030204" pitchFamily="34" charset="0"/>
                <a:sym typeface="Helvetica Neue"/>
              </a:defRPr>
            </a:lvl1pPr>
            <a:lvl2pPr marL="914400" lvl="1"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2pPr>
            <a:lvl3pPr marL="1371600" lvl="2"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3pPr>
            <a:lvl4pPr marL="1828800" lvl="3"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4pPr>
            <a:lvl5pPr marL="2286000" lvl="4" indent="-298450" algn="l">
              <a:lnSpc>
                <a:spcPct val="90000"/>
              </a:lnSpc>
              <a:spcBef>
                <a:spcPts val="500"/>
              </a:spcBef>
              <a:spcAft>
                <a:spcPts val="0"/>
              </a:spcAft>
              <a:buClr>
                <a:schemeClr val="dk1"/>
              </a:buClr>
              <a:buSzPts val="1100"/>
              <a:buChar char="•"/>
              <a:defRPr>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 name="Google Shape;60;p58"/>
          <p:cNvSpPr txBox="1">
            <a:spLocks noGrp="1"/>
          </p:cNvSpPr>
          <p:nvPr>
            <p:ph type="dt" idx="10"/>
          </p:nvPr>
        </p:nvSpPr>
        <p:spPr>
          <a:xfrm>
            <a:off x="2886075" y="6359525"/>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x-none"/>
          </a:p>
        </p:txBody>
      </p:sp>
      <p:sp>
        <p:nvSpPr>
          <p:cNvPr id="61" name="Google Shape;61;p58"/>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x-none"/>
          </a:p>
        </p:txBody>
      </p:sp>
      <p:sp>
        <p:nvSpPr>
          <p:cNvPr id="62" name="Google Shape;62;p5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Calibri" panose="020F0502020204030204" pitchFamily="34" charset="0"/>
                <a:ea typeface="Helvetica Neue"/>
                <a:cs typeface="Calibri" panose="020F0502020204030204" pitchFamily="34" charset="0"/>
                <a:sym typeface="Helvetica Neue"/>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7203198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98"/>
        <p:cNvGrpSpPr/>
        <p:nvPr/>
      </p:nvGrpSpPr>
      <p:grpSpPr>
        <a:xfrm>
          <a:off x="0" y="0"/>
          <a:ext cx="0" cy="0"/>
          <a:chOff x="0" y="0"/>
          <a:chExt cx="0" cy="0"/>
        </a:xfrm>
      </p:grpSpPr>
      <p:sp>
        <p:nvSpPr>
          <p:cNvPr id="99" name="Google Shape;99;p64"/>
          <p:cNvSpPr/>
          <p:nvPr/>
        </p:nvSpPr>
        <p:spPr>
          <a:xfrm rot="10800000">
            <a:off x="1123950" y="0"/>
            <a:ext cx="11068050" cy="6858000"/>
          </a:xfrm>
          <a:prstGeom prst="rtTriangle">
            <a:avLst/>
          </a:prstGeom>
          <a:solidFill>
            <a:srgbClr val="3462AB"/>
          </a:solidFill>
          <a:ln>
            <a:noFill/>
          </a:ln>
        </p:spPr>
        <p:txBody>
          <a:bodyPr spcFirstLastPara="1" wrap="square" lIns="91425" tIns="45700" rIns="91425" bIns="45700" anchor="ctr" anchorCtr="0">
            <a:noAutofit/>
          </a:bodyPr>
          <a:lstStyle/>
          <a:p>
            <a:pPr algn="ctr">
              <a:buClr>
                <a:srgbClr val="000000"/>
              </a:buClr>
              <a:buSzPts val="1800"/>
              <a:buFont typeface="Arial"/>
              <a:buNone/>
            </a:pPr>
            <a:endParaRPr sz="1400" kern="0">
              <a:solidFill>
                <a:srgbClr val="FFFFFF"/>
              </a:solidFill>
              <a:latin typeface="Calibri"/>
              <a:ea typeface="Calibri"/>
              <a:cs typeface="Calibri"/>
              <a:sym typeface="Calibri"/>
            </a:endParaRPr>
          </a:p>
        </p:txBody>
      </p:sp>
      <p:pic>
        <p:nvPicPr>
          <p:cNvPr id="100" name="Google Shape;100;p64" descr="Image result for ÎµÎ»Î»Î·Î½Î¹ÎºÎ· Î´Î·Î¼Î¿ÎºÏÎ±ÏÎ¹Î± logo"/>
          <p:cNvPicPr preferRelativeResize="0"/>
          <p:nvPr/>
        </p:nvPicPr>
        <p:blipFill rotWithShape="1">
          <a:blip r:embed="rId2">
            <a:alphaModFix/>
          </a:blip>
          <a:srcRect/>
          <a:stretch/>
        </p:blipFill>
        <p:spPr>
          <a:xfrm>
            <a:off x="8473946" y="1268753"/>
            <a:ext cx="1832104" cy="1795463"/>
          </a:xfrm>
          <a:prstGeom prst="rect">
            <a:avLst/>
          </a:prstGeom>
          <a:noFill/>
          <a:ln>
            <a:noFill/>
          </a:ln>
        </p:spPr>
      </p:pic>
      <p:sp>
        <p:nvSpPr>
          <p:cNvPr id="101" name="Google Shape;101;p64"/>
          <p:cNvSpPr/>
          <p:nvPr/>
        </p:nvSpPr>
        <p:spPr>
          <a:xfrm>
            <a:off x="0" y="4672664"/>
            <a:ext cx="2922814" cy="2185336"/>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800"/>
              <a:buFont typeface="Arial"/>
              <a:buNone/>
            </a:pPr>
            <a:endParaRPr sz="1400" kern="0">
              <a:solidFill>
                <a:srgbClr val="FFFFFF"/>
              </a:solidFill>
              <a:latin typeface="Helvetica Neue"/>
              <a:ea typeface="Helvetica Neue"/>
              <a:cs typeface="Helvetica Neue"/>
              <a:sym typeface="Helvetica Neue"/>
            </a:endParaRPr>
          </a:p>
        </p:txBody>
      </p:sp>
      <p:sp>
        <p:nvSpPr>
          <p:cNvPr id="102" name="Google Shape;102;p64"/>
          <p:cNvSpPr txBox="1">
            <a:spLocks noGrp="1"/>
          </p:cNvSpPr>
          <p:nvPr>
            <p:ph type="ctrTitle"/>
          </p:nvPr>
        </p:nvSpPr>
        <p:spPr>
          <a:xfrm>
            <a:off x="95250" y="4313351"/>
            <a:ext cx="8096250" cy="238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253356"/>
              </a:buClr>
              <a:buSzPts val="6000"/>
              <a:buFont typeface="Helvetica Neue"/>
              <a:buNone/>
              <a:defRPr sz="6000">
                <a:latin typeface="Calibri" panose="020F0502020204030204" pitchFamily="34" charset="0"/>
                <a:ea typeface="Helvetica Neue"/>
                <a:cs typeface="Calibri" panose="020F050202020403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 name="Google Shape;103;p64"/>
          <p:cNvSpPr txBox="1">
            <a:spLocks noGrp="1"/>
          </p:cNvSpPr>
          <p:nvPr>
            <p:ph type="subTitle" idx="1"/>
          </p:nvPr>
        </p:nvSpPr>
        <p:spPr>
          <a:xfrm>
            <a:off x="108857" y="2657588"/>
            <a:ext cx="6000750" cy="1655762"/>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1"/>
              </a:buClr>
              <a:buSzPts val="2400"/>
              <a:buNone/>
              <a:defRPr sz="2400">
                <a:latin typeface="Calibri" panose="020F0502020204030204" pitchFamily="34" charset="0"/>
                <a:ea typeface="Helvetica Neue"/>
                <a:cs typeface="Calibri" panose="020F050202020403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903547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Custom Layout" preserve="1">
  <p:cSld name="Custom Layout">
    <p:spTree>
      <p:nvGrpSpPr>
        <p:cNvPr id="1" name="Shape 114"/>
        <p:cNvGrpSpPr/>
        <p:nvPr/>
      </p:nvGrpSpPr>
      <p:grpSpPr>
        <a:xfrm>
          <a:off x="0" y="0"/>
          <a:ext cx="0" cy="0"/>
          <a:chOff x="0" y="0"/>
          <a:chExt cx="0" cy="0"/>
        </a:xfrm>
      </p:grpSpPr>
      <p:pic>
        <p:nvPicPr>
          <p:cNvPr id="3" name="Εικόνα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466"/>
            <a:ext cx="12192000" cy="6858000"/>
          </a:xfrm>
          <a:prstGeom prst="rect">
            <a:avLst/>
          </a:prstGeom>
        </p:spPr>
      </p:pic>
      <p:sp>
        <p:nvSpPr>
          <p:cNvPr id="6" name="Rectangle 5">
            <a:extLst>
              <a:ext uri="{FF2B5EF4-FFF2-40B4-BE49-F238E27FC236}">
                <a16:creationId xmlns:a16="http://schemas.microsoft.com/office/drawing/2014/main" id="{2F00ACD9-48D2-08B9-B74B-779C486642BA}"/>
              </a:ext>
            </a:extLst>
          </p:cNvPr>
          <p:cNvSpPr/>
          <p:nvPr userDrawn="1"/>
        </p:nvSpPr>
        <p:spPr>
          <a:xfrm>
            <a:off x="1171223" y="4906349"/>
            <a:ext cx="4021666" cy="1267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rgbClr val="000000"/>
              </a:buClr>
              <a:buFont typeface="Arial"/>
              <a:buNone/>
            </a:pPr>
            <a:r>
              <a:rPr lang="el-GR" sz="1400" b="1" kern="0">
                <a:solidFill>
                  <a:srgbClr val="FFFFFF"/>
                </a:solidFill>
                <a:sym typeface="Arial"/>
              </a:rPr>
              <a:t>ΕΛΛΗΝΙΚΗ ΔΗΜΟΚΡΑΤΙΑ</a:t>
            </a:r>
          </a:p>
          <a:p>
            <a:pPr>
              <a:buClr>
                <a:srgbClr val="000000"/>
              </a:buClr>
              <a:buFont typeface="Arial"/>
              <a:buNone/>
            </a:pPr>
            <a:r>
              <a:rPr lang="el-GR" sz="1400" b="1" kern="0" err="1">
                <a:solidFill>
                  <a:srgbClr val="FFFFFF"/>
                </a:solidFill>
                <a:sym typeface="Arial"/>
              </a:rPr>
              <a:t>Κυβ</a:t>
            </a:r>
            <a:r>
              <a:rPr lang="x-none" sz="1400" b="1" kern="0">
                <a:solidFill>
                  <a:srgbClr val="FFFFFF"/>
                </a:solidFill>
                <a:sym typeface="Arial"/>
              </a:rPr>
              <a:t>έ</a:t>
            </a:r>
            <a:r>
              <a:rPr lang="el-GR" sz="1400" b="1" kern="0" err="1">
                <a:solidFill>
                  <a:srgbClr val="FFFFFF"/>
                </a:solidFill>
                <a:sym typeface="Arial"/>
              </a:rPr>
              <a:t>ρνηση</a:t>
            </a:r>
            <a:endParaRPr lang="x-none" sz="1400" b="1" kern="0">
              <a:solidFill>
                <a:srgbClr val="FFFFFF"/>
              </a:solidFill>
              <a:sym typeface="Arial"/>
            </a:endParaRPr>
          </a:p>
        </p:txBody>
      </p:sp>
    </p:spTree>
    <p:extLst>
      <p:ext uri="{BB962C8B-B14F-4D97-AF65-F5344CB8AC3E}">
        <p14:creationId xmlns:p14="http://schemas.microsoft.com/office/powerpoint/2010/main" val="14759809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5" name="Subtitle 2"/>
          <p:cNvSpPr>
            <a:spLocks noGrp="1"/>
          </p:cNvSpPr>
          <p:nvPr>
            <p:ph type="subTitle" idx="1"/>
          </p:nvPr>
        </p:nvSpPr>
        <p:spPr>
          <a:xfrm>
            <a:off x="837415" y="3348000"/>
            <a:ext cx="9144000"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724201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839790" y="5102578"/>
            <a:ext cx="10514011" cy="1126732"/>
          </a:xfrm>
        </p:spPr>
        <p:txBody>
          <a:bodyPr/>
          <a:lstStyle>
            <a:lvl1pPr>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03077" y="1454480"/>
            <a:ext cx="4461646" cy="429533"/>
          </a:xfrm>
        </p:spPr>
        <p:txBody>
          <a:bodyPr anchor="b">
            <a:normAutofit/>
          </a:bodyPr>
          <a:lstStyle>
            <a:lvl1pPr marL="0" indent="0" algn="ctr">
              <a:buNone/>
              <a:defRPr sz="1600" b="1"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Picture Placeholder 7"/>
          <p:cNvSpPr>
            <a:spLocks noGrp="1"/>
          </p:cNvSpPr>
          <p:nvPr>
            <p:ph type="pic" sz="quarter" idx="13"/>
          </p:nvPr>
        </p:nvSpPr>
        <p:spPr>
          <a:xfrm>
            <a:off x="1386831" y="1908000"/>
            <a:ext cx="4430769" cy="2880000"/>
          </a:xfrm>
        </p:spPr>
        <p:txBody>
          <a:bodyPr/>
          <a:lstStyle/>
          <a:p>
            <a:endParaRPr lang="en-GB"/>
          </a:p>
        </p:txBody>
      </p:sp>
      <p:sp>
        <p:nvSpPr>
          <p:cNvPr id="11" name="Picture Placeholder 7"/>
          <p:cNvSpPr>
            <a:spLocks noGrp="1"/>
          </p:cNvSpPr>
          <p:nvPr>
            <p:ph type="pic" sz="quarter" idx="14"/>
          </p:nvPr>
        </p:nvSpPr>
        <p:spPr>
          <a:xfrm>
            <a:off x="6203077" y="1908000"/>
            <a:ext cx="4430769" cy="2880000"/>
          </a:xfrm>
        </p:spPr>
        <p:txBody>
          <a:bodyPr/>
          <a:lstStyle/>
          <a:p>
            <a:endParaRPr lang="en-GB"/>
          </a:p>
        </p:txBody>
      </p:sp>
      <p:sp>
        <p:nvSpPr>
          <p:cNvPr id="12" name="Text Placeholder 4"/>
          <p:cNvSpPr>
            <a:spLocks noGrp="1"/>
          </p:cNvSpPr>
          <p:nvPr>
            <p:ph type="body" sz="quarter" idx="15"/>
          </p:nvPr>
        </p:nvSpPr>
        <p:spPr>
          <a:xfrm>
            <a:off x="1386831" y="1454479"/>
            <a:ext cx="4461646" cy="429533"/>
          </a:xfrm>
        </p:spPr>
        <p:txBody>
          <a:bodyPr anchor="b">
            <a:normAutofit/>
          </a:bodyPr>
          <a:lstStyle>
            <a:lvl1pPr marL="0" indent="0" algn="ctr">
              <a:buNone/>
              <a:defRPr sz="1600" b="1"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Title 1"/>
          <p:cNvSpPr txBox="1">
            <a:spLocks/>
          </p:cNvSpPr>
          <p:nvPr userDrawn="1"/>
        </p:nvSpPr>
        <p:spPr>
          <a:xfrm>
            <a:off x="7565294" y="6356750"/>
            <a:ext cx="3788507" cy="37469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baseline="0">
                <a:solidFill>
                  <a:schemeClr val="tx2"/>
                </a:solidFill>
                <a:latin typeface="Arial" panose="020B0604020202020204" pitchFamily="34" charset="0"/>
                <a:ea typeface="+mj-ea"/>
                <a:cs typeface="+mj-cs"/>
              </a:defRPr>
            </a:lvl1pPr>
          </a:lstStyle>
          <a:p>
            <a:pPr algn="r">
              <a:buClr>
                <a:srgbClr val="000000"/>
              </a:buClr>
              <a:buFont typeface="Arial"/>
              <a:buNone/>
            </a:pPr>
            <a:fld id="{08C41CA0-F5C0-45EB-B068-8C50D29B1E8B}" type="slidenum">
              <a:rPr lang="en-US" sz="1200" smtClean="0">
                <a:solidFill>
                  <a:srgbClr val="000000">
                    <a:lumMod val="50000"/>
                    <a:lumOff val="50000"/>
                  </a:srgbClr>
                </a:solidFill>
                <a:sym typeface="Arial"/>
              </a:rPr>
              <a:pPr algn="r">
                <a:buClr>
                  <a:srgbClr val="000000"/>
                </a:buClr>
                <a:buFont typeface="Arial"/>
                <a:buNone/>
              </a:pPr>
              <a:t>‹#›</a:t>
            </a:fld>
            <a:endParaRPr lang="en-US" sz="1200">
              <a:solidFill>
                <a:srgbClr val="000000">
                  <a:lumMod val="50000"/>
                  <a:lumOff val="50000"/>
                </a:srgbClr>
              </a:solidFill>
              <a:sym typeface="Arial"/>
            </a:endParaRPr>
          </a:p>
        </p:txBody>
      </p:sp>
      <p:cxnSp>
        <p:nvCxnSpPr>
          <p:cNvPr id="17" name="Straight Connector 16"/>
          <p:cNvCxnSpPr/>
          <p:nvPr userDrawn="1"/>
        </p:nvCxnSpPr>
        <p:spPr>
          <a:xfrm>
            <a:off x="838201" y="1046000"/>
            <a:ext cx="4063531" cy="0"/>
          </a:xfrm>
          <a:prstGeom prst="line">
            <a:avLst/>
          </a:prstGeom>
          <a:ln>
            <a:solidFill>
              <a:srgbClr val="134A86"/>
            </a:solidFill>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p:nvPr>
        </p:nvSpPr>
        <p:spPr>
          <a:xfrm>
            <a:off x="838201" y="365128"/>
            <a:ext cx="10515600" cy="989540"/>
          </a:xfrm>
        </p:spPr>
        <p:txBody>
          <a:bodyPr>
            <a:normAutofit/>
          </a:bodyPr>
          <a:lstStyle>
            <a:lvl1pPr>
              <a:defRPr sz="2400"/>
            </a:lvl1pPr>
          </a:lstStyle>
          <a:p>
            <a:r>
              <a:rPr lang="en-US"/>
              <a:t>Click to edit Master title style</a:t>
            </a:r>
          </a:p>
        </p:txBody>
      </p:sp>
    </p:spTree>
    <p:extLst>
      <p:ext uri="{BB962C8B-B14F-4D97-AF65-F5344CB8AC3E}">
        <p14:creationId xmlns:p14="http://schemas.microsoft.com/office/powerpoint/2010/main" val="14785996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17"/>
        <p:cNvGrpSpPr/>
        <p:nvPr/>
      </p:nvGrpSpPr>
      <p:grpSpPr>
        <a:xfrm>
          <a:off x="0" y="0"/>
          <a:ext cx="0" cy="0"/>
          <a:chOff x="0" y="0"/>
          <a:chExt cx="0" cy="0"/>
        </a:xfrm>
      </p:grpSpPr>
      <p:sp>
        <p:nvSpPr>
          <p:cNvPr id="18" name="Google Shape;18;p65"/>
          <p:cNvSpPr/>
          <p:nvPr/>
        </p:nvSpPr>
        <p:spPr>
          <a:xfrm>
            <a:off x="3176" y="2608637"/>
            <a:ext cx="6858000" cy="4249363"/>
          </a:xfrm>
          <a:prstGeom prst="rtTriangle">
            <a:avLst/>
          </a:prstGeom>
          <a:solidFill>
            <a:srgbClr val="013476"/>
          </a:solidFill>
          <a:ln>
            <a:noFill/>
          </a:ln>
        </p:spPr>
        <p:txBody>
          <a:bodyPr spcFirstLastPara="1" wrap="square" lIns="91425" tIns="45700" rIns="91425" bIns="45700" anchor="ctr" anchorCtr="0">
            <a:noAutofit/>
          </a:bodyPr>
          <a:lstStyle/>
          <a:p>
            <a:pPr algn="ctr">
              <a:buClr>
                <a:srgbClr val="000000"/>
              </a:buClr>
              <a:buSzPts val="1800"/>
              <a:buFont typeface="Arial"/>
              <a:buNone/>
            </a:pPr>
            <a:endParaRPr sz="1400" kern="0">
              <a:solidFill>
                <a:srgbClr val="FFFFFF"/>
              </a:solidFill>
              <a:latin typeface="Calibri"/>
              <a:ea typeface="Calibri"/>
              <a:cs typeface="Calibri"/>
              <a:sym typeface="Calibri"/>
            </a:endParaRPr>
          </a:p>
        </p:txBody>
      </p:sp>
      <p:pic>
        <p:nvPicPr>
          <p:cNvPr id="19" name="Google Shape;19;p65" descr="A close up of a logo&#10;&#10;Description automatically generated"/>
          <p:cNvPicPr preferRelativeResize="0"/>
          <p:nvPr/>
        </p:nvPicPr>
        <p:blipFill rotWithShape="1">
          <a:blip r:embed="rId2">
            <a:alphaModFix/>
          </a:blip>
          <a:srcRect l="2185" t="6084" r="87330" b="75016"/>
          <a:stretch/>
        </p:blipFill>
        <p:spPr>
          <a:xfrm>
            <a:off x="869970" y="5228949"/>
            <a:ext cx="1157601" cy="1173678"/>
          </a:xfrm>
          <a:prstGeom prst="rect">
            <a:avLst/>
          </a:prstGeom>
          <a:noFill/>
          <a:ln>
            <a:noFill/>
          </a:ln>
        </p:spPr>
      </p:pic>
    </p:spTree>
    <p:extLst>
      <p:ext uri="{BB962C8B-B14F-4D97-AF65-F5344CB8AC3E}">
        <p14:creationId xmlns:p14="http://schemas.microsoft.com/office/powerpoint/2010/main" val="11806133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3"/>
        <p:cNvGrpSpPr/>
        <p:nvPr/>
      </p:nvGrpSpPr>
      <p:grpSpPr>
        <a:xfrm>
          <a:off x="0" y="0"/>
          <a:ext cx="0" cy="0"/>
          <a:chOff x="0" y="0"/>
          <a:chExt cx="0" cy="0"/>
        </a:xfrm>
      </p:grpSpPr>
      <p:sp>
        <p:nvSpPr>
          <p:cNvPr id="24" name="Google Shape;24;p6"/>
          <p:cNvSpPr txBox="1">
            <a:spLocks noGrp="1"/>
          </p:cNvSpPr>
          <p:nvPr>
            <p:ph type="title"/>
          </p:nvPr>
        </p:nvSpPr>
        <p:spPr>
          <a:xfrm>
            <a:off x="947033" y="715533"/>
            <a:ext cx="10298000" cy="641600"/>
          </a:xfrm>
          <a:prstGeom prst="rect">
            <a:avLst/>
          </a:prstGeom>
        </p:spPr>
        <p:txBody>
          <a:bodyPr spcFirstLastPara="1" wrap="square" lIns="91425" tIns="91425" rIns="91425" bIns="91425" anchor="ctr"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Tree>
    <p:extLst>
      <p:ext uri="{BB962C8B-B14F-4D97-AF65-F5344CB8AC3E}">
        <p14:creationId xmlns:p14="http://schemas.microsoft.com/office/powerpoint/2010/main" val="3690101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theme" Target="../theme/theme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10" Type="http://schemas.openxmlformats.org/officeDocument/2006/relationships/image" Target="../media/image3.png"/><Relationship Id="rId4" Type="http://schemas.openxmlformats.org/officeDocument/2006/relationships/slideLayout" Target="../slideLayouts/slideLayout20.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3.png"/><Relationship Id="rId5" Type="http://schemas.openxmlformats.org/officeDocument/2006/relationships/slideLayout" Target="../slideLayouts/slideLayout29.xml"/><Relationship Id="rId10" Type="http://schemas.openxmlformats.org/officeDocument/2006/relationships/theme" Target="../theme/theme3.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6"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image" Target="../media/image3.png"/><Relationship Id="rId5" Type="http://schemas.openxmlformats.org/officeDocument/2006/relationships/slideLayout" Target="../slideLayouts/slideLayout53.xml"/><Relationship Id="rId10" Type="http://schemas.openxmlformats.org/officeDocument/2006/relationships/theme" Target="../theme/theme5.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theme" Target="../theme/theme6.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slideLayout" Target="../slideLayouts/slideLayout79.xml"/><Relationship Id="rId1" Type="http://schemas.openxmlformats.org/officeDocument/2006/relationships/slideLayout" Target="../slideLayouts/slideLayout78.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image" Target="../media/image3.png"/><Relationship Id="rId5" Type="http://schemas.openxmlformats.org/officeDocument/2006/relationships/slideLayout" Target="../slideLayouts/slideLayout85.xml"/><Relationship Id="rId10" Type="http://schemas.openxmlformats.org/officeDocument/2006/relationships/theme" Target="../theme/theme8.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image" Target="../media/image3.png"/><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theme" Target="../theme/theme9.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τίτλου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l-GR"/>
              <a:t>Στυλ κύριου τίτλου</a:t>
            </a:r>
          </a:p>
        </p:txBody>
      </p:sp>
      <p:sp>
        <p:nvSpPr>
          <p:cNvPr id="3" name="Θέση κειμένου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B69728-13CB-4FA4-904D-CF5C4C899BE6}" type="datetimeFigureOut">
              <a:rPr lang="el-GR" smtClean="0"/>
              <a:pPr/>
              <a:t>23/7/2025</a:t>
            </a:fld>
            <a:endParaRPr lang="el-GR"/>
          </a:p>
        </p:txBody>
      </p:sp>
      <p:sp>
        <p:nvSpPr>
          <p:cNvPr id="5" name="Θέση υποσέλιδου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Θέση αριθμού διαφάνειας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2F0BFE-09C8-4C53-B8F5-44730026CF66}" type="slidenum">
              <a:rPr lang="el-GR" smtClean="0"/>
              <a:pPr/>
              <a:t>‹#›</a:t>
            </a:fld>
            <a:endParaRPr lang="el-G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73" r:id="rId13"/>
    <p:sldLayoutId id="2147483691" r:id="rId14"/>
    <p:sldLayoutId id="2147483774" r:id="rId15"/>
    <p:sldLayoutId id="2147483775"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pattFill prst="pct25">
          <a:fgClr>
            <a:schemeClr val="accent6">
              <a:lumMod val="95000"/>
            </a:schemeClr>
          </a:fgClr>
          <a:bgClr>
            <a:schemeClr val="accent6"/>
          </a:bgClr>
        </a:patt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950967" y="593367"/>
            <a:ext cx="10290000" cy="763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3000"/>
              <a:buFont typeface="Urbanist"/>
              <a:buNone/>
              <a:defRPr sz="3000" b="1">
                <a:solidFill>
                  <a:schemeClr val="dk1"/>
                </a:solidFill>
                <a:latin typeface="Urbanist"/>
                <a:ea typeface="Urbanist"/>
                <a:cs typeface="Urbanist"/>
                <a:sym typeface="Urbanist"/>
              </a:defRPr>
            </a:lvl1pPr>
            <a:lvl2pPr lvl="1" rtl="0">
              <a:spcBef>
                <a:spcPts val="0"/>
              </a:spcBef>
              <a:spcAft>
                <a:spcPts val="0"/>
              </a:spcAft>
              <a:buClr>
                <a:schemeClr val="dk1"/>
              </a:buClr>
              <a:buSzPts val="3000"/>
              <a:buFont typeface="Raleway"/>
              <a:buNone/>
              <a:defRPr sz="3000" b="1">
                <a:solidFill>
                  <a:schemeClr val="dk1"/>
                </a:solidFill>
                <a:latin typeface="Raleway"/>
                <a:ea typeface="Raleway"/>
                <a:cs typeface="Raleway"/>
                <a:sym typeface="Raleway"/>
              </a:defRPr>
            </a:lvl2pPr>
            <a:lvl3pPr lvl="2" rtl="0">
              <a:spcBef>
                <a:spcPts val="0"/>
              </a:spcBef>
              <a:spcAft>
                <a:spcPts val="0"/>
              </a:spcAft>
              <a:buClr>
                <a:schemeClr val="dk1"/>
              </a:buClr>
              <a:buSzPts val="3000"/>
              <a:buFont typeface="Raleway"/>
              <a:buNone/>
              <a:defRPr sz="3000" b="1">
                <a:solidFill>
                  <a:schemeClr val="dk1"/>
                </a:solidFill>
                <a:latin typeface="Raleway"/>
                <a:ea typeface="Raleway"/>
                <a:cs typeface="Raleway"/>
                <a:sym typeface="Raleway"/>
              </a:defRPr>
            </a:lvl3pPr>
            <a:lvl4pPr lvl="3" rtl="0">
              <a:spcBef>
                <a:spcPts val="0"/>
              </a:spcBef>
              <a:spcAft>
                <a:spcPts val="0"/>
              </a:spcAft>
              <a:buClr>
                <a:schemeClr val="dk1"/>
              </a:buClr>
              <a:buSzPts val="3000"/>
              <a:buFont typeface="Raleway"/>
              <a:buNone/>
              <a:defRPr sz="3000" b="1">
                <a:solidFill>
                  <a:schemeClr val="dk1"/>
                </a:solidFill>
                <a:latin typeface="Raleway"/>
                <a:ea typeface="Raleway"/>
                <a:cs typeface="Raleway"/>
                <a:sym typeface="Raleway"/>
              </a:defRPr>
            </a:lvl4pPr>
            <a:lvl5pPr lvl="4" rtl="0">
              <a:spcBef>
                <a:spcPts val="0"/>
              </a:spcBef>
              <a:spcAft>
                <a:spcPts val="0"/>
              </a:spcAft>
              <a:buClr>
                <a:schemeClr val="dk1"/>
              </a:buClr>
              <a:buSzPts val="3000"/>
              <a:buFont typeface="Raleway"/>
              <a:buNone/>
              <a:defRPr sz="3000" b="1">
                <a:solidFill>
                  <a:schemeClr val="dk1"/>
                </a:solidFill>
                <a:latin typeface="Raleway"/>
                <a:ea typeface="Raleway"/>
                <a:cs typeface="Raleway"/>
                <a:sym typeface="Raleway"/>
              </a:defRPr>
            </a:lvl5pPr>
            <a:lvl6pPr lvl="5" rtl="0">
              <a:spcBef>
                <a:spcPts val="0"/>
              </a:spcBef>
              <a:spcAft>
                <a:spcPts val="0"/>
              </a:spcAft>
              <a:buClr>
                <a:schemeClr val="dk1"/>
              </a:buClr>
              <a:buSzPts val="3000"/>
              <a:buFont typeface="Raleway"/>
              <a:buNone/>
              <a:defRPr sz="3000" b="1">
                <a:solidFill>
                  <a:schemeClr val="dk1"/>
                </a:solidFill>
                <a:latin typeface="Raleway"/>
                <a:ea typeface="Raleway"/>
                <a:cs typeface="Raleway"/>
                <a:sym typeface="Raleway"/>
              </a:defRPr>
            </a:lvl6pPr>
            <a:lvl7pPr lvl="6" rtl="0">
              <a:spcBef>
                <a:spcPts val="0"/>
              </a:spcBef>
              <a:spcAft>
                <a:spcPts val="0"/>
              </a:spcAft>
              <a:buClr>
                <a:schemeClr val="dk1"/>
              </a:buClr>
              <a:buSzPts val="3000"/>
              <a:buFont typeface="Raleway"/>
              <a:buNone/>
              <a:defRPr sz="3000" b="1">
                <a:solidFill>
                  <a:schemeClr val="dk1"/>
                </a:solidFill>
                <a:latin typeface="Raleway"/>
                <a:ea typeface="Raleway"/>
                <a:cs typeface="Raleway"/>
                <a:sym typeface="Raleway"/>
              </a:defRPr>
            </a:lvl7pPr>
            <a:lvl8pPr lvl="7" rtl="0">
              <a:spcBef>
                <a:spcPts val="0"/>
              </a:spcBef>
              <a:spcAft>
                <a:spcPts val="0"/>
              </a:spcAft>
              <a:buClr>
                <a:schemeClr val="dk1"/>
              </a:buClr>
              <a:buSzPts val="3000"/>
              <a:buFont typeface="Raleway"/>
              <a:buNone/>
              <a:defRPr sz="3000" b="1">
                <a:solidFill>
                  <a:schemeClr val="dk1"/>
                </a:solidFill>
                <a:latin typeface="Raleway"/>
                <a:ea typeface="Raleway"/>
                <a:cs typeface="Raleway"/>
                <a:sym typeface="Raleway"/>
              </a:defRPr>
            </a:lvl8pPr>
            <a:lvl9pPr lvl="8" rtl="0">
              <a:spcBef>
                <a:spcPts val="0"/>
              </a:spcBef>
              <a:spcAft>
                <a:spcPts val="0"/>
              </a:spcAft>
              <a:buClr>
                <a:schemeClr val="dk1"/>
              </a:buClr>
              <a:buSzPts val="3000"/>
              <a:buFont typeface="Raleway"/>
              <a:buNone/>
              <a:defRPr sz="3000" b="1">
                <a:solidFill>
                  <a:schemeClr val="dk1"/>
                </a:solidFill>
                <a:latin typeface="Raleway"/>
                <a:ea typeface="Raleway"/>
                <a:cs typeface="Raleway"/>
                <a:sym typeface="Raleway"/>
              </a:defRPr>
            </a:lvl9pPr>
          </a:lstStyle>
          <a:p>
            <a:endParaRPr/>
          </a:p>
        </p:txBody>
      </p:sp>
      <p:sp>
        <p:nvSpPr>
          <p:cNvPr id="7" name="Google Shape;7;p1"/>
          <p:cNvSpPr txBox="1">
            <a:spLocks noGrp="1"/>
          </p:cNvSpPr>
          <p:nvPr>
            <p:ph type="body" idx="1"/>
          </p:nvPr>
        </p:nvSpPr>
        <p:spPr>
          <a:xfrm>
            <a:off x="950967" y="1536633"/>
            <a:ext cx="10290000" cy="4555200"/>
          </a:xfrm>
          <a:prstGeom prst="rect">
            <a:avLst/>
          </a:prstGeom>
          <a:noFill/>
          <a:ln>
            <a:noFill/>
          </a:ln>
        </p:spPr>
        <p:txBody>
          <a:bodyPr spcFirstLastPara="1" wrap="square" lIns="91425" tIns="91425" rIns="91425" bIns="91425" anchor="t" anchorCtr="0">
            <a:noAutofit/>
          </a:bodyPr>
          <a:lstStyle>
            <a:lvl1pPr marL="457200" lvl="0" indent="-304800">
              <a:lnSpc>
                <a:spcPct val="100000"/>
              </a:lnSpc>
              <a:spcBef>
                <a:spcPts val="0"/>
              </a:spcBef>
              <a:spcAft>
                <a:spcPts val="0"/>
              </a:spcAft>
              <a:buClr>
                <a:schemeClr val="dk1"/>
              </a:buClr>
              <a:buSzPts val="1200"/>
              <a:buFont typeface="Roboto"/>
              <a:buChar char="●"/>
              <a:defRPr sz="1200">
                <a:solidFill>
                  <a:schemeClr val="dk1"/>
                </a:solidFill>
                <a:latin typeface="Roboto"/>
                <a:ea typeface="Roboto"/>
                <a:cs typeface="Roboto"/>
                <a:sym typeface="Roboto"/>
              </a:defRPr>
            </a:lvl1pPr>
            <a:lvl2pPr marL="914400" lvl="1" indent="-304800">
              <a:lnSpc>
                <a:spcPct val="100000"/>
              </a:lnSpc>
              <a:spcBef>
                <a:spcPts val="0"/>
              </a:spcBef>
              <a:spcAft>
                <a:spcPts val="0"/>
              </a:spcAft>
              <a:buClr>
                <a:schemeClr val="dk1"/>
              </a:buClr>
              <a:buSzPts val="1200"/>
              <a:buFont typeface="Roboto"/>
              <a:buChar char="○"/>
              <a:defRPr sz="1200">
                <a:solidFill>
                  <a:schemeClr val="dk1"/>
                </a:solidFill>
                <a:latin typeface="Roboto"/>
                <a:ea typeface="Roboto"/>
                <a:cs typeface="Roboto"/>
                <a:sym typeface="Roboto"/>
              </a:defRPr>
            </a:lvl2pPr>
            <a:lvl3pPr marL="1371600" lvl="2" indent="-304800">
              <a:lnSpc>
                <a:spcPct val="100000"/>
              </a:lnSpc>
              <a:spcBef>
                <a:spcPts val="0"/>
              </a:spcBef>
              <a:spcAft>
                <a:spcPts val="0"/>
              </a:spcAft>
              <a:buClr>
                <a:schemeClr val="dk1"/>
              </a:buClr>
              <a:buSzPts val="1200"/>
              <a:buFont typeface="Roboto"/>
              <a:buChar char="■"/>
              <a:defRPr sz="1200">
                <a:solidFill>
                  <a:schemeClr val="dk1"/>
                </a:solidFill>
                <a:latin typeface="Roboto"/>
                <a:ea typeface="Roboto"/>
                <a:cs typeface="Roboto"/>
                <a:sym typeface="Roboto"/>
              </a:defRPr>
            </a:lvl3pPr>
            <a:lvl4pPr marL="1828800" lvl="3" indent="-304800">
              <a:lnSpc>
                <a:spcPct val="100000"/>
              </a:lnSpc>
              <a:spcBef>
                <a:spcPts val="0"/>
              </a:spcBef>
              <a:spcAft>
                <a:spcPts val="0"/>
              </a:spcAft>
              <a:buClr>
                <a:schemeClr val="dk1"/>
              </a:buClr>
              <a:buSzPts val="1200"/>
              <a:buFont typeface="Roboto"/>
              <a:buChar char="●"/>
              <a:defRPr sz="1200">
                <a:solidFill>
                  <a:schemeClr val="dk1"/>
                </a:solidFill>
                <a:latin typeface="Roboto"/>
                <a:ea typeface="Roboto"/>
                <a:cs typeface="Roboto"/>
                <a:sym typeface="Roboto"/>
              </a:defRPr>
            </a:lvl4pPr>
            <a:lvl5pPr marL="2286000" lvl="4" indent="-304800">
              <a:lnSpc>
                <a:spcPct val="100000"/>
              </a:lnSpc>
              <a:spcBef>
                <a:spcPts val="0"/>
              </a:spcBef>
              <a:spcAft>
                <a:spcPts val="0"/>
              </a:spcAft>
              <a:buClr>
                <a:schemeClr val="dk1"/>
              </a:buClr>
              <a:buSzPts val="1200"/>
              <a:buFont typeface="Roboto"/>
              <a:buChar char="○"/>
              <a:defRPr sz="1200">
                <a:solidFill>
                  <a:schemeClr val="dk1"/>
                </a:solidFill>
                <a:latin typeface="Roboto"/>
                <a:ea typeface="Roboto"/>
                <a:cs typeface="Roboto"/>
                <a:sym typeface="Roboto"/>
              </a:defRPr>
            </a:lvl5pPr>
            <a:lvl6pPr marL="2743200" lvl="5" indent="-304800">
              <a:lnSpc>
                <a:spcPct val="100000"/>
              </a:lnSpc>
              <a:spcBef>
                <a:spcPts val="0"/>
              </a:spcBef>
              <a:spcAft>
                <a:spcPts val="0"/>
              </a:spcAft>
              <a:buClr>
                <a:schemeClr val="dk1"/>
              </a:buClr>
              <a:buSzPts val="1200"/>
              <a:buFont typeface="Roboto"/>
              <a:buChar char="■"/>
              <a:defRPr sz="1200">
                <a:solidFill>
                  <a:schemeClr val="dk1"/>
                </a:solidFill>
                <a:latin typeface="Roboto"/>
                <a:ea typeface="Roboto"/>
                <a:cs typeface="Roboto"/>
                <a:sym typeface="Roboto"/>
              </a:defRPr>
            </a:lvl6pPr>
            <a:lvl7pPr marL="3200400" lvl="6" indent="-304800">
              <a:lnSpc>
                <a:spcPct val="100000"/>
              </a:lnSpc>
              <a:spcBef>
                <a:spcPts val="0"/>
              </a:spcBef>
              <a:spcAft>
                <a:spcPts val="0"/>
              </a:spcAft>
              <a:buClr>
                <a:schemeClr val="dk1"/>
              </a:buClr>
              <a:buSzPts val="1200"/>
              <a:buFont typeface="Roboto"/>
              <a:buChar char="●"/>
              <a:defRPr sz="1200">
                <a:solidFill>
                  <a:schemeClr val="dk1"/>
                </a:solidFill>
                <a:latin typeface="Roboto"/>
                <a:ea typeface="Roboto"/>
                <a:cs typeface="Roboto"/>
                <a:sym typeface="Roboto"/>
              </a:defRPr>
            </a:lvl7pPr>
            <a:lvl8pPr marL="3657600" lvl="7" indent="-304800">
              <a:lnSpc>
                <a:spcPct val="100000"/>
              </a:lnSpc>
              <a:spcBef>
                <a:spcPts val="0"/>
              </a:spcBef>
              <a:spcAft>
                <a:spcPts val="0"/>
              </a:spcAft>
              <a:buClr>
                <a:schemeClr val="dk1"/>
              </a:buClr>
              <a:buSzPts val="1200"/>
              <a:buFont typeface="Roboto"/>
              <a:buChar char="○"/>
              <a:defRPr sz="1200">
                <a:solidFill>
                  <a:schemeClr val="dk1"/>
                </a:solidFill>
                <a:latin typeface="Roboto"/>
                <a:ea typeface="Roboto"/>
                <a:cs typeface="Roboto"/>
                <a:sym typeface="Roboto"/>
              </a:defRPr>
            </a:lvl8pPr>
            <a:lvl9pPr marL="4114800" lvl="8" indent="-304800">
              <a:lnSpc>
                <a:spcPct val="100000"/>
              </a:lnSpc>
              <a:spcBef>
                <a:spcPts val="0"/>
              </a:spcBef>
              <a:spcAft>
                <a:spcPts val="0"/>
              </a:spcAft>
              <a:buClr>
                <a:schemeClr val="dk1"/>
              </a:buClr>
              <a:buSzPts val="1200"/>
              <a:buFont typeface="Roboto"/>
              <a:buChar char="■"/>
              <a:defRPr sz="1200">
                <a:solidFill>
                  <a:schemeClr val="dk1"/>
                </a:solidFill>
                <a:latin typeface="Roboto"/>
                <a:ea typeface="Roboto"/>
                <a:cs typeface="Roboto"/>
                <a:sym typeface="Roboto"/>
              </a:defRPr>
            </a:lvl9pPr>
          </a:lstStyle>
          <a:p>
            <a:endParaRPr/>
          </a:p>
        </p:txBody>
      </p:sp>
    </p:spTree>
    <p:extLst>
      <p:ext uri="{BB962C8B-B14F-4D97-AF65-F5344CB8AC3E}">
        <p14:creationId xmlns:p14="http://schemas.microsoft.com/office/powerpoint/2010/main" val="3180590415"/>
      </p:ext>
    </p:extLst>
  </p:cSld>
  <p:clrMap bg1="lt1" tx1="dk1" bg2="dk2" tx2="lt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9"/>
          <p:cNvSpPr/>
          <p:nvPr/>
        </p:nvSpPr>
        <p:spPr>
          <a:xfrm>
            <a:off x="0" y="5903650"/>
            <a:ext cx="985421" cy="954349"/>
          </a:xfrm>
          <a:prstGeom prst="rtTriangle">
            <a:avLst/>
          </a:prstGeom>
          <a:solidFill>
            <a:srgbClr val="3462AB"/>
          </a:solidFill>
          <a:ln>
            <a:noFill/>
          </a:ln>
        </p:spPr>
        <p:txBody>
          <a:bodyPr spcFirstLastPara="1" wrap="square" lIns="91425" tIns="45700" rIns="91425" bIns="45700" anchor="ctr" anchorCtr="0">
            <a:noAutofit/>
          </a:bodyPr>
          <a:lstStyle/>
          <a:p>
            <a:pPr algn="ctr">
              <a:buClr>
                <a:srgbClr val="000000"/>
              </a:buClr>
              <a:buSzPts val="1800"/>
              <a:buFont typeface="Arial"/>
              <a:buNone/>
            </a:pPr>
            <a:endParaRPr kern="0">
              <a:solidFill>
                <a:srgbClr val="FFFFFF"/>
              </a:solidFill>
              <a:latin typeface="Helvetica Neue"/>
              <a:ea typeface="Helvetica Neue"/>
              <a:cs typeface="Helvetica Neue"/>
              <a:sym typeface="Helvetica Neue"/>
            </a:endParaRPr>
          </a:p>
        </p:txBody>
      </p:sp>
      <p:sp>
        <p:nvSpPr>
          <p:cNvPr id="11" name="Google Shape;11;p49"/>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253356"/>
              </a:buClr>
              <a:buSzPts val="3200"/>
              <a:buFont typeface="Helvetica Neue"/>
              <a:buNone/>
              <a:defRPr sz="3200" b="0" i="0" u="none" strike="noStrike" cap="none">
                <a:solidFill>
                  <a:srgbClr val="253356"/>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2" name="Google Shape;12;p49"/>
          <p:cNvSpPr txBox="1">
            <a:spLocks noGrp="1"/>
          </p:cNvSpPr>
          <p:nvPr>
            <p:ph type="body" idx="1"/>
          </p:nvPr>
        </p:nvSpPr>
        <p:spPr>
          <a:xfrm>
            <a:off x="838200" y="1463675"/>
            <a:ext cx="10515600" cy="4351338"/>
          </a:xfrm>
          <a:prstGeom prst="rect">
            <a:avLst/>
          </a:prstGeom>
          <a:noFill/>
          <a:ln>
            <a:noFill/>
          </a:ln>
        </p:spPr>
        <p:txBody>
          <a:bodyPr spcFirstLastPara="1" wrap="square" lIns="91425" tIns="45700" rIns="91425" bIns="45700" anchor="t" anchorCtr="0">
            <a:normAutofit/>
          </a:bodyPr>
          <a:lstStyle>
            <a:lvl1pPr marL="457200" marR="0" lvl="0" indent="-298450" algn="l" rtl="0">
              <a:lnSpc>
                <a:spcPct val="90000"/>
              </a:lnSpc>
              <a:spcBef>
                <a:spcPts val="10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1pPr>
            <a:lvl2pPr marL="914400" marR="0" lvl="1"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2pPr>
            <a:lvl3pPr marL="1371600" marR="0" lvl="2"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3pPr>
            <a:lvl4pPr marL="1828800" marR="0" lvl="3"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4pPr>
            <a:lvl5pPr marL="2286000" marR="0" lvl="4"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3" name="Google Shape;13;p49"/>
          <p:cNvSpPr txBox="1">
            <a:spLocks noGrp="1"/>
          </p:cNvSpPr>
          <p:nvPr>
            <p:ph type="dt" idx="10"/>
          </p:nvPr>
        </p:nvSpPr>
        <p:spPr>
          <a:xfrm>
            <a:off x="2886075" y="6359525"/>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253356"/>
                </a:solidFill>
                <a:latin typeface="Calibri" panose="020F0502020204030204" pitchFamily="34" charset="0"/>
                <a:ea typeface="Helvetica Neue"/>
                <a:cs typeface="Calibri" panose="020F0502020204030204" pitchFamily="34" charset="0"/>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lang="x-none" kern="0"/>
          </a:p>
        </p:txBody>
      </p:sp>
      <p:sp>
        <p:nvSpPr>
          <p:cNvPr id="14" name="Google Shape;14;p49"/>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253356"/>
                </a:solidFill>
                <a:latin typeface="Calibri" panose="020F0502020204030204" pitchFamily="34" charset="0"/>
                <a:ea typeface="Helvetica Neue"/>
                <a:cs typeface="Calibri" panose="020F0502020204030204" pitchFamily="34" charset="0"/>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lang="x-none" kern="0"/>
          </a:p>
        </p:txBody>
      </p:sp>
      <p:sp>
        <p:nvSpPr>
          <p:cNvPr id="15" name="Google Shape;15;p4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Calibri" panose="020F0502020204030204" pitchFamily="34" charset="0"/>
                <a:ea typeface="Helvetica Neue"/>
                <a:cs typeface="Calibri" panose="020F0502020204030204" pitchFamily="34" charset="0"/>
                <a:sym typeface="Helvetica Neue"/>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9pPr>
          </a:lstStyle>
          <a:p>
            <a:fld id="{00000000-1234-1234-1234-123412341234}" type="slidenum">
              <a:rPr lang="en-US" kern="0" smtClean="0"/>
              <a:pPr/>
              <a:t>‹#›</a:t>
            </a:fld>
            <a:endParaRPr lang="en-US" kern="0"/>
          </a:p>
        </p:txBody>
      </p:sp>
      <p:pic>
        <p:nvPicPr>
          <p:cNvPr id="16" name="Google Shape;16;p49" descr="Image result for ÎµÎ»Î»Î·Î½Î¹ÎºÎ· Î´Î·Î¼Î¿ÎºÏÎ±ÏÎ¹Î± logo"/>
          <p:cNvPicPr preferRelativeResize="0"/>
          <p:nvPr/>
        </p:nvPicPr>
        <p:blipFill rotWithShape="1">
          <a:blip r:embed="rId10">
            <a:alphaModFix/>
          </a:blip>
          <a:srcRect/>
          <a:stretch/>
        </p:blipFill>
        <p:spPr>
          <a:xfrm>
            <a:off x="108110" y="6374106"/>
            <a:ext cx="375722" cy="368208"/>
          </a:xfrm>
          <a:prstGeom prst="rect">
            <a:avLst/>
          </a:prstGeom>
          <a:noFill/>
          <a:ln>
            <a:noFill/>
          </a:ln>
        </p:spPr>
      </p:pic>
    </p:spTree>
    <p:extLst>
      <p:ext uri="{BB962C8B-B14F-4D97-AF65-F5344CB8AC3E}">
        <p14:creationId xmlns:p14="http://schemas.microsoft.com/office/powerpoint/2010/main" val="1170901033"/>
      </p:ext>
    </p:extLst>
  </p:cSld>
  <p:clrMap bg1="lt1" tx1="dk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1" r:id="rId5"/>
    <p:sldLayoutId id="2147483672" r:id="rId6"/>
    <p:sldLayoutId id="2147483673" r:id="rId7"/>
    <p:sldLayoutId id="2147483674"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Google Shape;10;p49">
            <a:extLst>
              <a:ext uri="{FF2B5EF4-FFF2-40B4-BE49-F238E27FC236}">
                <a16:creationId xmlns:a16="http://schemas.microsoft.com/office/drawing/2014/main" id="{B47D25E2-0077-32B5-0E34-51463B2D6A67}"/>
              </a:ext>
            </a:extLst>
          </p:cNvPr>
          <p:cNvSpPr>
            <a:spLocks noChangeArrowheads="1"/>
          </p:cNvSpPr>
          <p:nvPr/>
        </p:nvSpPr>
        <p:spPr bwMode="auto">
          <a:xfrm>
            <a:off x="0" y="5903913"/>
            <a:ext cx="985838" cy="954087"/>
          </a:xfrm>
          <a:prstGeom prst="rtTriangle">
            <a:avLst/>
          </a:prstGeom>
          <a:solidFill>
            <a:srgbClr val="3462A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a:solidFill>
                <a:srgbClr val="FFFFFF"/>
              </a:solidFill>
              <a:latin typeface="Helvetica Neue"/>
              <a:ea typeface="Helvetica Neue"/>
              <a:cs typeface="Helvetica Neue"/>
              <a:sym typeface="Helvetica Neue"/>
            </a:endParaRPr>
          </a:p>
        </p:txBody>
      </p:sp>
      <p:sp>
        <p:nvSpPr>
          <p:cNvPr id="2051" name="Google Shape;11;p49">
            <a:extLst>
              <a:ext uri="{FF2B5EF4-FFF2-40B4-BE49-F238E27FC236}">
                <a16:creationId xmlns:a16="http://schemas.microsoft.com/office/drawing/2014/main" id="{50F94FB2-F985-310B-A4FD-D84AB1C43F34}"/>
              </a:ext>
            </a:extLst>
          </p:cNvPr>
          <p:cNvSpPr txBox="1">
            <a:spLocks noGrp="1"/>
          </p:cNvSpPr>
          <p:nvPr>
            <p:ph type="title"/>
          </p:nvPr>
        </p:nvSpPr>
        <p:spPr bwMode="auto">
          <a:xfrm>
            <a:off x="838200" y="365125"/>
            <a:ext cx="10515600"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prstTxWarp prst="textNoShape">
              <a:avLst/>
            </a:prstTxWarp>
          </a:bodyPr>
          <a:lstStyle/>
          <a:p>
            <a:pPr lvl="0"/>
            <a:endParaRPr lang="en-US" altLang="en-US">
              <a:sym typeface="Arial" panose="020B0604020202020204" pitchFamily="34" charset="0"/>
            </a:endParaRPr>
          </a:p>
        </p:txBody>
      </p:sp>
      <p:sp>
        <p:nvSpPr>
          <p:cNvPr id="2052" name="Google Shape;12;p49">
            <a:extLst>
              <a:ext uri="{FF2B5EF4-FFF2-40B4-BE49-F238E27FC236}">
                <a16:creationId xmlns:a16="http://schemas.microsoft.com/office/drawing/2014/main" id="{87A55342-A97B-E2ED-898C-D01B2548789A}"/>
              </a:ext>
            </a:extLst>
          </p:cNvPr>
          <p:cNvSpPr txBox="1">
            <a:spLocks noGrp="1"/>
          </p:cNvSpPr>
          <p:nvPr>
            <p:ph type="body" idx="1"/>
          </p:nvPr>
        </p:nvSpPr>
        <p:spPr bwMode="auto">
          <a:xfrm>
            <a:off x="838200" y="146367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t" anchorCtr="0" compatLnSpc="1">
            <a:prstTxWarp prst="textNoShape">
              <a:avLst/>
            </a:prstTxWarp>
          </a:bodyPr>
          <a:lstStyle/>
          <a:p>
            <a:pPr lvl="0"/>
            <a:endParaRPr lang="en-US" altLang="en-US">
              <a:sym typeface="Arial" panose="020B0604020202020204" pitchFamily="34" charset="0"/>
            </a:endParaRPr>
          </a:p>
        </p:txBody>
      </p:sp>
      <p:sp>
        <p:nvSpPr>
          <p:cNvPr id="2053" name="Google Shape;13;p49">
            <a:extLst>
              <a:ext uri="{FF2B5EF4-FFF2-40B4-BE49-F238E27FC236}">
                <a16:creationId xmlns:a16="http://schemas.microsoft.com/office/drawing/2014/main" id="{927B5BFA-5B41-32A6-6986-0D895759B54A}"/>
              </a:ext>
            </a:extLst>
          </p:cNvPr>
          <p:cNvSpPr txBox="1">
            <a:spLocks noGrp="1"/>
          </p:cNvSpPr>
          <p:nvPr>
            <p:ph type="dt" idx="10"/>
          </p:nvPr>
        </p:nvSpPr>
        <p:spPr bwMode="auto">
          <a:xfrm>
            <a:off x="2886075" y="6359525"/>
            <a:ext cx="2743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prstTxWarp prst="textNoShape">
              <a:avLst/>
            </a:prstTxWarp>
          </a:bodyPr>
          <a:lstStyle>
            <a:lvl1pPr>
              <a:buClr>
                <a:srgbClr val="000000"/>
              </a:buClr>
              <a:buSzPts val="1400"/>
              <a:buFont typeface="Arial" panose="020B0604020202020204" pitchFamily="34" charset="0"/>
              <a:buNone/>
              <a:defRPr sz="1200">
                <a:solidFill>
                  <a:srgbClr val="253356"/>
                </a:solidFill>
                <a:latin typeface="Calibri" panose="020F0502020204030204" pitchFamily="34" charset="0"/>
                <a:ea typeface="Helvetica Neue"/>
                <a:cs typeface="Calibri" panose="020F0502020204030204" pitchFamily="34" charset="0"/>
                <a:sym typeface="Helvetica Neue"/>
              </a:defRPr>
            </a:lvl1pPr>
          </a:lstStyle>
          <a:p>
            <a:endParaRPr lang="en-US" altLang="en-US"/>
          </a:p>
        </p:txBody>
      </p:sp>
      <p:sp>
        <p:nvSpPr>
          <p:cNvPr id="2054" name="Google Shape;14;p49">
            <a:extLst>
              <a:ext uri="{FF2B5EF4-FFF2-40B4-BE49-F238E27FC236}">
                <a16:creationId xmlns:a16="http://schemas.microsoft.com/office/drawing/2014/main" id="{95238CE4-D6DC-9EA6-2436-B66D8199154D}"/>
              </a:ext>
            </a:extLst>
          </p:cNvPr>
          <p:cNvSpPr txBox="1">
            <a:spLocks noGrp="1"/>
          </p:cNvSpPr>
          <p:nvPr>
            <p:ph type="ftr" idx="11"/>
          </p:nvPr>
        </p:nvSpPr>
        <p:spPr bwMode="auto">
          <a:xfrm>
            <a:off x="5953125" y="6356350"/>
            <a:ext cx="22002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prstTxWarp prst="textNoShape">
              <a:avLst/>
            </a:prstTxWarp>
          </a:bodyPr>
          <a:lstStyle>
            <a:lvl1pPr algn="ctr">
              <a:buClr>
                <a:srgbClr val="000000"/>
              </a:buClr>
              <a:buSzPts val="1400"/>
              <a:buFont typeface="Arial" panose="020B0604020202020204" pitchFamily="34" charset="0"/>
              <a:buNone/>
              <a:defRPr sz="1200">
                <a:solidFill>
                  <a:srgbClr val="253356"/>
                </a:solidFill>
                <a:latin typeface="Calibri" panose="020F0502020204030204" pitchFamily="34" charset="0"/>
                <a:ea typeface="Helvetica Neue"/>
                <a:cs typeface="Calibri" panose="020F0502020204030204" pitchFamily="34" charset="0"/>
                <a:sym typeface="Helvetica Neue"/>
              </a:defRPr>
            </a:lvl1pPr>
          </a:lstStyle>
          <a:p>
            <a:endParaRPr lang="en-US" altLang="en-US"/>
          </a:p>
        </p:txBody>
      </p:sp>
      <p:sp>
        <p:nvSpPr>
          <p:cNvPr id="2055" name="Google Shape;15;p49">
            <a:extLst>
              <a:ext uri="{FF2B5EF4-FFF2-40B4-BE49-F238E27FC236}">
                <a16:creationId xmlns:a16="http://schemas.microsoft.com/office/drawing/2014/main" id="{D888676B-5C32-E441-B5B3-A96B50635095}"/>
              </a:ext>
            </a:extLst>
          </p:cNvPr>
          <p:cNvSpPr txBox="1">
            <a:spLocks noGrp="1"/>
          </p:cNvSpPr>
          <p:nvPr>
            <p:ph type="sldNum" idx="12"/>
          </p:nvPr>
        </p:nvSpPr>
        <p:spPr bwMode="auto">
          <a:xfrm>
            <a:off x="8610600" y="6356350"/>
            <a:ext cx="2743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prstTxWarp prst="textNoShape">
              <a:avLst/>
            </a:prstTxWarp>
          </a:bodyPr>
          <a:lstStyle>
            <a:lvl1pPr algn="r">
              <a:buClr>
                <a:srgbClr val="000000"/>
              </a:buClr>
              <a:buSzPts val="1200"/>
              <a:buFont typeface="Arial" panose="020B0604020202020204" pitchFamily="34" charset="0"/>
              <a:buNone/>
              <a:defRPr sz="1200">
                <a:solidFill>
                  <a:srgbClr val="253356"/>
                </a:solidFill>
                <a:latin typeface="Calibri" panose="020F0502020204030204" pitchFamily="34" charset="0"/>
                <a:ea typeface="Helvetica Neue"/>
                <a:cs typeface="Calibri" panose="020F0502020204030204" pitchFamily="34" charset="0"/>
                <a:sym typeface="Helvetica Neue"/>
              </a:defRPr>
            </a:lvl1pPr>
          </a:lstStyle>
          <a:p>
            <a:fld id="{D9485D6A-5697-4D52-969A-E6BA3ABA2506}" type="slidenum">
              <a:rPr lang="en-US" altLang="en-US"/>
              <a:pPr/>
              <a:t>‹#›</a:t>
            </a:fld>
            <a:endParaRPr lang="en-US" altLang="en-US"/>
          </a:p>
        </p:txBody>
      </p:sp>
      <p:pic>
        <p:nvPicPr>
          <p:cNvPr id="2056" name="Google Shape;16;p49" descr="Image result for ÎµÎ»Î»Î·Î½Î¹ÎºÎ· Î´Î·Î¼Î¿ÎºÏÎ±ÏÎ¹Î± logo">
            <a:extLst>
              <a:ext uri="{FF2B5EF4-FFF2-40B4-BE49-F238E27FC236}">
                <a16:creationId xmlns:a16="http://schemas.microsoft.com/office/drawing/2014/main" id="{A6E5F857-77A4-1ABE-C2BB-0FF66291001D}"/>
              </a:ext>
            </a:extLst>
          </p:cNvPr>
          <p:cNvPicPr preferRelativeResize="0">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950" y="6373813"/>
            <a:ext cx="3762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0189963"/>
      </p:ext>
    </p:extLst>
  </p:cSld>
  <p:clrMap bg1="lt1" tx1="dk1" bg2="dk2" tx2="lt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Arial"/>
          <a:cs typeface="Calibri" panose="020F0502020204030204" pitchFamily="34" charset="0"/>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Arial"/>
          <a:cs typeface="Calibri" panose="020F0502020204030204" pitchFamily="34" charset="0"/>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Arial"/>
          <a:cs typeface="Calibri" panose="020F0502020204030204" pitchFamily="34" charset="0"/>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Arial"/>
          <a:cs typeface="Calibri" panose="020F0502020204030204" pitchFamily="34" charset="0"/>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A8726DE-C59A-A5EB-0867-1A7D60A4A6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id="{1C63202A-7598-B6CB-8F60-316A592F099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id="{3C972C42-D062-A9C1-1A89-8947335D89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4470E8-77CC-4349-AD5A-D9241C18ADDC}" type="datetimeFigureOut">
              <a:rPr lang="x-none" smtClean="0">
                <a:solidFill>
                  <a:prstClr val="black">
                    <a:tint val="75000"/>
                  </a:prstClr>
                </a:solidFill>
              </a:rPr>
              <a:pPr/>
              <a:t>23/7/2025</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2485579E-111C-A666-F6EC-6B51D4EC6B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solidFill>
                <a:prstClr val="black">
                  <a:tint val="75000"/>
                </a:prstClr>
              </a:solidFill>
            </a:endParaRPr>
          </a:p>
        </p:txBody>
      </p:sp>
      <p:sp>
        <p:nvSpPr>
          <p:cNvPr id="6" name="Slide Number Placeholder 5">
            <a:extLst>
              <a:ext uri="{FF2B5EF4-FFF2-40B4-BE49-F238E27FC236}">
                <a16:creationId xmlns:a16="http://schemas.microsoft.com/office/drawing/2014/main" id="{2FABEBAF-DF56-6F3B-524B-44FB5A904F0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BDB509-C555-7A42-A55F-2D98D74F0193}"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638744359"/>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Google Shape;10;p49"/>
          <p:cNvSpPr>
            <a:spLocks noChangeArrowheads="1"/>
          </p:cNvSpPr>
          <p:nvPr/>
        </p:nvSpPr>
        <p:spPr bwMode="auto">
          <a:xfrm>
            <a:off x="0" y="5903913"/>
            <a:ext cx="985838" cy="954087"/>
          </a:xfrm>
          <a:prstGeom prst="rtTriangle">
            <a:avLst/>
          </a:prstGeom>
          <a:solidFill>
            <a:srgbClr val="3462A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a:solidFill>
                <a:srgbClr val="FFFFFF"/>
              </a:solidFill>
              <a:latin typeface="Helvetica Neue"/>
              <a:ea typeface="Helvetica Neue"/>
              <a:cs typeface="Helvetica Neue"/>
              <a:sym typeface="Helvetica Neue"/>
            </a:endParaRPr>
          </a:p>
        </p:txBody>
      </p:sp>
      <p:sp>
        <p:nvSpPr>
          <p:cNvPr id="2051" name="Google Shape;11;p49"/>
          <p:cNvSpPr txBox="1">
            <a:spLocks noGrp="1"/>
          </p:cNvSpPr>
          <p:nvPr>
            <p:ph type="title"/>
          </p:nvPr>
        </p:nvSpPr>
        <p:spPr bwMode="auto">
          <a:xfrm>
            <a:off x="838200" y="365125"/>
            <a:ext cx="10515600"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lstStyle/>
          <a:p>
            <a:pPr lvl="0"/>
            <a:endParaRPr lang="en-US" altLang="en-US">
              <a:sym typeface="Arial" panose="020B0604020202020204" pitchFamily="34" charset="0"/>
            </a:endParaRPr>
          </a:p>
        </p:txBody>
      </p:sp>
      <p:sp>
        <p:nvSpPr>
          <p:cNvPr id="2052" name="Google Shape;12;p49"/>
          <p:cNvSpPr txBox="1">
            <a:spLocks noGrp="1"/>
          </p:cNvSpPr>
          <p:nvPr>
            <p:ph type="body" idx="1"/>
          </p:nvPr>
        </p:nvSpPr>
        <p:spPr bwMode="auto">
          <a:xfrm>
            <a:off x="838200" y="146367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t" anchorCtr="0" compatLnSpc="1"/>
          <a:lstStyle/>
          <a:p>
            <a:pPr lvl="0"/>
            <a:endParaRPr lang="en-US" altLang="en-US">
              <a:sym typeface="Arial" panose="020B0604020202020204" pitchFamily="34" charset="0"/>
            </a:endParaRPr>
          </a:p>
        </p:txBody>
      </p:sp>
      <p:sp>
        <p:nvSpPr>
          <p:cNvPr id="2053" name="Google Shape;13;p49"/>
          <p:cNvSpPr txBox="1">
            <a:spLocks noGrp="1"/>
          </p:cNvSpPr>
          <p:nvPr>
            <p:ph type="dt" idx="10"/>
          </p:nvPr>
        </p:nvSpPr>
        <p:spPr bwMode="auto">
          <a:xfrm>
            <a:off x="2886075" y="6359525"/>
            <a:ext cx="2743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lstStyle>
            <a:lvl1pPr>
              <a:buClr>
                <a:srgbClr val="000000"/>
              </a:buClr>
              <a:buSzPts val="1400"/>
              <a:buFont typeface="Arial" panose="020B0604020202020204" pitchFamily="34" charset="0"/>
              <a:buNone/>
              <a:defRPr sz="1200">
                <a:solidFill>
                  <a:srgbClr val="253356"/>
                </a:solidFill>
                <a:latin typeface="Calibri" panose="020F0502020204030204" pitchFamily="34" charset="0"/>
                <a:ea typeface="Helvetica Neue"/>
                <a:cs typeface="Calibri" panose="020F0502020204030204" pitchFamily="34" charset="0"/>
                <a:sym typeface="Helvetica Neue"/>
              </a:defRPr>
            </a:lvl1pPr>
          </a:lstStyle>
          <a:p>
            <a:endParaRPr lang="en-US" altLang="en-US"/>
          </a:p>
        </p:txBody>
      </p:sp>
      <p:sp>
        <p:nvSpPr>
          <p:cNvPr id="2054" name="Google Shape;14;p49"/>
          <p:cNvSpPr txBox="1">
            <a:spLocks noGrp="1"/>
          </p:cNvSpPr>
          <p:nvPr>
            <p:ph type="ftr" idx="11"/>
          </p:nvPr>
        </p:nvSpPr>
        <p:spPr bwMode="auto">
          <a:xfrm>
            <a:off x="5953125" y="6356350"/>
            <a:ext cx="22002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lstStyle>
            <a:lvl1pPr algn="ctr">
              <a:buClr>
                <a:srgbClr val="000000"/>
              </a:buClr>
              <a:buSzPts val="1400"/>
              <a:buFont typeface="Arial" panose="020B0604020202020204" pitchFamily="34" charset="0"/>
              <a:buNone/>
              <a:defRPr sz="1200">
                <a:solidFill>
                  <a:srgbClr val="253356"/>
                </a:solidFill>
                <a:latin typeface="Calibri" panose="020F0502020204030204" pitchFamily="34" charset="0"/>
                <a:ea typeface="Helvetica Neue"/>
                <a:cs typeface="Calibri" panose="020F0502020204030204" pitchFamily="34" charset="0"/>
                <a:sym typeface="Helvetica Neue"/>
              </a:defRPr>
            </a:lvl1pPr>
          </a:lstStyle>
          <a:p>
            <a:endParaRPr lang="en-US" altLang="en-US"/>
          </a:p>
        </p:txBody>
      </p:sp>
      <p:sp>
        <p:nvSpPr>
          <p:cNvPr id="2055" name="Google Shape;15;p49"/>
          <p:cNvSpPr txBox="1">
            <a:spLocks noGrp="1"/>
          </p:cNvSpPr>
          <p:nvPr>
            <p:ph type="sldNum" idx="12"/>
          </p:nvPr>
        </p:nvSpPr>
        <p:spPr bwMode="auto">
          <a:xfrm>
            <a:off x="8610600" y="6356350"/>
            <a:ext cx="2743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lstStyle>
            <a:lvl1pPr algn="r">
              <a:buClr>
                <a:srgbClr val="000000"/>
              </a:buClr>
              <a:buSzPts val="1200"/>
              <a:buFont typeface="Arial" panose="020B0604020202020204" pitchFamily="34" charset="0"/>
              <a:buNone/>
              <a:defRPr sz="1200">
                <a:solidFill>
                  <a:srgbClr val="253356"/>
                </a:solidFill>
                <a:latin typeface="Calibri" panose="020F0502020204030204" pitchFamily="34" charset="0"/>
                <a:ea typeface="Helvetica Neue"/>
                <a:cs typeface="Calibri" panose="020F0502020204030204" pitchFamily="34" charset="0"/>
                <a:sym typeface="Helvetica Neue"/>
              </a:defRPr>
            </a:lvl1pPr>
          </a:lstStyle>
          <a:p>
            <a:fld id="{D9485D6A-5697-4D52-969A-E6BA3ABA2506}" type="slidenum">
              <a:rPr lang="en-US" altLang="en-US"/>
              <a:pPr/>
              <a:t>‹#›</a:t>
            </a:fld>
            <a:endParaRPr lang="en-US" altLang="en-US"/>
          </a:p>
        </p:txBody>
      </p:sp>
      <p:pic>
        <p:nvPicPr>
          <p:cNvPr id="2056" name="Google Shape;16;p49" descr="Image result for ÎµÎ»Î»Î·Î½Î¹ÎºÎ· Î´Î·Î¼Î¿ÎºÏÎ±ÏÎ¹Î± logo"/>
          <p:cNvPicPr preferRelativeResize="0">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950" y="6373813"/>
            <a:ext cx="3762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58567108"/>
      </p:ext>
    </p:extLst>
  </p:cSld>
  <p:clrMap bg1="lt1" tx1="dk1" bg2="dk2" tx2="lt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Arial" panose="020B0604020202020204"/>
          <a:cs typeface="Calibri" panose="020F0502020204030204" pitchFamily="34" charset="0"/>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Arial" panose="020B0604020202020204"/>
          <a:cs typeface="Calibri" panose="020F0502020204030204" pitchFamily="34" charset="0"/>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Arial" panose="020B0604020202020204"/>
          <a:cs typeface="Calibri" panose="020F0502020204030204" pitchFamily="34" charset="0"/>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Arial" panose="020B0604020202020204"/>
          <a:cs typeface="Calibri" panose="020F0502020204030204" pitchFamily="34" charset="0"/>
          <a:sym typeface="Arial" panose="020B0604020202020204" pitchFamily="34" charset="0"/>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a:ea typeface="Arial" panose="020B0604020202020204"/>
          <a:cs typeface="Arial" panose="020B0604020202020204"/>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a:ea typeface="Arial" panose="020B0604020202020204"/>
          <a:cs typeface="Arial" panose="020B0604020202020204"/>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a:ea typeface="Arial" panose="020B0604020202020204"/>
          <a:cs typeface="Arial" panose="020B0604020202020204"/>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a:ea typeface="Arial" panose="020B0604020202020204"/>
          <a:cs typeface="Arial" panose="020B0604020202020204"/>
          <a:sym typeface="Arial" panose="020B0604020202020204" pitchFamily="34" charset="0"/>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Title"/>
          <p:cNvSpPr txBox="1">
            <a:spLocks noGrp="1"/>
          </p:cNvSpPr>
          <p:nvPr>
            <p:ph type="title"/>
          </p:nvPr>
        </p:nvSpPr>
        <p:spPr>
          <a:xfrm>
            <a:off x="603250" y="539750"/>
            <a:ext cx="10985500" cy="71658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normAutofit/>
          </a:bodyPr>
          <a:lstStyle/>
          <a:p>
            <a:r>
              <a:t>Slide Title</a:t>
            </a:r>
          </a:p>
        </p:txBody>
      </p:sp>
      <p:sp>
        <p:nvSpPr>
          <p:cNvPr id="3" name="Body Level One…"/>
          <p:cNvSpPr txBox="1">
            <a:spLocks noGrp="1"/>
          </p:cNvSpPr>
          <p:nvPr>
            <p:ph type="body" idx="1"/>
          </p:nvPr>
        </p:nvSpPr>
        <p:spPr>
          <a:xfrm>
            <a:off x="603250" y="2124252"/>
            <a:ext cx="10985500" cy="4128006"/>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normAutofit/>
          </a:bodyPr>
          <a:lstStyle/>
          <a:p>
            <a:r>
              <a:t>Slide bullet text</a:t>
            </a:r>
          </a:p>
          <a:p>
            <a:pPr lvl="1"/>
            <a:endParaRPr/>
          </a:p>
          <a:p>
            <a:pPr lvl="2"/>
            <a:endParaRPr/>
          </a:p>
          <a:p>
            <a:pPr lvl="3"/>
            <a:endParaRPr/>
          </a:p>
          <a:p>
            <a:pPr lvl="4"/>
            <a:endParaRPr/>
          </a:p>
        </p:txBody>
      </p:sp>
      <p:sp>
        <p:nvSpPr>
          <p:cNvPr id="4" name="Slide Number"/>
          <p:cNvSpPr txBox="1">
            <a:spLocks noGrp="1"/>
          </p:cNvSpPr>
          <p:nvPr>
            <p:ph type="sldNum" sz="quarter" idx="2"/>
          </p:nvPr>
        </p:nvSpPr>
        <p:spPr>
          <a:xfrm>
            <a:off x="5997574" y="6540499"/>
            <a:ext cx="190603" cy="187301"/>
          </a:xfrm>
          <a:prstGeom prst="rect">
            <a:avLst/>
          </a:prstGeom>
          <a:ln w="3175">
            <a:miter lim="400000"/>
          </a:ln>
        </p:spPr>
        <p:txBody>
          <a:bodyPr wrap="none" lIns="25400" tIns="25400" rIns="25400" bIns="25400" anchor="b">
            <a:spAutoFit/>
          </a:bodyPr>
          <a:lstStyle>
            <a:lvl1pPr algn="ctr" defTabSz="292100">
              <a:lnSpc>
                <a:spcPct val="100000"/>
              </a:lnSpc>
              <a:spcBef>
                <a:spcPts val="0"/>
              </a:spcBef>
              <a:defRPr sz="900"/>
            </a:lvl1pPr>
          </a:lstStyle>
          <a:p>
            <a:fld id="{86CB4B4D-7CA3-9044-876B-883B54F8677D}" type="slidenum">
              <a:rPr/>
              <a:pPr/>
              <a:t>‹#›</a:t>
            </a:fld>
            <a:endParaRPr/>
          </a:p>
        </p:txBody>
      </p:sp>
    </p:spTree>
    <p:extLst>
      <p:ext uri="{BB962C8B-B14F-4D97-AF65-F5344CB8AC3E}">
        <p14:creationId xmlns:p14="http://schemas.microsoft.com/office/powerpoint/2010/main" val="3149483968"/>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8" r:id="rId9"/>
    <p:sldLayoutId id="2147484179" r:id="rId10"/>
    <p:sldLayoutId id="2147484180" r:id="rId11"/>
    <p:sldLayoutId id="2147484181" r:id="rId12"/>
    <p:sldLayoutId id="2147484182" r:id="rId13"/>
    <p:sldLayoutId id="2147484183" r:id="rId14"/>
    <p:sldLayoutId id="2147484184" r:id="rId15"/>
    <p:sldLayoutId id="2147484185" r:id="rId16"/>
    <p:sldLayoutId id="2147484187" r:id="rId17"/>
    <p:sldLayoutId id="2147484189" r:id="rId18"/>
    <p:sldLayoutId id="2147484199" r:id="rId19"/>
    <p:sldLayoutId id="2147484202" r:id="rId20"/>
  </p:sldLayoutIdLst>
  <p:transition spd="med"/>
  <p:txStyles>
    <p:titleStyle>
      <a:lvl1pPr marL="0" marR="0" indent="0" algn="l" defTabSz="1219169"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1pPr>
      <a:lvl2pPr marL="0" marR="0" indent="457200" algn="l" defTabSz="1219169"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2pPr>
      <a:lvl3pPr marL="0" marR="0" indent="914400" algn="l" defTabSz="1219169"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3pPr>
      <a:lvl4pPr marL="0" marR="0" indent="1371600" algn="l" defTabSz="1219169"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4pPr>
      <a:lvl5pPr marL="0" marR="0" indent="1828800" algn="l" defTabSz="1219169"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5pPr>
      <a:lvl6pPr marL="0" marR="0" indent="2286000" algn="l" defTabSz="1219169"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6pPr>
      <a:lvl7pPr marL="0" marR="0" indent="2743200" algn="l" defTabSz="1219169"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7pPr>
      <a:lvl8pPr marL="0" marR="0" indent="3200400" algn="l" defTabSz="1219169"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8pPr>
      <a:lvl9pPr marL="0" marR="0" indent="3657600" algn="l" defTabSz="1219169"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9pPr>
    </p:titleStyle>
    <p:bodyStyle>
      <a:lvl1pPr marL="304800" marR="0" indent="-304800" algn="l" defTabSz="1219169" rtl="0" latinLnBrk="0">
        <a:lnSpc>
          <a:spcPct val="90000"/>
        </a:lnSpc>
        <a:spcBef>
          <a:spcPts val="220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1pPr>
      <a:lvl2pPr marL="914400" marR="0" indent="-304800" algn="l" defTabSz="1219169" rtl="0" latinLnBrk="0">
        <a:lnSpc>
          <a:spcPct val="90000"/>
        </a:lnSpc>
        <a:spcBef>
          <a:spcPts val="220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2pPr>
      <a:lvl3pPr marL="1524000" marR="0" indent="-304800" algn="l" defTabSz="1219169" rtl="0" latinLnBrk="0">
        <a:lnSpc>
          <a:spcPct val="90000"/>
        </a:lnSpc>
        <a:spcBef>
          <a:spcPts val="220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3pPr>
      <a:lvl4pPr marL="2133600" marR="0" indent="-304800" algn="l" defTabSz="1219169" rtl="0" latinLnBrk="0">
        <a:lnSpc>
          <a:spcPct val="90000"/>
        </a:lnSpc>
        <a:spcBef>
          <a:spcPts val="220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4pPr>
      <a:lvl5pPr marL="2743200" marR="0" indent="-304800" algn="l" defTabSz="1219169" rtl="0" latinLnBrk="0">
        <a:lnSpc>
          <a:spcPct val="90000"/>
        </a:lnSpc>
        <a:spcBef>
          <a:spcPts val="220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5pPr>
      <a:lvl6pPr marL="3352800" marR="0" indent="-304800" algn="l" defTabSz="1219169" rtl="0" latinLnBrk="0">
        <a:lnSpc>
          <a:spcPct val="90000"/>
        </a:lnSpc>
        <a:spcBef>
          <a:spcPts val="220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6pPr>
      <a:lvl7pPr marL="3962400" marR="0" indent="-304800" algn="l" defTabSz="1219169" rtl="0" latinLnBrk="0">
        <a:lnSpc>
          <a:spcPct val="90000"/>
        </a:lnSpc>
        <a:spcBef>
          <a:spcPts val="220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7pPr>
      <a:lvl8pPr marL="4572000" marR="0" indent="-304800" algn="l" defTabSz="1219169" rtl="0" latinLnBrk="0">
        <a:lnSpc>
          <a:spcPct val="90000"/>
        </a:lnSpc>
        <a:spcBef>
          <a:spcPts val="220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8pPr>
      <a:lvl9pPr marL="5181600" marR="0" indent="-304800" algn="l" defTabSz="1219169" rtl="0" latinLnBrk="0">
        <a:lnSpc>
          <a:spcPct val="90000"/>
        </a:lnSpc>
        <a:spcBef>
          <a:spcPts val="220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9pPr>
    </p:bodyStyle>
    <p:other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22860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27432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32004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36576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Shape 9"/>
        <p:cNvGrpSpPr/>
        <p:nvPr/>
      </p:nvGrpSpPr>
      <p:grpSpPr>
        <a:xfrm>
          <a:off x="0" y="0"/>
          <a:ext cx="0" cy="0"/>
          <a:chOff x="0" y="0"/>
          <a:chExt cx="0" cy="0"/>
        </a:xfrm>
      </p:grpSpPr>
    </p:spTree>
    <p:extLst>
      <p:ext uri="{BB962C8B-B14F-4D97-AF65-F5344CB8AC3E}">
        <p14:creationId xmlns:p14="http://schemas.microsoft.com/office/powerpoint/2010/main" val="2792548149"/>
      </p:ext>
    </p:extLst>
  </p:cSld>
  <p:clrMap bg1="lt1" tx1="dk1" bg2="dk2" tx2="lt2" accent1="accent1" accent2="accent2" accent3="accent3" accent4="accent4" accent5="accent5" accent6="accent6" hlink="hlink" folHlink="folHlink"/>
  <p:sldLayoutIdLst>
    <p:sldLayoutId id="2147484204" r:id="rId1"/>
    <p:sldLayoutId id="2147484205" r:id="rId2"/>
    <p:sldLayoutId id="2147484206"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Google Shape;10;p49">
            <a:extLst>
              <a:ext uri="{FF2B5EF4-FFF2-40B4-BE49-F238E27FC236}">
                <a16:creationId xmlns:a16="http://schemas.microsoft.com/office/drawing/2014/main" id="{B47D25E2-0077-32B5-0E34-51463B2D6A67}"/>
              </a:ext>
            </a:extLst>
          </p:cNvPr>
          <p:cNvSpPr>
            <a:spLocks noChangeArrowheads="1"/>
          </p:cNvSpPr>
          <p:nvPr/>
        </p:nvSpPr>
        <p:spPr bwMode="auto">
          <a:xfrm>
            <a:off x="0" y="5903913"/>
            <a:ext cx="985838" cy="954087"/>
          </a:xfrm>
          <a:prstGeom prst="rtTriangle">
            <a:avLst/>
          </a:prstGeom>
          <a:solidFill>
            <a:srgbClr val="3462A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buClr>
                <a:srgbClr val="000000"/>
              </a:buClr>
              <a:buSzPts val="1800"/>
              <a:buFont typeface="Arial" panose="020B0604020202020204" pitchFamily="34" charset="0"/>
              <a:buNone/>
            </a:pPr>
            <a:endParaRPr lang="en-US" altLang="en-US" sz="1400" kern="0">
              <a:solidFill>
                <a:srgbClr val="FFFFFF"/>
              </a:solidFill>
              <a:latin typeface="Helvetica Neue"/>
              <a:ea typeface="Helvetica Neue"/>
              <a:cs typeface="Helvetica Neue"/>
              <a:sym typeface="Helvetica Neue"/>
            </a:endParaRPr>
          </a:p>
        </p:txBody>
      </p:sp>
      <p:sp>
        <p:nvSpPr>
          <p:cNvPr id="2051" name="Google Shape;11;p49">
            <a:extLst>
              <a:ext uri="{FF2B5EF4-FFF2-40B4-BE49-F238E27FC236}">
                <a16:creationId xmlns:a16="http://schemas.microsoft.com/office/drawing/2014/main" id="{50F94FB2-F985-310B-A4FD-D84AB1C43F34}"/>
              </a:ext>
            </a:extLst>
          </p:cNvPr>
          <p:cNvSpPr txBox="1">
            <a:spLocks noGrp="1"/>
          </p:cNvSpPr>
          <p:nvPr>
            <p:ph type="title"/>
          </p:nvPr>
        </p:nvSpPr>
        <p:spPr bwMode="auto">
          <a:xfrm>
            <a:off x="838200" y="365125"/>
            <a:ext cx="10515600"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prstTxWarp prst="textNoShape">
              <a:avLst/>
            </a:prstTxWarp>
          </a:bodyPr>
          <a:lstStyle/>
          <a:p>
            <a:pPr lvl="0"/>
            <a:endParaRPr lang="en-US" altLang="en-US">
              <a:sym typeface="Arial" panose="020B0604020202020204" pitchFamily="34" charset="0"/>
            </a:endParaRPr>
          </a:p>
        </p:txBody>
      </p:sp>
      <p:sp>
        <p:nvSpPr>
          <p:cNvPr id="2052" name="Google Shape;12;p49">
            <a:extLst>
              <a:ext uri="{FF2B5EF4-FFF2-40B4-BE49-F238E27FC236}">
                <a16:creationId xmlns:a16="http://schemas.microsoft.com/office/drawing/2014/main" id="{87A55342-A97B-E2ED-898C-D01B2548789A}"/>
              </a:ext>
            </a:extLst>
          </p:cNvPr>
          <p:cNvSpPr txBox="1">
            <a:spLocks noGrp="1"/>
          </p:cNvSpPr>
          <p:nvPr>
            <p:ph type="body" idx="1"/>
          </p:nvPr>
        </p:nvSpPr>
        <p:spPr bwMode="auto">
          <a:xfrm>
            <a:off x="838200" y="146367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t" anchorCtr="0" compatLnSpc="1">
            <a:prstTxWarp prst="textNoShape">
              <a:avLst/>
            </a:prstTxWarp>
          </a:bodyPr>
          <a:lstStyle/>
          <a:p>
            <a:pPr lvl="0"/>
            <a:endParaRPr lang="en-US" altLang="en-US">
              <a:sym typeface="Arial" panose="020B0604020202020204" pitchFamily="34" charset="0"/>
            </a:endParaRPr>
          </a:p>
        </p:txBody>
      </p:sp>
      <p:sp>
        <p:nvSpPr>
          <p:cNvPr id="2053" name="Google Shape;13;p49">
            <a:extLst>
              <a:ext uri="{FF2B5EF4-FFF2-40B4-BE49-F238E27FC236}">
                <a16:creationId xmlns:a16="http://schemas.microsoft.com/office/drawing/2014/main" id="{927B5BFA-5B41-32A6-6986-0D895759B54A}"/>
              </a:ext>
            </a:extLst>
          </p:cNvPr>
          <p:cNvSpPr txBox="1">
            <a:spLocks noGrp="1"/>
          </p:cNvSpPr>
          <p:nvPr>
            <p:ph type="dt" idx="10"/>
          </p:nvPr>
        </p:nvSpPr>
        <p:spPr bwMode="auto">
          <a:xfrm>
            <a:off x="2886075" y="6359525"/>
            <a:ext cx="2743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prstTxWarp prst="textNoShape">
              <a:avLst/>
            </a:prstTxWarp>
          </a:bodyPr>
          <a:lstStyle>
            <a:lvl1pPr>
              <a:buClr>
                <a:srgbClr val="000000"/>
              </a:buClr>
              <a:buSzPts val="1400"/>
              <a:buFont typeface="Arial" panose="020B0604020202020204" pitchFamily="34" charset="0"/>
              <a:buNone/>
              <a:defRPr sz="1200">
                <a:solidFill>
                  <a:srgbClr val="253356"/>
                </a:solidFill>
                <a:latin typeface="Calibri" panose="020F0502020204030204" pitchFamily="34" charset="0"/>
                <a:ea typeface="Helvetica Neue"/>
                <a:cs typeface="Calibri" panose="020F0502020204030204" pitchFamily="34" charset="0"/>
                <a:sym typeface="Helvetica Neue"/>
              </a:defRPr>
            </a:lvl1pPr>
          </a:lstStyle>
          <a:p>
            <a:endParaRPr lang="en-US" altLang="en-US" kern="0"/>
          </a:p>
        </p:txBody>
      </p:sp>
      <p:sp>
        <p:nvSpPr>
          <p:cNvPr id="2054" name="Google Shape;14;p49">
            <a:extLst>
              <a:ext uri="{FF2B5EF4-FFF2-40B4-BE49-F238E27FC236}">
                <a16:creationId xmlns:a16="http://schemas.microsoft.com/office/drawing/2014/main" id="{95238CE4-D6DC-9EA6-2436-B66D8199154D}"/>
              </a:ext>
            </a:extLst>
          </p:cNvPr>
          <p:cNvSpPr txBox="1">
            <a:spLocks noGrp="1"/>
          </p:cNvSpPr>
          <p:nvPr>
            <p:ph type="ftr" idx="11"/>
          </p:nvPr>
        </p:nvSpPr>
        <p:spPr bwMode="auto">
          <a:xfrm>
            <a:off x="5953125" y="6356350"/>
            <a:ext cx="22002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prstTxWarp prst="textNoShape">
              <a:avLst/>
            </a:prstTxWarp>
          </a:bodyPr>
          <a:lstStyle>
            <a:lvl1pPr algn="ctr">
              <a:buClr>
                <a:srgbClr val="000000"/>
              </a:buClr>
              <a:buSzPts val="1400"/>
              <a:buFont typeface="Arial" panose="020B0604020202020204" pitchFamily="34" charset="0"/>
              <a:buNone/>
              <a:defRPr sz="1200">
                <a:solidFill>
                  <a:srgbClr val="253356"/>
                </a:solidFill>
                <a:latin typeface="Calibri" panose="020F0502020204030204" pitchFamily="34" charset="0"/>
                <a:ea typeface="Helvetica Neue"/>
                <a:cs typeface="Calibri" panose="020F0502020204030204" pitchFamily="34" charset="0"/>
                <a:sym typeface="Helvetica Neue"/>
              </a:defRPr>
            </a:lvl1pPr>
          </a:lstStyle>
          <a:p>
            <a:endParaRPr lang="en-US" altLang="en-US" kern="0"/>
          </a:p>
        </p:txBody>
      </p:sp>
      <p:sp>
        <p:nvSpPr>
          <p:cNvPr id="2055" name="Google Shape;15;p49">
            <a:extLst>
              <a:ext uri="{FF2B5EF4-FFF2-40B4-BE49-F238E27FC236}">
                <a16:creationId xmlns:a16="http://schemas.microsoft.com/office/drawing/2014/main" id="{D888676B-5C32-E441-B5B3-A96B50635095}"/>
              </a:ext>
            </a:extLst>
          </p:cNvPr>
          <p:cNvSpPr txBox="1">
            <a:spLocks noGrp="1"/>
          </p:cNvSpPr>
          <p:nvPr>
            <p:ph type="sldNum" idx="12"/>
          </p:nvPr>
        </p:nvSpPr>
        <p:spPr bwMode="auto">
          <a:xfrm>
            <a:off x="8610600" y="6356350"/>
            <a:ext cx="2743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prstTxWarp prst="textNoShape">
              <a:avLst/>
            </a:prstTxWarp>
          </a:bodyPr>
          <a:lstStyle>
            <a:lvl1pPr algn="r">
              <a:buClr>
                <a:srgbClr val="000000"/>
              </a:buClr>
              <a:buSzPts val="1200"/>
              <a:buFont typeface="Arial" panose="020B0604020202020204" pitchFamily="34" charset="0"/>
              <a:buNone/>
              <a:defRPr sz="1200">
                <a:solidFill>
                  <a:srgbClr val="253356"/>
                </a:solidFill>
                <a:latin typeface="Calibri" panose="020F0502020204030204" pitchFamily="34" charset="0"/>
                <a:ea typeface="Helvetica Neue"/>
                <a:cs typeface="Calibri" panose="020F0502020204030204" pitchFamily="34" charset="0"/>
                <a:sym typeface="Helvetica Neue"/>
              </a:defRPr>
            </a:lvl1pPr>
          </a:lstStyle>
          <a:p>
            <a:fld id="{D9485D6A-5697-4D52-969A-E6BA3ABA2506}" type="slidenum">
              <a:rPr lang="en-US" altLang="en-US" kern="0"/>
              <a:pPr/>
              <a:t>‹#›</a:t>
            </a:fld>
            <a:endParaRPr lang="en-US" altLang="en-US" kern="0"/>
          </a:p>
        </p:txBody>
      </p:sp>
      <p:pic>
        <p:nvPicPr>
          <p:cNvPr id="2056" name="Google Shape;16;p49" descr="Image result for ÎµÎ»Î»Î·Î½Î¹ÎºÎ· Î´Î·Î¼Î¿ÎºÏÎ±ÏÎ¹Î± logo">
            <a:extLst>
              <a:ext uri="{FF2B5EF4-FFF2-40B4-BE49-F238E27FC236}">
                <a16:creationId xmlns:a16="http://schemas.microsoft.com/office/drawing/2014/main" id="{A6E5F857-77A4-1ABE-C2BB-0FF66291001D}"/>
              </a:ext>
            </a:extLst>
          </p:cNvPr>
          <p:cNvPicPr preferRelativeResize="0">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950" y="6373813"/>
            <a:ext cx="3762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3695149"/>
      </p:ext>
    </p:extLst>
  </p:cSld>
  <p:clrMap bg1="lt1" tx1="dk1" bg2="dk2" tx2="lt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 id="2147484212" r:id="rId5"/>
    <p:sldLayoutId id="2147484213" r:id="rId6"/>
    <p:sldLayoutId id="2147484214" r:id="rId7"/>
    <p:sldLayoutId id="2147484215" r:id="rId8"/>
    <p:sldLayoutId id="2147484227" r:id="rId9"/>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Arial"/>
          <a:cs typeface="Calibri" panose="020F0502020204030204" pitchFamily="34" charset="0"/>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Arial"/>
          <a:cs typeface="Calibri" panose="020F0502020204030204" pitchFamily="34" charset="0"/>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Arial"/>
          <a:cs typeface="Calibri" panose="020F0502020204030204" pitchFamily="34" charset="0"/>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Arial"/>
          <a:cs typeface="Calibri" panose="020F0502020204030204" pitchFamily="34" charset="0"/>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9"/>
          <p:cNvSpPr/>
          <p:nvPr/>
        </p:nvSpPr>
        <p:spPr>
          <a:xfrm>
            <a:off x="0" y="5903650"/>
            <a:ext cx="985421" cy="954349"/>
          </a:xfrm>
          <a:prstGeom prst="rtTriangle">
            <a:avLst/>
          </a:prstGeom>
          <a:solidFill>
            <a:srgbClr val="3462AB"/>
          </a:solidFill>
          <a:ln>
            <a:noFill/>
          </a:ln>
        </p:spPr>
        <p:txBody>
          <a:bodyPr spcFirstLastPara="1" wrap="square" lIns="91425" tIns="45700" rIns="91425" bIns="45700" anchor="ctr" anchorCtr="0">
            <a:noAutofit/>
          </a:bodyPr>
          <a:lstStyle/>
          <a:p>
            <a:pPr algn="ctr">
              <a:buClr>
                <a:srgbClr val="000000"/>
              </a:buClr>
              <a:buSzPts val="1800"/>
              <a:buFont typeface="Arial"/>
              <a:buNone/>
            </a:pPr>
            <a:endParaRPr sz="1400" kern="0">
              <a:solidFill>
                <a:srgbClr val="FFFFFF"/>
              </a:solidFill>
              <a:latin typeface="Helvetica Neue"/>
              <a:ea typeface="Helvetica Neue"/>
              <a:cs typeface="Helvetica Neue"/>
              <a:sym typeface="Helvetica Neue"/>
            </a:endParaRPr>
          </a:p>
        </p:txBody>
      </p:sp>
      <p:sp>
        <p:nvSpPr>
          <p:cNvPr id="11" name="Google Shape;11;p49"/>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253356"/>
              </a:buClr>
              <a:buSzPts val="3200"/>
              <a:buFont typeface="Helvetica Neue"/>
              <a:buNone/>
              <a:defRPr sz="3200" b="0" i="0" u="none" strike="noStrike" cap="none">
                <a:solidFill>
                  <a:srgbClr val="253356"/>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2" name="Google Shape;12;p49"/>
          <p:cNvSpPr txBox="1">
            <a:spLocks noGrp="1"/>
          </p:cNvSpPr>
          <p:nvPr>
            <p:ph type="body" idx="1"/>
          </p:nvPr>
        </p:nvSpPr>
        <p:spPr>
          <a:xfrm>
            <a:off x="838200" y="1463675"/>
            <a:ext cx="10515600" cy="4351338"/>
          </a:xfrm>
          <a:prstGeom prst="rect">
            <a:avLst/>
          </a:prstGeom>
          <a:noFill/>
          <a:ln>
            <a:noFill/>
          </a:ln>
        </p:spPr>
        <p:txBody>
          <a:bodyPr spcFirstLastPara="1" wrap="square" lIns="91425" tIns="45700" rIns="91425" bIns="45700" anchor="t" anchorCtr="0">
            <a:normAutofit/>
          </a:bodyPr>
          <a:lstStyle>
            <a:lvl1pPr marL="457200" marR="0" lvl="0" indent="-298450" algn="l" rtl="0">
              <a:lnSpc>
                <a:spcPct val="90000"/>
              </a:lnSpc>
              <a:spcBef>
                <a:spcPts val="10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1pPr>
            <a:lvl2pPr marL="914400" marR="0" lvl="1"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2pPr>
            <a:lvl3pPr marL="1371600" marR="0" lvl="2"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3pPr>
            <a:lvl4pPr marL="1828800" marR="0" lvl="3"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4pPr>
            <a:lvl5pPr marL="2286000" marR="0" lvl="4"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3" name="Google Shape;13;p49"/>
          <p:cNvSpPr txBox="1">
            <a:spLocks noGrp="1"/>
          </p:cNvSpPr>
          <p:nvPr>
            <p:ph type="dt" idx="10"/>
          </p:nvPr>
        </p:nvSpPr>
        <p:spPr>
          <a:xfrm>
            <a:off x="2886075" y="6359525"/>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253356"/>
                </a:solidFill>
                <a:latin typeface="Calibri" panose="020F0502020204030204" pitchFamily="34" charset="0"/>
                <a:ea typeface="Helvetica Neue"/>
                <a:cs typeface="Calibri" panose="020F0502020204030204" pitchFamily="34" charset="0"/>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lang="x-none" kern="0"/>
          </a:p>
        </p:txBody>
      </p:sp>
      <p:sp>
        <p:nvSpPr>
          <p:cNvPr id="14" name="Google Shape;14;p49"/>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253356"/>
                </a:solidFill>
                <a:latin typeface="Calibri" panose="020F0502020204030204" pitchFamily="34" charset="0"/>
                <a:ea typeface="Helvetica Neue"/>
                <a:cs typeface="Calibri" panose="020F0502020204030204" pitchFamily="34" charset="0"/>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lang="x-none" kern="0"/>
          </a:p>
        </p:txBody>
      </p:sp>
      <p:sp>
        <p:nvSpPr>
          <p:cNvPr id="15" name="Google Shape;15;p4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Calibri" panose="020F0502020204030204" pitchFamily="34" charset="0"/>
                <a:ea typeface="Helvetica Neue"/>
                <a:cs typeface="Calibri" panose="020F0502020204030204" pitchFamily="34" charset="0"/>
                <a:sym typeface="Helvetica Neue"/>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253356"/>
                </a:solidFill>
                <a:latin typeface="Helvetica Neue"/>
                <a:ea typeface="Helvetica Neue"/>
                <a:cs typeface="Helvetica Neue"/>
                <a:sym typeface="Helvetica Neue"/>
              </a:defRPr>
            </a:lvl9pPr>
          </a:lstStyle>
          <a:p>
            <a:fld id="{00000000-1234-1234-1234-123412341234}" type="slidenum">
              <a:rPr lang="en-US" kern="0" smtClean="0"/>
              <a:pPr/>
              <a:t>‹#›</a:t>
            </a:fld>
            <a:endParaRPr lang="en-US" kern="0"/>
          </a:p>
        </p:txBody>
      </p:sp>
      <p:pic>
        <p:nvPicPr>
          <p:cNvPr id="16" name="Google Shape;16;p49" descr="Image result for ÎµÎ»Î»Î·Î½Î¹ÎºÎ· Î´Î·Î¼Î¿ÎºÏÎ±ÏÎ¹Î± logo"/>
          <p:cNvPicPr preferRelativeResize="0"/>
          <p:nvPr/>
        </p:nvPicPr>
        <p:blipFill rotWithShape="1">
          <a:blip r:embed="rId12">
            <a:alphaModFix/>
          </a:blip>
          <a:srcRect/>
          <a:stretch/>
        </p:blipFill>
        <p:spPr>
          <a:xfrm>
            <a:off x="108110" y="6374106"/>
            <a:ext cx="375722" cy="368208"/>
          </a:xfrm>
          <a:prstGeom prst="rect">
            <a:avLst/>
          </a:prstGeom>
          <a:noFill/>
          <a:ln>
            <a:noFill/>
          </a:ln>
        </p:spPr>
      </p:pic>
    </p:spTree>
    <p:extLst>
      <p:ext uri="{BB962C8B-B14F-4D97-AF65-F5344CB8AC3E}">
        <p14:creationId xmlns:p14="http://schemas.microsoft.com/office/powerpoint/2010/main" val="674858236"/>
      </p:ext>
    </p:extLst>
  </p:cSld>
  <p:clrMap bg1="lt1" tx1="dk1" bg2="dk2" tx2="lt2" accent1="accent1" accent2="accent2" accent3="accent3" accent4="accent4" accent5="accent5" accent6="accent6" hlink="hlink" folHlink="folHlink"/>
  <p:sldLayoutIdLst>
    <p:sldLayoutId id="2147484217" r:id="rId1"/>
    <p:sldLayoutId id="2147484218" r:id="rId2"/>
    <p:sldLayoutId id="2147484219" r:id="rId3"/>
    <p:sldLayoutId id="2147484220" r:id="rId4"/>
    <p:sldLayoutId id="2147484221" r:id="rId5"/>
    <p:sldLayoutId id="2147484222" r:id="rId6"/>
    <p:sldLayoutId id="2147484223" r:id="rId7"/>
    <p:sldLayoutId id="2147484224" r:id="rId8"/>
    <p:sldLayoutId id="2147484225" r:id="rId9"/>
    <p:sldLayoutId id="2147484226"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image" Target="../media/image10.emf"/><Relationship Id="rId3" Type="http://schemas.openxmlformats.org/officeDocument/2006/relationships/tags" Target="../tags/tag2.xml"/><Relationship Id="rId21" Type="http://schemas.openxmlformats.org/officeDocument/2006/relationships/chart" Target="../charts/chart3.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oleObject" Target="../embeddings/oleObject1.bin"/><Relationship Id="rId25" Type="http://schemas.openxmlformats.org/officeDocument/2006/relationships/image" Target="../media/image11.png"/><Relationship Id="rId2" Type="http://schemas.openxmlformats.org/officeDocument/2006/relationships/tags" Target="../tags/tag1.xml"/><Relationship Id="rId16" Type="http://schemas.openxmlformats.org/officeDocument/2006/relationships/notesSlide" Target="../notesSlides/notesSlide9.xml"/><Relationship Id="rId20" Type="http://schemas.openxmlformats.org/officeDocument/2006/relationships/chart" Target="../charts/chart2.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chart" Target="../charts/chart6.xml"/><Relationship Id="rId5" Type="http://schemas.openxmlformats.org/officeDocument/2006/relationships/tags" Target="../tags/tag4.xml"/><Relationship Id="rId15" Type="http://schemas.openxmlformats.org/officeDocument/2006/relationships/slideLayout" Target="../slideLayouts/slideLayout2.xml"/><Relationship Id="rId23" Type="http://schemas.openxmlformats.org/officeDocument/2006/relationships/chart" Target="../charts/chart5.xml"/><Relationship Id="rId10" Type="http://schemas.openxmlformats.org/officeDocument/2006/relationships/tags" Target="../tags/tag9.xml"/><Relationship Id="rId19" Type="http://schemas.openxmlformats.org/officeDocument/2006/relationships/chart" Target="../charts/chart1.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chart" Target="../charts/chart4.xml"/></Relationships>
</file>

<file path=ppt/slides/_rels/slide11.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notesSlide" Target="../notesSlides/notesSlide10.xml"/><Relationship Id="rId18" Type="http://schemas.openxmlformats.org/officeDocument/2006/relationships/chart" Target="../charts/chart9.xml"/><Relationship Id="rId3" Type="http://schemas.openxmlformats.org/officeDocument/2006/relationships/tags" Target="../tags/tag15.xml"/><Relationship Id="rId21" Type="http://schemas.openxmlformats.org/officeDocument/2006/relationships/image" Target="../media/image11.png"/><Relationship Id="rId7" Type="http://schemas.openxmlformats.org/officeDocument/2006/relationships/tags" Target="../tags/tag19.xml"/><Relationship Id="rId12" Type="http://schemas.openxmlformats.org/officeDocument/2006/relationships/slideLayout" Target="../slideLayouts/slideLayout7.xml"/><Relationship Id="rId17" Type="http://schemas.openxmlformats.org/officeDocument/2006/relationships/chart" Target="../charts/chart8.xml"/><Relationship Id="rId2" Type="http://schemas.openxmlformats.org/officeDocument/2006/relationships/tags" Target="../tags/tag14.xml"/><Relationship Id="rId16" Type="http://schemas.openxmlformats.org/officeDocument/2006/relationships/chart" Target="../charts/chart7.xml"/><Relationship Id="rId20" Type="http://schemas.openxmlformats.org/officeDocument/2006/relationships/chart" Target="../charts/chart11.xml"/><Relationship Id="rId1" Type="http://schemas.openxmlformats.org/officeDocument/2006/relationships/vmlDrawing" Target="../drawings/vmlDrawing2.v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image" Target="../media/image10.emf"/><Relationship Id="rId10" Type="http://schemas.openxmlformats.org/officeDocument/2006/relationships/tags" Target="../tags/tag22.xml"/><Relationship Id="rId19" Type="http://schemas.openxmlformats.org/officeDocument/2006/relationships/chart" Target="../charts/chart10.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9.xml"/></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image" Target="../media/image14.emf"/><Relationship Id="rId5" Type="http://schemas.openxmlformats.org/officeDocument/2006/relationships/image" Target="../media/image10.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33.xml"/><Relationship Id="rId1" Type="http://schemas.openxmlformats.org/officeDocument/2006/relationships/vmlDrawing" Target="../drawings/vmlDrawing12.v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13.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vmlDrawing" Target="../drawings/vmlDrawing14.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9E3CAC-8491-155C-E83E-5E3D782FF9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 y="3368"/>
            <a:ext cx="12171790" cy="6904638"/>
          </a:xfrm>
          <a:prstGeom prst="rect">
            <a:avLst/>
          </a:prstGeom>
        </p:spPr>
      </p:pic>
      <p:sp>
        <p:nvSpPr>
          <p:cNvPr id="2" name="TextBox 1">
            <a:extLst>
              <a:ext uri="{FF2B5EF4-FFF2-40B4-BE49-F238E27FC236}">
                <a16:creationId xmlns:a16="http://schemas.microsoft.com/office/drawing/2014/main" id="{02745299-7DD2-9C31-62BB-C77FCD76A602}"/>
              </a:ext>
            </a:extLst>
          </p:cNvPr>
          <p:cNvSpPr txBox="1"/>
          <p:nvPr/>
        </p:nvSpPr>
        <p:spPr>
          <a:xfrm>
            <a:off x="404190" y="2133319"/>
            <a:ext cx="9053770" cy="5355312"/>
          </a:xfrm>
          <a:prstGeom prst="rect">
            <a:avLst/>
          </a:prstGeom>
          <a:noFill/>
        </p:spPr>
        <p:txBody>
          <a:bodyPr wrap="square" lIns="91440" tIns="45720" rIns="91440" bIns="45720" rtlCol="0" anchor="t">
            <a:spAutoFit/>
          </a:bodyPr>
          <a:lstStyle/>
          <a:p>
            <a:pPr algn="ctr"/>
            <a:endParaRPr lang="en-GB" sz="4000" b="1" dirty="0">
              <a:solidFill>
                <a:schemeClr val="bg1"/>
              </a:solidFill>
              <a:latin typeface="Calibri" panose="020F0502020204030204" pitchFamily="34" charset="0"/>
              <a:cs typeface="Calibri" panose="020F0502020204030204" pitchFamily="34" charset="0"/>
            </a:endParaRPr>
          </a:p>
          <a:p>
            <a:pPr algn="ctr"/>
            <a:r>
              <a:rPr lang="el-GR" sz="3600" b="1" dirty="0">
                <a:solidFill>
                  <a:schemeClr val="bg1"/>
                </a:solidFill>
                <a:latin typeface="Calibri"/>
                <a:ea typeface="Calibri"/>
                <a:cs typeface="Calibri"/>
              </a:rPr>
              <a:t>Δυτική Μακεδονία</a:t>
            </a:r>
          </a:p>
          <a:p>
            <a:pPr algn="ctr"/>
            <a:endParaRPr lang="el-GR" sz="3600" b="1" dirty="0">
              <a:solidFill>
                <a:schemeClr val="bg1"/>
              </a:solidFill>
              <a:latin typeface="Calibri"/>
              <a:ea typeface="Calibri"/>
              <a:cs typeface="Calibri"/>
            </a:endParaRPr>
          </a:p>
          <a:p>
            <a:pPr algn="ctr"/>
            <a:r>
              <a:rPr lang="el-GR" sz="2400" b="1" dirty="0">
                <a:solidFill>
                  <a:schemeClr val="bg1"/>
                </a:solidFill>
                <a:latin typeface="Calibri"/>
                <a:ea typeface="Calibri"/>
                <a:cs typeface="Calibri"/>
              </a:rPr>
              <a:t>Εθνική Στρατηγική για την Περιφερειακή &amp; Τοπική Ανάπτυξη</a:t>
            </a:r>
          </a:p>
          <a:p>
            <a:pPr algn="ctr"/>
            <a:endParaRPr lang="el-GR" sz="3600" b="1" dirty="0">
              <a:solidFill>
                <a:schemeClr val="bg1"/>
              </a:solidFill>
              <a:latin typeface="Calibri"/>
              <a:ea typeface="Calibri"/>
              <a:cs typeface="Calibri"/>
            </a:endParaRPr>
          </a:p>
          <a:p>
            <a:pPr algn="ctr"/>
            <a:endParaRPr lang="el-GR" sz="3600" b="1" dirty="0">
              <a:solidFill>
                <a:schemeClr val="bg1"/>
              </a:solidFill>
              <a:latin typeface="Calibri"/>
              <a:ea typeface="Calibri"/>
              <a:cs typeface="Calibri"/>
            </a:endParaRPr>
          </a:p>
          <a:p>
            <a:pPr algn="ctr"/>
            <a:endParaRPr lang="el-GR" sz="3600" b="1" dirty="0">
              <a:solidFill>
                <a:schemeClr val="bg1"/>
              </a:solidFill>
              <a:latin typeface="Calibri"/>
              <a:ea typeface="Calibri"/>
              <a:cs typeface="Calibri"/>
            </a:endParaRPr>
          </a:p>
          <a:p>
            <a:pPr algn="ctr"/>
            <a:r>
              <a:rPr lang="el-GR" b="1" dirty="0">
                <a:solidFill>
                  <a:schemeClr val="bg1"/>
                </a:solidFill>
                <a:latin typeface="Calibri"/>
                <a:ea typeface="Calibri"/>
                <a:cs typeface="Calibri"/>
              </a:rPr>
              <a:t>23.07.2025</a:t>
            </a:r>
            <a:endParaRPr lang="el-GR" dirty="0">
              <a:solidFill>
                <a:schemeClr val="bg1"/>
              </a:solidFill>
            </a:endParaRPr>
          </a:p>
          <a:p>
            <a:pPr algn="ctr"/>
            <a:endParaRPr lang="el-GR" sz="4000" b="1" dirty="0">
              <a:solidFill>
                <a:schemeClr val="bg1"/>
              </a:solidFill>
              <a:latin typeface="Calibri" panose="020F0502020204030204" pitchFamily="34" charset="0"/>
              <a:cs typeface="Calibri" panose="020F0502020204030204" pitchFamily="34" charset="0"/>
            </a:endParaRPr>
          </a:p>
          <a:p>
            <a:pPr algn="ctr"/>
            <a:endParaRPr lang="el-GR" sz="4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305222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3D4751-CE7E-639C-4D93-3BBB772861E9}"/>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EBDB21C4-1115-6A82-818B-E5B0F7A91BA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17" imgW="350" imgH="350" progId="TCLayout.ActiveDocument.1">
                  <p:embed/>
                </p:oleObj>
              </mc:Choice>
              <mc:Fallback>
                <p:oleObj name="think-cell Slide" r:id="rId17" imgW="350" imgH="350" progId="TCLayout.ActiveDocument.1">
                  <p:embed/>
                  <p:pic>
                    <p:nvPicPr>
                      <p:cNvPr id="20" name="think-cell data - do not delete" hidden="1">
                        <a:extLst>
                          <a:ext uri="{FF2B5EF4-FFF2-40B4-BE49-F238E27FC236}">
                            <a16:creationId xmlns:a16="http://schemas.microsoft.com/office/drawing/2014/main" id="{EBDB21C4-1115-6A82-818B-E5B0F7A91BA6}"/>
                          </a:ext>
                        </a:extLst>
                      </p:cNvPr>
                      <p:cNvPicPr/>
                      <p:nvPr/>
                    </p:nvPicPr>
                    <p:blipFill>
                      <a:blip r:embed="rId18"/>
                      <a:stretch>
                        <a:fillRect/>
                      </a:stretch>
                    </p:blipFill>
                    <p:spPr>
                      <a:xfrm>
                        <a:off x="1589" y="1589"/>
                        <a:ext cx="1588" cy="1588"/>
                      </a:xfrm>
                      <a:prstGeom prst="rect">
                        <a:avLst/>
                      </a:prstGeom>
                    </p:spPr>
                  </p:pic>
                </p:oleObj>
              </mc:Fallback>
            </mc:AlternateContent>
          </a:graphicData>
        </a:graphic>
      </p:graphicFrame>
      <p:sp>
        <p:nvSpPr>
          <p:cNvPr id="2" name="Google Shape;3744;p13">
            <a:extLst>
              <a:ext uri="{FF2B5EF4-FFF2-40B4-BE49-F238E27FC236}">
                <a16:creationId xmlns:a16="http://schemas.microsoft.com/office/drawing/2014/main" id="{EE441DDA-400B-931C-3BB9-FBBA30827D24}"/>
              </a:ext>
            </a:extLst>
          </p:cNvPr>
          <p:cNvSpPr/>
          <p:nvPr/>
        </p:nvSpPr>
        <p:spPr>
          <a:xfrm>
            <a:off x="3752668" y="1116126"/>
            <a:ext cx="4491992" cy="5083997"/>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buClr>
                <a:srgbClr val="000000"/>
              </a:buClr>
              <a:buFont typeface="Arial"/>
              <a:buNone/>
            </a:pPr>
            <a:r>
              <a:rPr lang="el-GR" sz="1539">
                <a:solidFill>
                  <a:srgbClr val="FFFFFF"/>
                </a:solidFill>
                <a:latin typeface="Georgia"/>
                <a:ea typeface="Georgia"/>
                <a:cs typeface="Georgia"/>
                <a:sym typeface="Georgia"/>
              </a:rPr>
              <a:t>    </a:t>
            </a:r>
          </a:p>
        </p:txBody>
      </p:sp>
      <p:sp>
        <p:nvSpPr>
          <p:cNvPr id="3" name="Google Shape;416;p5">
            <a:extLst>
              <a:ext uri="{FF2B5EF4-FFF2-40B4-BE49-F238E27FC236}">
                <a16:creationId xmlns:a16="http://schemas.microsoft.com/office/drawing/2014/main" id="{50D04434-4BE4-B07E-7F60-85C1714B339F}"/>
              </a:ext>
            </a:extLst>
          </p:cNvPr>
          <p:cNvSpPr/>
          <p:nvPr/>
        </p:nvSpPr>
        <p:spPr>
          <a:xfrm>
            <a:off x="948164" y="1254039"/>
            <a:ext cx="2722425" cy="637760"/>
          </a:xfrm>
          <a:prstGeom prst="roundRect">
            <a:avLst>
              <a:gd name="adj" fmla="val 50000"/>
            </a:avLst>
          </a:prstGeom>
          <a:solidFill>
            <a:srgbClr val="104D8C"/>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200"/>
            </a:pPr>
            <a:endParaRPr sz="1200">
              <a:solidFill>
                <a:srgbClr val="FFFFFF"/>
              </a:solidFill>
              <a:latin typeface="Calibri"/>
              <a:ea typeface="Calibri"/>
              <a:cs typeface="Calibri"/>
              <a:sym typeface="Calibri"/>
            </a:endParaRPr>
          </a:p>
        </p:txBody>
      </p:sp>
      <p:sp>
        <p:nvSpPr>
          <p:cNvPr id="4" name="Google Shape;417;p5">
            <a:extLst>
              <a:ext uri="{FF2B5EF4-FFF2-40B4-BE49-F238E27FC236}">
                <a16:creationId xmlns:a16="http://schemas.microsoft.com/office/drawing/2014/main" id="{F89B6406-A0A6-8174-8335-1CB38AA21AE1}"/>
              </a:ext>
            </a:extLst>
          </p:cNvPr>
          <p:cNvSpPr txBox="1"/>
          <p:nvPr/>
        </p:nvSpPr>
        <p:spPr>
          <a:xfrm>
            <a:off x="1066746" y="1355431"/>
            <a:ext cx="2603841" cy="461624"/>
          </a:xfrm>
          <a:prstGeom prst="rect">
            <a:avLst/>
          </a:prstGeom>
          <a:noFill/>
          <a:ln>
            <a:noFill/>
          </a:ln>
        </p:spPr>
        <p:txBody>
          <a:bodyPr spcFirstLastPara="1" wrap="square" lIns="91425" tIns="45700" rIns="91425" bIns="4570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rgbClr val="FFFFFF"/>
              </a:buClr>
              <a:buSzPts val="1200"/>
            </a:pPr>
            <a:r>
              <a:rPr lang="en-US" sz="1200" b="1">
                <a:solidFill>
                  <a:srgbClr val="FFFFFF"/>
                </a:solidFill>
                <a:latin typeface="Arial" panose="020B0604020202020204" pitchFamily="34" charset="0"/>
                <a:ea typeface="Calibri"/>
                <a:cs typeface="Arial" panose="020B0604020202020204" pitchFamily="34" charset="0"/>
                <a:sym typeface="Calibri"/>
              </a:rPr>
              <a:t>1. </a:t>
            </a:r>
            <a:r>
              <a:rPr lang="el-GR" sz="1200" b="1">
                <a:solidFill>
                  <a:srgbClr val="FFFFFF"/>
                </a:solidFill>
                <a:latin typeface="Arial" panose="020B0604020202020204" pitchFamily="34" charset="0"/>
                <a:ea typeface="Calibri"/>
                <a:cs typeface="Arial" panose="020B0604020202020204" pitchFamily="34" charset="0"/>
                <a:sym typeface="Calibri"/>
              </a:rPr>
              <a:t>Ενίσχυση και Προώθηση της Επιχειρηματικότητας</a:t>
            </a:r>
          </a:p>
        </p:txBody>
      </p:sp>
      <p:sp>
        <p:nvSpPr>
          <p:cNvPr id="5" name="Google Shape;421;p5">
            <a:extLst>
              <a:ext uri="{FF2B5EF4-FFF2-40B4-BE49-F238E27FC236}">
                <a16:creationId xmlns:a16="http://schemas.microsoft.com/office/drawing/2014/main" id="{12DDD65B-0FA3-88BB-3038-1E985D465B9F}"/>
              </a:ext>
            </a:extLst>
          </p:cNvPr>
          <p:cNvSpPr/>
          <p:nvPr/>
        </p:nvSpPr>
        <p:spPr>
          <a:xfrm>
            <a:off x="948164" y="2013053"/>
            <a:ext cx="2722425" cy="637760"/>
          </a:xfrm>
          <a:prstGeom prst="roundRect">
            <a:avLst>
              <a:gd name="adj" fmla="val 50000"/>
            </a:avLst>
          </a:prstGeom>
          <a:solidFill>
            <a:srgbClr val="97CA3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chemeClr val="dk1"/>
              </a:buClr>
              <a:buSzPts val="1200"/>
            </a:pPr>
            <a:endParaRPr sz="1200">
              <a:solidFill>
                <a:srgbClr val="FFFFFF"/>
              </a:solidFill>
              <a:latin typeface="Calibri"/>
              <a:ea typeface="Calibri"/>
              <a:cs typeface="Calibri"/>
              <a:sym typeface="Calibri"/>
            </a:endParaRPr>
          </a:p>
        </p:txBody>
      </p:sp>
      <p:sp>
        <p:nvSpPr>
          <p:cNvPr id="6" name="Google Shape;422;p5">
            <a:extLst>
              <a:ext uri="{FF2B5EF4-FFF2-40B4-BE49-F238E27FC236}">
                <a16:creationId xmlns:a16="http://schemas.microsoft.com/office/drawing/2014/main" id="{9F5AC3D4-F730-3B3F-16EA-08C6013238B5}"/>
              </a:ext>
            </a:extLst>
          </p:cNvPr>
          <p:cNvSpPr txBox="1"/>
          <p:nvPr/>
        </p:nvSpPr>
        <p:spPr>
          <a:xfrm>
            <a:off x="1066745" y="2102267"/>
            <a:ext cx="2457715" cy="461624"/>
          </a:xfrm>
          <a:prstGeom prst="rect">
            <a:avLst/>
          </a:prstGeom>
          <a:noFill/>
          <a:ln>
            <a:noFill/>
          </a:ln>
        </p:spPr>
        <p:txBody>
          <a:bodyPr spcFirstLastPara="1" wrap="square" lIns="91425" tIns="45700" rIns="91425" bIns="4570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rtl="0"/>
            <a:r>
              <a:rPr lang="el-GR" sz="1200" b="1">
                <a:solidFill>
                  <a:srgbClr val="FFFFFF"/>
                </a:solidFill>
                <a:latin typeface="Arial" panose="020B0604020202020204" pitchFamily="34" charset="0"/>
                <a:ea typeface="Calibri"/>
                <a:cs typeface="Arial" panose="020B0604020202020204" pitchFamily="34" charset="0"/>
                <a:sym typeface="Calibri"/>
              </a:rPr>
              <a:t>2. Ενεργειακή Μετάβαση Κλιματική Ουδετερότητα</a:t>
            </a:r>
          </a:p>
        </p:txBody>
      </p:sp>
      <p:sp>
        <p:nvSpPr>
          <p:cNvPr id="7" name="Google Shape;427;p5">
            <a:extLst>
              <a:ext uri="{FF2B5EF4-FFF2-40B4-BE49-F238E27FC236}">
                <a16:creationId xmlns:a16="http://schemas.microsoft.com/office/drawing/2014/main" id="{E4EBFB51-CA57-FDC9-B5C3-780E5564831C}"/>
              </a:ext>
            </a:extLst>
          </p:cNvPr>
          <p:cNvSpPr/>
          <p:nvPr/>
        </p:nvSpPr>
        <p:spPr>
          <a:xfrm>
            <a:off x="948164" y="2776299"/>
            <a:ext cx="2722425" cy="637760"/>
          </a:xfrm>
          <a:prstGeom prst="roundRect">
            <a:avLst>
              <a:gd name="adj" fmla="val 50000"/>
            </a:avLst>
          </a:prstGeom>
          <a:solidFill>
            <a:srgbClr val="A5A5A5"/>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chemeClr val="dk1"/>
              </a:buClr>
              <a:buSzPts val="1200"/>
            </a:pPr>
            <a:endParaRPr sz="1200">
              <a:solidFill>
                <a:srgbClr val="FFFFFF"/>
              </a:solidFill>
              <a:latin typeface="Calibri"/>
              <a:ea typeface="Calibri"/>
              <a:cs typeface="Calibri"/>
              <a:sym typeface="Calibri"/>
            </a:endParaRPr>
          </a:p>
        </p:txBody>
      </p:sp>
      <p:sp>
        <p:nvSpPr>
          <p:cNvPr id="8" name="Google Shape;428;p5">
            <a:extLst>
              <a:ext uri="{FF2B5EF4-FFF2-40B4-BE49-F238E27FC236}">
                <a16:creationId xmlns:a16="http://schemas.microsoft.com/office/drawing/2014/main" id="{DB644C05-E4DE-5A4A-7525-BAD85C0670AF}"/>
              </a:ext>
            </a:extLst>
          </p:cNvPr>
          <p:cNvSpPr txBox="1"/>
          <p:nvPr/>
        </p:nvSpPr>
        <p:spPr>
          <a:xfrm>
            <a:off x="1046455" y="2858339"/>
            <a:ext cx="2478005" cy="461624"/>
          </a:xfrm>
          <a:prstGeom prst="rect">
            <a:avLst/>
          </a:prstGeom>
          <a:noFill/>
          <a:ln>
            <a:noFill/>
          </a:ln>
        </p:spPr>
        <p:txBody>
          <a:bodyPr spcFirstLastPara="1" wrap="square" lIns="91425" tIns="45700" rIns="91425" bIns="4570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r>
              <a:rPr lang="el-GR" sz="1200" b="1">
                <a:solidFill>
                  <a:srgbClr val="FFFFFF"/>
                </a:solidFill>
                <a:latin typeface="Arial" panose="020B0604020202020204" pitchFamily="34" charset="0"/>
                <a:ea typeface="Calibri"/>
                <a:cs typeface="Arial" panose="020B0604020202020204" pitchFamily="34" charset="0"/>
                <a:sym typeface="Calibri"/>
              </a:rPr>
              <a:t>3. Αναπροσαρμογή Χρήσεων Γης Κυκλική Οικονομία</a:t>
            </a:r>
          </a:p>
        </p:txBody>
      </p:sp>
      <p:sp>
        <p:nvSpPr>
          <p:cNvPr id="9" name="Google Shape;433;p5">
            <a:extLst>
              <a:ext uri="{FF2B5EF4-FFF2-40B4-BE49-F238E27FC236}">
                <a16:creationId xmlns:a16="http://schemas.microsoft.com/office/drawing/2014/main" id="{E7CDB297-F5CB-1A7A-9307-B291B9D9AC61}"/>
              </a:ext>
            </a:extLst>
          </p:cNvPr>
          <p:cNvSpPr/>
          <p:nvPr/>
        </p:nvSpPr>
        <p:spPr>
          <a:xfrm>
            <a:off x="948163" y="3539549"/>
            <a:ext cx="2742957" cy="637760"/>
          </a:xfrm>
          <a:prstGeom prst="roundRect">
            <a:avLst>
              <a:gd name="adj" fmla="val 50000"/>
            </a:avLst>
          </a:prstGeom>
          <a:solidFill>
            <a:srgbClr val="FFC000"/>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chemeClr val="dk1"/>
              </a:buClr>
              <a:buSzPts val="1200"/>
            </a:pPr>
            <a:endParaRPr sz="1200">
              <a:solidFill>
                <a:srgbClr val="FFFFFF"/>
              </a:solidFill>
              <a:latin typeface="Calibri"/>
              <a:ea typeface="Calibri"/>
              <a:cs typeface="Calibri"/>
              <a:sym typeface="Calibri"/>
            </a:endParaRPr>
          </a:p>
        </p:txBody>
      </p:sp>
      <p:sp>
        <p:nvSpPr>
          <p:cNvPr id="10" name="Google Shape;434;p5">
            <a:extLst>
              <a:ext uri="{FF2B5EF4-FFF2-40B4-BE49-F238E27FC236}">
                <a16:creationId xmlns:a16="http://schemas.microsoft.com/office/drawing/2014/main" id="{9633EC00-F894-3D24-6437-55FEBF81C4C2}"/>
              </a:ext>
            </a:extLst>
          </p:cNvPr>
          <p:cNvSpPr txBox="1"/>
          <p:nvPr/>
        </p:nvSpPr>
        <p:spPr>
          <a:xfrm>
            <a:off x="1032258" y="3537513"/>
            <a:ext cx="2509449" cy="646291"/>
          </a:xfrm>
          <a:prstGeom prst="rect">
            <a:avLst/>
          </a:prstGeom>
          <a:noFill/>
          <a:ln>
            <a:noFill/>
          </a:ln>
        </p:spPr>
        <p:txBody>
          <a:bodyPr spcFirstLastPara="1" wrap="square" lIns="91425" tIns="45700" rIns="91425" bIns="4570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r>
              <a:rPr lang="el-GR" sz="1200" b="1">
                <a:solidFill>
                  <a:srgbClr val="FFFFFF"/>
                </a:solidFill>
                <a:latin typeface="Arial" panose="020B0604020202020204" pitchFamily="34" charset="0"/>
                <a:ea typeface="Calibri"/>
                <a:cs typeface="Arial" panose="020B0604020202020204" pitchFamily="34" charset="0"/>
                <a:sym typeface="Calibri"/>
              </a:rPr>
              <a:t>4</a:t>
            </a:r>
            <a:r>
              <a:rPr lang="en-US" sz="1200" b="1">
                <a:solidFill>
                  <a:srgbClr val="FFFFFF"/>
                </a:solidFill>
                <a:latin typeface="Arial" panose="020B0604020202020204" pitchFamily="34" charset="0"/>
                <a:ea typeface="Calibri"/>
                <a:cs typeface="Arial" panose="020B0604020202020204" pitchFamily="34" charset="0"/>
                <a:sym typeface="Calibri"/>
              </a:rPr>
              <a:t>. </a:t>
            </a:r>
            <a:r>
              <a:rPr lang="el-GR" sz="1200" b="1">
                <a:solidFill>
                  <a:srgbClr val="FFFFFF"/>
                </a:solidFill>
                <a:latin typeface="Arial" panose="020B0604020202020204" pitchFamily="34" charset="0"/>
                <a:ea typeface="Calibri"/>
                <a:cs typeface="Arial" panose="020B0604020202020204" pitchFamily="34" charset="0"/>
                <a:sym typeface="Calibri"/>
              </a:rPr>
              <a:t>Δίκαιη Εργασιακή Μετάβαση και Ενδυνάμωση Ανθρώπινου Κεφαλαίου</a:t>
            </a:r>
          </a:p>
        </p:txBody>
      </p:sp>
      <p:sp>
        <p:nvSpPr>
          <p:cNvPr id="11" name="Google Shape;439;p5">
            <a:extLst>
              <a:ext uri="{FF2B5EF4-FFF2-40B4-BE49-F238E27FC236}">
                <a16:creationId xmlns:a16="http://schemas.microsoft.com/office/drawing/2014/main" id="{656BF6A1-F016-BDE6-15A6-D0C4F4DF4BFF}"/>
              </a:ext>
            </a:extLst>
          </p:cNvPr>
          <p:cNvSpPr/>
          <p:nvPr/>
        </p:nvSpPr>
        <p:spPr>
          <a:xfrm>
            <a:off x="948163" y="4305027"/>
            <a:ext cx="2742957" cy="637760"/>
          </a:xfrm>
          <a:prstGeom prst="roundRect">
            <a:avLst>
              <a:gd name="adj" fmla="val 50000"/>
            </a:avLst>
          </a:prstGeom>
          <a:solidFill>
            <a:srgbClr val="0CACDC"/>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chemeClr val="dk1"/>
              </a:buClr>
              <a:buSzPts val="1200"/>
            </a:pPr>
            <a:endParaRPr sz="1200">
              <a:solidFill>
                <a:srgbClr val="FFFFFF"/>
              </a:solidFill>
              <a:latin typeface="Calibri"/>
              <a:ea typeface="Calibri"/>
              <a:cs typeface="Calibri"/>
              <a:sym typeface="Calibri"/>
            </a:endParaRPr>
          </a:p>
        </p:txBody>
      </p:sp>
      <p:sp>
        <p:nvSpPr>
          <p:cNvPr id="12" name="Google Shape;440;p5">
            <a:extLst>
              <a:ext uri="{FF2B5EF4-FFF2-40B4-BE49-F238E27FC236}">
                <a16:creationId xmlns:a16="http://schemas.microsoft.com/office/drawing/2014/main" id="{FF14ED9F-186A-BFCF-4DFC-39D4D47EE1C9}"/>
              </a:ext>
            </a:extLst>
          </p:cNvPr>
          <p:cNvSpPr txBox="1"/>
          <p:nvPr/>
        </p:nvSpPr>
        <p:spPr>
          <a:xfrm>
            <a:off x="1184659" y="4315573"/>
            <a:ext cx="2776940" cy="646291"/>
          </a:xfrm>
          <a:prstGeom prst="rect">
            <a:avLst/>
          </a:prstGeom>
          <a:noFill/>
          <a:ln>
            <a:noFill/>
          </a:ln>
        </p:spPr>
        <p:txBody>
          <a:bodyPr spcFirstLastPara="1" wrap="square" lIns="91425" tIns="45700" rIns="91425" bIns="4570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r>
              <a:rPr lang="el-GR" sz="1200" b="1">
                <a:solidFill>
                  <a:srgbClr val="FFFFFF"/>
                </a:solidFill>
                <a:latin typeface="Arial" panose="020B0604020202020204" pitchFamily="34" charset="0"/>
                <a:ea typeface="Calibri"/>
                <a:cs typeface="Arial" panose="020B0604020202020204" pitchFamily="34" charset="0"/>
                <a:sym typeface="Calibri"/>
              </a:rPr>
              <a:t>5. Ολοκληρωμένες Παρεμβάσεις </a:t>
            </a:r>
          </a:p>
          <a:p>
            <a:pPr algn="l" rtl="0"/>
            <a:r>
              <a:rPr lang="el-GR" sz="1200" b="1">
                <a:solidFill>
                  <a:srgbClr val="FFFFFF"/>
                </a:solidFill>
                <a:latin typeface="Arial" panose="020B0604020202020204" pitchFamily="34" charset="0"/>
                <a:ea typeface="Calibri"/>
                <a:cs typeface="Arial" panose="020B0604020202020204" pitchFamily="34" charset="0"/>
                <a:sym typeface="Calibri"/>
              </a:rPr>
              <a:t>Μικρής Κλίμακας Ευφυείς Κοινότητες</a:t>
            </a:r>
          </a:p>
        </p:txBody>
      </p:sp>
      <p:sp>
        <p:nvSpPr>
          <p:cNvPr id="13" name="Google Shape;441;p5">
            <a:extLst>
              <a:ext uri="{FF2B5EF4-FFF2-40B4-BE49-F238E27FC236}">
                <a16:creationId xmlns:a16="http://schemas.microsoft.com/office/drawing/2014/main" id="{D2942C18-BEBF-87BF-9E69-5E77A34FAC56}"/>
              </a:ext>
            </a:extLst>
          </p:cNvPr>
          <p:cNvSpPr/>
          <p:nvPr/>
        </p:nvSpPr>
        <p:spPr>
          <a:xfrm>
            <a:off x="167737" y="1207799"/>
            <a:ext cx="684000" cy="684000"/>
          </a:xfrm>
          <a:prstGeom prst="flowChartConnector">
            <a:avLst/>
          </a:prstGeom>
          <a:solidFill>
            <a:srgbClr val="104D8C"/>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rgbClr val="000000"/>
              </a:buClr>
              <a:buSzPts val="1400"/>
            </a:pPr>
            <a:endParaRPr sz="1400">
              <a:solidFill>
                <a:srgbClr val="FFFFFF"/>
              </a:solidFill>
              <a:latin typeface="Calibri"/>
              <a:ea typeface="Calibri"/>
              <a:cs typeface="Calibri"/>
              <a:sym typeface="Calibri"/>
            </a:endParaRPr>
          </a:p>
        </p:txBody>
      </p:sp>
      <p:sp>
        <p:nvSpPr>
          <p:cNvPr id="14" name="Google Shape;442;p5">
            <a:extLst>
              <a:ext uri="{FF2B5EF4-FFF2-40B4-BE49-F238E27FC236}">
                <a16:creationId xmlns:a16="http://schemas.microsoft.com/office/drawing/2014/main" id="{81348798-0B66-32A3-D8CD-9ABF4872D391}"/>
              </a:ext>
            </a:extLst>
          </p:cNvPr>
          <p:cNvSpPr/>
          <p:nvPr/>
        </p:nvSpPr>
        <p:spPr>
          <a:xfrm>
            <a:off x="137683" y="2011825"/>
            <a:ext cx="684000" cy="684000"/>
          </a:xfrm>
          <a:prstGeom prst="flowChartConnector">
            <a:avLst/>
          </a:prstGeom>
          <a:solidFill>
            <a:srgbClr val="97CA3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rgbClr val="000000"/>
              </a:buClr>
              <a:buSzPts val="1400"/>
            </a:pPr>
            <a:endParaRPr sz="1400">
              <a:solidFill>
                <a:srgbClr val="FFFFFF"/>
              </a:solidFill>
              <a:latin typeface="Calibri"/>
              <a:ea typeface="Calibri"/>
              <a:cs typeface="Calibri"/>
              <a:sym typeface="Calibri"/>
            </a:endParaRPr>
          </a:p>
        </p:txBody>
      </p:sp>
      <p:sp>
        <p:nvSpPr>
          <p:cNvPr id="16" name="Google Shape;443;p5">
            <a:extLst>
              <a:ext uri="{FF2B5EF4-FFF2-40B4-BE49-F238E27FC236}">
                <a16:creationId xmlns:a16="http://schemas.microsoft.com/office/drawing/2014/main" id="{2AE40E8D-DC19-4573-5400-C5AEBA20D5E8}"/>
              </a:ext>
            </a:extLst>
          </p:cNvPr>
          <p:cNvSpPr/>
          <p:nvPr/>
        </p:nvSpPr>
        <p:spPr>
          <a:xfrm>
            <a:off x="162223" y="2773567"/>
            <a:ext cx="684000" cy="684000"/>
          </a:xfrm>
          <a:prstGeom prst="flowChartConnector">
            <a:avLst/>
          </a:prstGeom>
          <a:solidFill>
            <a:srgbClr val="A5A5A5"/>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rgbClr val="000000"/>
              </a:buClr>
              <a:buSzPts val="1400"/>
            </a:pPr>
            <a:endParaRPr sz="1400">
              <a:solidFill>
                <a:srgbClr val="FFFFFF"/>
              </a:solidFill>
              <a:latin typeface="Calibri"/>
              <a:ea typeface="Calibri"/>
              <a:cs typeface="Calibri"/>
              <a:sym typeface="Calibri"/>
            </a:endParaRPr>
          </a:p>
        </p:txBody>
      </p:sp>
      <p:sp>
        <p:nvSpPr>
          <p:cNvPr id="21" name="Google Shape;444;p5">
            <a:extLst>
              <a:ext uri="{FF2B5EF4-FFF2-40B4-BE49-F238E27FC236}">
                <a16:creationId xmlns:a16="http://schemas.microsoft.com/office/drawing/2014/main" id="{2DBD98A6-60FB-FDAF-59EA-9EBFA6514810}"/>
              </a:ext>
            </a:extLst>
          </p:cNvPr>
          <p:cNvSpPr/>
          <p:nvPr/>
        </p:nvSpPr>
        <p:spPr>
          <a:xfrm>
            <a:off x="162223" y="3533255"/>
            <a:ext cx="684000" cy="684000"/>
          </a:xfrm>
          <a:prstGeom prst="flowChartConnector">
            <a:avLst/>
          </a:prstGeom>
          <a:solidFill>
            <a:srgbClr val="FFC000"/>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rgbClr val="000000"/>
              </a:buClr>
              <a:buSzPts val="1400"/>
            </a:pPr>
            <a:endParaRPr sz="1400">
              <a:solidFill>
                <a:srgbClr val="FFFFFF"/>
              </a:solidFill>
              <a:latin typeface="Calibri"/>
              <a:ea typeface="Calibri"/>
              <a:cs typeface="Calibri"/>
              <a:sym typeface="Calibri"/>
            </a:endParaRPr>
          </a:p>
        </p:txBody>
      </p:sp>
      <p:sp>
        <p:nvSpPr>
          <p:cNvPr id="22" name="Google Shape;445;p5">
            <a:extLst>
              <a:ext uri="{FF2B5EF4-FFF2-40B4-BE49-F238E27FC236}">
                <a16:creationId xmlns:a16="http://schemas.microsoft.com/office/drawing/2014/main" id="{46A23EA2-2786-5C43-660F-9E3B35B9C8BB}"/>
              </a:ext>
            </a:extLst>
          </p:cNvPr>
          <p:cNvSpPr/>
          <p:nvPr/>
        </p:nvSpPr>
        <p:spPr>
          <a:xfrm>
            <a:off x="139259" y="4310867"/>
            <a:ext cx="684000" cy="684000"/>
          </a:xfrm>
          <a:prstGeom prst="flowChartConnector">
            <a:avLst/>
          </a:prstGeom>
          <a:solidFill>
            <a:srgbClr val="0CACDC"/>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rgbClr val="000000"/>
              </a:buClr>
              <a:buSzPts val="1400"/>
            </a:pPr>
            <a:endParaRPr sz="1400">
              <a:solidFill>
                <a:srgbClr val="FFFFFF"/>
              </a:solidFill>
              <a:latin typeface="Calibri"/>
              <a:ea typeface="Calibri"/>
              <a:cs typeface="Calibri"/>
              <a:sym typeface="Calibri"/>
            </a:endParaRPr>
          </a:p>
        </p:txBody>
      </p:sp>
      <p:sp>
        <p:nvSpPr>
          <p:cNvPr id="23" name="Google Shape;446;p5">
            <a:extLst>
              <a:ext uri="{FF2B5EF4-FFF2-40B4-BE49-F238E27FC236}">
                <a16:creationId xmlns:a16="http://schemas.microsoft.com/office/drawing/2014/main" id="{0BD5AB51-A226-B9C2-379E-ED186FE8EFA9}"/>
              </a:ext>
            </a:extLst>
          </p:cNvPr>
          <p:cNvSpPr/>
          <p:nvPr/>
        </p:nvSpPr>
        <p:spPr>
          <a:xfrm>
            <a:off x="281704" y="1340101"/>
            <a:ext cx="396000" cy="432000"/>
          </a:xfrm>
          <a:custGeom>
            <a:avLst/>
            <a:gdLst/>
            <a:ahLst/>
            <a:cxnLst/>
            <a:rect l="l" t="t" r="r" b="b"/>
            <a:pathLst>
              <a:path w="324" h="262" extrusionOk="0">
                <a:moveTo>
                  <a:pt x="0" y="212"/>
                </a:moveTo>
                <a:lnTo>
                  <a:pt x="0" y="136"/>
                </a:lnTo>
                <a:lnTo>
                  <a:pt x="0" y="136"/>
                </a:lnTo>
                <a:lnTo>
                  <a:pt x="0" y="132"/>
                </a:lnTo>
                <a:lnTo>
                  <a:pt x="2" y="128"/>
                </a:lnTo>
                <a:lnTo>
                  <a:pt x="6" y="126"/>
                </a:lnTo>
                <a:lnTo>
                  <a:pt x="10" y="126"/>
                </a:lnTo>
                <a:lnTo>
                  <a:pt x="46" y="126"/>
                </a:lnTo>
                <a:lnTo>
                  <a:pt x="46" y="126"/>
                </a:lnTo>
                <a:lnTo>
                  <a:pt x="50" y="126"/>
                </a:lnTo>
                <a:lnTo>
                  <a:pt x="54" y="128"/>
                </a:lnTo>
                <a:lnTo>
                  <a:pt x="56" y="132"/>
                </a:lnTo>
                <a:lnTo>
                  <a:pt x="56" y="136"/>
                </a:lnTo>
                <a:lnTo>
                  <a:pt x="56" y="212"/>
                </a:lnTo>
                <a:lnTo>
                  <a:pt x="56" y="212"/>
                </a:lnTo>
                <a:lnTo>
                  <a:pt x="56" y="216"/>
                </a:lnTo>
                <a:lnTo>
                  <a:pt x="54" y="218"/>
                </a:lnTo>
                <a:lnTo>
                  <a:pt x="50" y="220"/>
                </a:lnTo>
                <a:lnTo>
                  <a:pt x="46" y="222"/>
                </a:lnTo>
                <a:lnTo>
                  <a:pt x="10" y="222"/>
                </a:lnTo>
                <a:lnTo>
                  <a:pt x="10" y="222"/>
                </a:lnTo>
                <a:lnTo>
                  <a:pt x="6" y="220"/>
                </a:lnTo>
                <a:lnTo>
                  <a:pt x="2" y="218"/>
                </a:lnTo>
                <a:lnTo>
                  <a:pt x="0" y="216"/>
                </a:lnTo>
                <a:lnTo>
                  <a:pt x="0" y="212"/>
                </a:lnTo>
                <a:lnTo>
                  <a:pt x="0" y="212"/>
                </a:lnTo>
                <a:close/>
                <a:moveTo>
                  <a:pt x="100" y="222"/>
                </a:moveTo>
                <a:lnTo>
                  <a:pt x="136" y="222"/>
                </a:lnTo>
                <a:lnTo>
                  <a:pt x="136" y="222"/>
                </a:lnTo>
                <a:lnTo>
                  <a:pt x="140" y="220"/>
                </a:lnTo>
                <a:lnTo>
                  <a:pt x="142" y="218"/>
                </a:lnTo>
                <a:lnTo>
                  <a:pt x="144" y="216"/>
                </a:lnTo>
                <a:lnTo>
                  <a:pt x="146" y="212"/>
                </a:lnTo>
                <a:lnTo>
                  <a:pt x="146" y="58"/>
                </a:lnTo>
                <a:lnTo>
                  <a:pt x="146" y="58"/>
                </a:lnTo>
                <a:lnTo>
                  <a:pt x="144" y="54"/>
                </a:lnTo>
                <a:lnTo>
                  <a:pt x="142" y="52"/>
                </a:lnTo>
                <a:lnTo>
                  <a:pt x="140" y="50"/>
                </a:lnTo>
                <a:lnTo>
                  <a:pt x="136" y="48"/>
                </a:lnTo>
                <a:lnTo>
                  <a:pt x="100" y="48"/>
                </a:lnTo>
                <a:lnTo>
                  <a:pt x="100" y="48"/>
                </a:lnTo>
                <a:lnTo>
                  <a:pt x="96" y="50"/>
                </a:lnTo>
                <a:lnTo>
                  <a:pt x="92" y="52"/>
                </a:lnTo>
                <a:lnTo>
                  <a:pt x="90" y="54"/>
                </a:lnTo>
                <a:lnTo>
                  <a:pt x="90" y="58"/>
                </a:lnTo>
                <a:lnTo>
                  <a:pt x="90" y="212"/>
                </a:lnTo>
                <a:lnTo>
                  <a:pt x="90" y="212"/>
                </a:lnTo>
                <a:lnTo>
                  <a:pt x="90" y="216"/>
                </a:lnTo>
                <a:lnTo>
                  <a:pt x="92" y="218"/>
                </a:lnTo>
                <a:lnTo>
                  <a:pt x="96" y="220"/>
                </a:lnTo>
                <a:lnTo>
                  <a:pt x="100" y="222"/>
                </a:lnTo>
                <a:lnTo>
                  <a:pt x="100" y="222"/>
                </a:lnTo>
                <a:close/>
                <a:moveTo>
                  <a:pt x="188" y="222"/>
                </a:moveTo>
                <a:lnTo>
                  <a:pt x="224" y="222"/>
                </a:lnTo>
                <a:lnTo>
                  <a:pt x="224" y="222"/>
                </a:lnTo>
                <a:lnTo>
                  <a:pt x="228" y="220"/>
                </a:lnTo>
                <a:lnTo>
                  <a:pt x="232" y="218"/>
                </a:lnTo>
                <a:lnTo>
                  <a:pt x="234" y="216"/>
                </a:lnTo>
                <a:lnTo>
                  <a:pt x="234" y="212"/>
                </a:lnTo>
                <a:lnTo>
                  <a:pt x="234" y="86"/>
                </a:lnTo>
                <a:lnTo>
                  <a:pt x="234" y="86"/>
                </a:lnTo>
                <a:lnTo>
                  <a:pt x="234" y="82"/>
                </a:lnTo>
                <a:lnTo>
                  <a:pt x="232" y="78"/>
                </a:lnTo>
                <a:lnTo>
                  <a:pt x="228" y="76"/>
                </a:lnTo>
                <a:lnTo>
                  <a:pt x="224" y="76"/>
                </a:lnTo>
                <a:lnTo>
                  <a:pt x="188" y="76"/>
                </a:lnTo>
                <a:lnTo>
                  <a:pt x="188" y="76"/>
                </a:lnTo>
                <a:lnTo>
                  <a:pt x="184" y="76"/>
                </a:lnTo>
                <a:lnTo>
                  <a:pt x="182" y="78"/>
                </a:lnTo>
                <a:lnTo>
                  <a:pt x="180" y="82"/>
                </a:lnTo>
                <a:lnTo>
                  <a:pt x="178" y="86"/>
                </a:lnTo>
                <a:lnTo>
                  <a:pt x="178" y="212"/>
                </a:lnTo>
                <a:lnTo>
                  <a:pt x="178" y="212"/>
                </a:lnTo>
                <a:lnTo>
                  <a:pt x="180" y="216"/>
                </a:lnTo>
                <a:lnTo>
                  <a:pt x="182" y="218"/>
                </a:lnTo>
                <a:lnTo>
                  <a:pt x="184" y="220"/>
                </a:lnTo>
                <a:lnTo>
                  <a:pt x="188" y="222"/>
                </a:lnTo>
                <a:lnTo>
                  <a:pt x="188" y="222"/>
                </a:lnTo>
                <a:close/>
                <a:moveTo>
                  <a:pt x="314" y="0"/>
                </a:moveTo>
                <a:lnTo>
                  <a:pt x="278" y="0"/>
                </a:lnTo>
                <a:lnTo>
                  <a:pt x="278" y="0"/>
                </a:lnTo>
                <a:lnTo>
                  <a:pt x="274" y="0"/>
                </a:lnTo>
                <a:lnTo>
                  <a:pt x="270" y="2"/>
                </a:lnTo>
                <a:lnTo>
                  <a:pt x="268" y="6"/>
                </a:lnTo>
                <a:lnTo>
                  <a:pt x="268" y="10"/>
                </a:lnTo>
                <a:lnTo>
                  <a:pt x="268" y="212"/>
                </a:lnTo>
                <a:lnTo>
                  <a:pt x="268" y="212"/>
                </a:lnTo>
                <a:lnTo>
                  <a:pt x="268" y="216"/>
                </a:lnTo>
                <a:lnTo>
                  <a:pt x="270" y="218"/>
                </a:lnTo>
                <a:lnTo>
                  <a:pt x="274" y="220"/>
                </a:lnTo>
                <a:lnTo>
                  <a:pt x="278" y="222"/>
                </a:lnTo>
                <a:lnTo>
                  <a:pt x="314" y="222"/>
                </a:lnTo>
                <a:lnTo>
                  <a:pt x="314" y="222"/>
                </a:lnTo>
                <a:lnTo>
                  <a:pt x="318" y="220"/>
                </a:lnTo>
                <a:lnTo>
                  <a:pt x="322" y="218"/>
                </a:lnTo>
                <a:lnTo>
                  <a:pt x="324" y="216"/>
                </a:lnTo>
                <a:lnTo>
                  <a:pt x="324" y="212"/>
                </a:lnTo>
                <a:lnTo>
                  <a:pt x="324" y="10"/>
                </a:lnTo>
                <a:lnTo>
                  <a:pt x="324" y="10"/>
                </a:lnTo>
                <a:lnTo>
                  <a:pt x="324" y="6"/>
                </a:lnTo>
                <a:lnTo>
                  <a:pt x="322" y="2"/>
                </a:lnTo>
                <a:lnTo>
                  <a:pt x="318" y="0"/>
                </a:lnTo>
                <a:lnTo>
                  <a:pt x="314" y="0"/>
                </a:lnTo>
                <a:lnTo>
                  <a:pt x="314" y="0"/>
                </a:lnTo>
                <a:close/>
                <a:moveTo>
                  <a:pt x="324" y="242"/>
                </a:moveTo>
                <a:lnTo>
                  <a:pt x="0" y="242"/>
                </a:lnTo>
                <a:lnTo>
                  <a:pt x="0" y="262"/>
                </a:lnTo>
                <a:lnTo>
                  <a:pt x="324" y="262"/>
                </a:lnTo>
                <a:lnTo>
                  <a:pt x="324" y="242"/>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sp>
        <p:nvSpPr>
          <p:cNvPr id="24" name="Google Shape;447;p5">
            <a:extLst>
              <a:ext uri="{FF2B5EF4-FFF2-40B4-BE49-F238E27FC236}">
                <a16:creationId xmlns:a16="http://schemas.microsoft.com/office/drawing/2014/main" id="{41DD90EB-003E-F139-D19C-726AB4A0F844}"/>
              </a:ext>
            </a:extLst>
          </p:cNvPr>
          <p:cNvSpPr/>
          <p:nvPr/>
        </p:nvSpPr>
        <p:spPr>
          <a:xfrm>
            <a:off x="258107" y="2105827"/>
            <a:ext cx="432000" cy="432000"/>
          </a:xfrm>
          <a:custGeom>
            <a:avLst/>
            <a:gdLst/>
            <a:ahLst/>
            <a:cxnLst/>
            <a:rect l="l" t="t" r="r" b="b"/>
            <a:pathLst>
              <a:path w="360" h="340" extrusionOk="0">
                <a:moveTo>
                  <a:pt x="274" y="56"/>
                </a:moveTo>
                <a:lnTo>
                  <a:pt x="258" y="116"/>
                </a:lnTo>
                <a:lnTo>
                  <a:pt x="258" y="116"/>
                </a:lnTo>
                <a:lnTo>
                  <a:pt x="254" y="120"/>
                </a:lnTo>
                <a:lnTo>
                  <a:pt x="250" y="120"/>
                </a:lnTo>
                <a:lnTo>
                  <a:pt x="190" y="104"/>
                </a:lnTo>
                <a:lnTo>
                  <a:pt x="190" y="104"/>
                </a:lnTo>
                <a:lnTo>
                  <a:pt x="188" y="102"/>
                </a:lnTo>
                <a:lnTo>
                  <a:pt x="186" y="98"/>
                </a:lnTo>
                <a:lnTo>
                  <a:pt x="186" y="98"/>
                </a:lnTo>
                <a:lnTo>
                  <a:pt x="186" y="94"/>
                </a:lnTo>
                <a:lnTo>
                  <a:pt x="190" y="92"/>
                </a:lnTo>
                <a:lnTo>
                  <a:pt x="204" y="82"/>
                </a:lnTo>
                <a:lnTo>
                  <a:pt x="180" y="42"/>
                </a:lnTo>
                <a:lnTo>
                  <a:pt x="180" y="42"/>
                </a:lnTo>
                <a:lnTo>
                  <a:pt x="166" y="18"/>
                </a:lnTo>
                <a:lnTo>
                  <a:pt x="166" y="18"/>
                </a:lnTo>
                <a:lnTo>
                  <a:pt x="164" y="14"/>
                </a:lnTo>
                <a:lnTo>
                  <a:pt x="160" y="12"/>
                </a:lnTo>
                <a:lnTo>
                  <a:pt x="154" y="12"/>
                </a:lnTo>
                <a:lnTo>
                  <a:pt x="150" y="14"/>
                </a:lnTo>
                <a:lnTo>
                  <a:pt x="150" y="14"/>
                </a:lnTo>
                <a:lnTo>
                  <a:pt x="148" y="16"/>
                </a:lnTo>
                <a:lnTo>
                  <a:pt x="146" y="20"/>
                </a:lnTo>
                <a:lnTo>
                  <a:pt x="146" y="26"/>
                </a:lnTo>
                <a:lnTo>
                  <a:pt x="146" y="30"/>
                </a:lnTo>
                <a:lnTo>
                  <a:pt x="168" y="66"/>
                </a:lnTo>
                <a:lnTo>
                  <a:pt x="120" y="146"/>
                </a:lnTo>
                <a:lnTo>
                  <a:pt x="120" y="146"/>
                </a:lnTo>
                <a:lnTo>
                  <a:pt x="116" y="150"/>
                </a:lnTo>
                <a:lnTo>
                  <a:pt x="110" y="150"/>
                </a:lnTo>
                <a:lnTo>
                  <a:pt x="78" y="130"/>
                </a:lnTo>
                <a:lnTo>
                  <a:pt x="78" y="130"/>
                </a:lnTo>
                <a:lnTo>
                  <a:pt x="76" y="126"/>
                </a:lnTo>
                <a:lnTo>
                  <a:pt x="76" y="126"/>
                </a:lnTo>
                <a:lnTo>
                  <a:pt x="76" y="120"/>
                </a:lnTo>
                <a:lnTo>
                  <a:pt x="144" y="4"/>
                </a:lnTo>
                <a:lnTo>
                  <a:pt x="144" y="4"/>
                </a:lnTo>
                <a:lnTo>
                  <a:pt x="144" y="4"/>
                </a:lnTo>
                <a:lnTo>
                  <a:pt x="144" y="4"/>
                </a:lnTo>
                <a:lnTo>
                  <a:pt x="146" y="2"/>
                </a:lnTo>
                <a:lnTo>
                  <a:pt x="146" y="2"/>
                </a:lnTo>
                <a:lnTo>
                  <a:pt x="146" y="2"/>
                </a:lnTo>
                <a:lnTo>
                  <a:pt x="146" y="2"/>
                </a:lnTo>
                <a:lnTo>
                  <a:pt x="146" y="2"/>
                </a:lnTo>
                <a:lnTo>
                  <a:pt x="146" y="2"/>
                </a:lnTo>
                <a:lnTo>
                  <a:pt x="146" y="0"/>
                </a:lnTo>
                <a:lnTo>
                  <a:pt x="146" y="0"/>
                </a:lnTo>
                <a:lnTo>
                  <a:pt x="148" y="0"/>
                </a:lnTo>
                <a:lnTo>
                  <a:pt x="148" y="0"/>
                </a:lnTo>
                <a:lnTo>
                  <a:pt x="148" y="0"/>
                </a:lnTo>
                <a:lnTo>
                  <a:pt x="148" y="0"/>
                </a:lnTo>
                <a:lnTo>
                  <a:pt x="150" y="0"/>
                </a:lnTo>
                <a:lnTo>
                  <a:pt x="210" y="0"/>
                </a:lnTo>
                <a:lnTo>
                  <a:pt x="210" y="0"/>
                </a:lnTo>
                <a:lnTo>
                  <a:pt x="214" y="0"/>
                </a:lnTo>
                <a:lnTo>
                  <a:pt x="218" y="4"/>
                </a:lnTo>
                <a:lnTo>
                  <a:pt x="248" y="58"/>
                </a:lnTo>
                <a:lnTo>
                  <a:pt x="264" y="48"/>
                </a:lnTo>
                <a:lnTo>
                  <a:pt x="264" y="48"/>
                </a:lnTo>
                <a:lnTo>
                  <a:pt x="268" y="48"/>
                </a:lnTo>
                <a:lnTo>
                  <a:pt x="272" y="48"/>
                </a:lnTo>
                <a:lnTo>
                  <a:pt x="272" y="48"/>
                </a:lnTo>
                <a:lnTo>
                  <a:pt x="274" y="50"/>
                </a:lnTo>
                <a:lnTo>
                  <a:pt x="274" y="50"/>
                </a:lnTo>
                <a:lnTo>
                  <a:pt x="274" y="56"/>
                </a:lnTo>
                <a:lnTo>
                  <a:pt x="274" y="56"/>
                </a:lnTo>
                <a:close/>
                <a:moveTo>
                  <a:pt x="360" y="254"/>
                </a:moveTo>
                <a:lnTo>
                  <a:pt x="360" y="254"/>
                </a:lnTo>
                <a:lnTo>
                  <a:pt x="360" y="254"/>
                </a:lnTo>
                <a:lnTo>
                  <a:pt x="360" y="254"/>
                </a:lnTo>
                <a:lnTo>
                  <a:pt x="360" y="252"/>
                </a:lnTo>
                <a:lnTo>
                  <a:pt x="360" y="252"/>
                </a:lnTo>
                <a:lnTo>
                  <a:pt x="360" y="252"/>
                </a:lnTo>
                <a:lnTo>
                  <a:pt x="292" y="134"/>
                </a:lnTo>
                <a:lnTo>
                  <a:pt x="292" y="134"/>
                </a:lnTo>
                <a:lnTo>
                  <a:pt x="286" y="132"/>
                </a:lnTo>
                <a:lnTo>
                  <a:pt x="286" y="132"/>
                </a:lnTo>
                <a:lnTo>
                  <a:pt x="282" y="132"/>
                </a:lnTo>
                <a:lnTo>
                  <a:pt x="250" y="150"/>
                </a:lnTo>
                <a:lnTo>
                  <a:pt x="250" y="150"/>
                </a:lnTo>
                <a:lnTo>
                  <a:pt x="246" y="154"/>
                </a:lnTo>
                <a:lnTo>
                  <a:pt x="246" y="160"/>
                </a:lnTo>
                <a:lnTo>
                  <a:pt x="294" y="240"/>
                </a:lnTo>
                <a:lnTo>
                  <a:pt x="336" y="240"/>
                </a:lnTo>
                <a:lnTo>
                  <a:pt x="336" y="240"/>
                </a:lnTo>
                <a:lnTo>
                  <a:pt x="340" y="242"/>
                </a:lnTo>
                <a:lnTo>
                  <a:pt x="344" y="244"/>
                </a:lnTo>
                <a:lnTo>
                  <a:pt x="346" y="248"/>
                </a:lnTo>
                <a:lnTo>
                  <a:pt x="346" y="252"/>
                </a:lnTo>
                <a:lnTo>
                  <a:pt x="346" y="252"/>
                </a:lnTo>
                <a:lnTo>
                  <a:pt x="346" y="256"/>
                </a:lnTo>
                <a:lnTo>
                  <a:pt x="344" y="260"/>
                </a:lnTo>
                <a:lnTo>
                  <a:pt x="340" y="262"/>
                </a:lnTo>
                <a:lnTo>
                  <a:pt x="336" y="264"/>
                </a:lnTo>
                <a:lnTo>
                  <a:pt x="306" y="264"/>
                </a:lnTo>
                <a:lnTo>
                  <a:pt x="306" y="264"/>
                </a:lnTo>
                <a:lnTo>
                  <a:pt x="260" y="264"/>
                </a:lnTo>
                <a:lnTo>
                  <a:pt x="260" y="248"/>
                </a:lnTo>
                <a:lnTo>
                  <a:pt x="260" y="248"/>
                </a:lnTo>
                <a:lnTo>
                  <a:pt x="260" y="242"/>
                </a:lnTo>
                <a:lnTo>
                  <a:pt x="256" y="240"/>
                </a:lnTo>
                <a:lnTo>
                  <a:pt x="256" y="240"/>
                </a:lnTo>
                <a:lnTo>
                  <a:pt x="252" y="240"/>
                </a:lnTo>
                <a:lnTo>
                  <a:pt x="248" y="242"/>
                </a:lnTo>
                <a:lnTo>
                  <a:pt x="206" y="284"/>
                </a:lnTo>
                <a:lnTo>
                  <a:pt x="206" y="284"/>
                </a:lnTo>
                <a:lnTo>
                  <a:pt x="204" y="290"/>
                </a:lnTo>
                <a:lnTo>
                  <a:pt x="206" y="296"/>
                </a:lnTo>
                <a:lnTo>
                  <a:pt x="248" y="338"/>
                </a:lnTo>
                <a:lnTo>
                  <a:pt x="248" y="338"/>
                </a:lnTo>
                <a:lnTo>
                  <a:pt x="254" y="340"/>
                </a:lnTo>
                <a:lnTo>
                  <a:pt x="254" y="340"/>
                </a:lnTo>
                <a:lnTo>
                  <a:pt x="256" y="340"/>
                </a:lnTo>
                <a:lnTo>
                  <a:pt x="256" y="340"/>
                </a:lnTo>
                <a:lnTo>
                  <a:pt x="260" y="336"/>
                </a:lnTo>
                <a:lnTo>
                  <a:pt x="260" y="332"/>
                </a:lnTo>
                <a:lnTo>
                  <a:pt x="260" y="316"/>
                </a:lnTo>
                <a:lnTo>
                  <a:pt x="322" y="316"/>
                </a:lnTo>
                <a:lnTo>
                  <a:pt x="322" y="316"/>
                </a:lnTo>
                <a:lnTo>
                  <a:pt x="326" y="314"/>
                </a:lnTo>
                <a:lnTo>
                  <a:pt x="328" y="312"/>
                </a:lnTo>
                <a:lnTo>
                  <a:pt x="360" y="260"/>
                </a:lnTo>
                <a:lnTo>
                  <a:pt x="360" y="260"/>
                </a:lnTo>
                <a:lnTo>
                  <a:pt x="360" y="258"/>
                </a:lnTo>
                <a:lnTo>
                  <a:pt x="360" y="258"/>
                </a:lnTo>
                <a:lnTo>
                  <a:pt x="360" y="256"/>
                </a:lnTo>
                <a:lnTo>
                  <a:pt x="360" y="256"/>
                </a:lnTo>
                <a:lnTo>
                  <a:pt x="360" y="256"/>
                </a:lnTo>
                <a:lnTo>
                  <a:pt x="360" y="256"/>
                </a:lnTo>
                <a:lnTo>
                  <a:pt x="360" y="256"/>
                </a:lnTo>
                <a:lnTo>
                  <a:pt x="360" y="256"/>
                </a:lnTo>
                <a:lnTo>
                  <a:pt x="360" y="254"/>
                </a:lnTo>
                <a:lnTo>
                  <a:pt x="360" y="254"/>
                </a:lnTo>
                <a:close/>
                <a:moveTo>
                  <a:pt x="172" y="264"/>
                </a:moveTo>
                <a:lnTo>
                  <a:pt x="80" y="264"/>
                </a:lnTo>
                <a:lnTo>
                  <a:pt x="58" y="300"/>
                </a:lnTo>
                <a:lnTo>
                  <a:pt x="58" y="300"/>
                </a:lnTo>
                <a:lnTo>
                  <a:pt x="54" y="304"/>
                </a:lnTo>
                <a:lnTo>
                  <a:pt x="48" y="306"/>
                </a:lnTo>
                <a:lnTo>
                  <a:pt x="48" y="306"/>
                </a:lnTo>
                <a:lnTo>
                  <a:pt x="44" y="304"/>
                </a:lnTo>
                <a:lnTo>
                  <a:pt x="44" y="304"/>
                </a:lnTo>
                <a:lnTo>
                  <a:pt x="40" y="302"/>
                </a:lnTo>
                <a:lnTo>
                  <a:pt x="38" y="298"/>
                </a:lnTo>
                <a:lnTo>
                  <a:pt x="38" y="294"/>
                </a:lnTo>
                <a:lnTo>
                  <a:pt x="38" y="290"/>
                </a:lnTo>
                <a:lnTo>
                  <a:pt x="54" y="264"/>
                </a:lnTo>
                <a:lnTo>
                  <a:pt x="54" y="264"/>
                </a:lnTo>
                <a:lnTo>
                  <a:pt x="76" y="224"/>
                </a:lnTo>
                <a:lnTo>
                  <a:pt x="90" y="234"/>
                </a:lnTo>
                <a:lnTo>
                  <a:pt x="90" y="234"/>
                </a:lnTo>
                <a:lnTo>
                  <a:pt x="94" y="234"/>
                </a:lnTo>
                <a:lnTo>
                  <a:pt x="98" y="232"/>
                </a:lnTo>
                <a:lnTo>
                  <a:pt x="98" y="232"/>
                </a:lnTo>
                <a:lnTo>
                  <a:pt x="102" y="230"/>
                </a:lnTo>
                <a:lnTo>
                  <a:pt x="102" y="224"/>
                </a:lnTo>
                <a:lnTo>
                  <a:pt x="86" y="166"/>
                </a:lnTo>
                <a:lnTo>
                  <a:pt x="86" y="166"/>
                </a:lnTo>
                <a:lnTo>
                  <a:pt x="82" y="162"/>
                </a:lnTo>
                <a:lnTo>
                  <a:pt x="76" y="162"/>
                </a:lnTo>
                <a:lnTo>
                  <a:pt x="18" y="176"/>
                </a:lnTo>
                <a:lnTo>
                  <a:pt x="18" y="176"/>
                </a:lnTo>
                <a:lnTo>
                  <a:pt x="14" y="180"/>
                </a:lnTo>
                <a:lnTo>
                  <a:pt x="14" y="180"/>
                </a:lnTo>
                <a:lnTo>
                  <a:pt x="14" y="184"/>
                </a:lnTo>
                <a:lnTo>
                  <a:pt x="14" y="184"/>
                </a:lnTo>
                <a:lnTo>
                  <a:pt x="14" y="188"/>
                </a:lnTo>
                <a:lnTo>
                  <a:pt x="16" y="190"/>
                </a:lnTo>
                <a:lnTo>
                  <a:pt x="32" y="200"/>
                </a:lnTo>
                <a:lnTo>
                  <a:pt x="0" y="252"/>
                </a:lnTo>
                <a:lnTo>
                  <a:pt x="0" y="252"/>
                </a:lnTo>
                <a:lnTo>
                  <a:pt x="0" y="256"/>
                </a:lnTo>
                <a:lnTo>
                  <a:pt x="0" y="260"/>
                </a:lnTo>
                <a:lnTo>
                  <a:pt x="32" y="312"/>
                </a:lnTo>
                <a:lnTo>
                  <a:pt x="32" y="312"/>
                </a:lnTo>
                <a:lnTo>
                  <a:pt x="32" y="314"/>
                </a:lnTo>
                <a:lnTo>
                  <a:pt x="32" y="314"/>
                </a:lnTo>
                <a:lnTo>
                  <a:pt x="32" y="314"/>
                </a:lnTo>
                <a:lnTo>
                  <a:pt x="32" y="314"/>
                </a:lnTo>
                <a:lnTo>
                  <a:pt x="34" y="314"/>
                </a:lnTo>
                <a:lnTo>
                  <a:pt x="34" y="314"/>
                </a:lnTo>
                <a:lnTo>
                  <a:pt x="34" y="316"/>
                </a:lnTo>
                <a:lnTo>
                  <a:pt x="34" y="316"/>
                </a:lnTo>
                <a:lnTo>
                  <a:pt x="36" y="316"/>
                </a:lnTo>
                <a:lnTo>
                  <a:pt x="36" y="316"/>
                </a:lnTo>
                <a:lnTo>
                  <a:pt x="36" y="316"/>
                </a:lnTo>
                <a:lnTo>
                  <a:pt x="36" y="316"/>
                </a:lnTo>
                <a:lnTo>
                  <a:pt x="38" y="316"/>
                </a:lnTo>
                <a:lnTo>
                  <a:pt x="38" y="316"/>
                </a:lnTo>
                <a:lnTo>
                  <a:pt x="38" y="316"/>
                </a:lnTo>
                <a:lnTo>
                  <a:pt x="172" y="316"/>
                </a:lnTo>
                <a:lnTo>
                  <a:pt x="172" y="316"/>
                </a:lnTo>
                <a:lnTo>
                  <a:pt x="178" y="314"/>
                </a:lnTo>
                <a:lnTo>
                  <a:pt x="178" y="314"/>
                </a:lnTo>
                <a:lnTo>
                  <a:pt x="180" y="308"/>
                </a:lnTo>
                <a:lnTo>
                  <a:pt x="180" y="272"/>
                </a:lnTo>
                <a:lnTo>
                  <a:pt x="180" y="272"/>
                </a:lnTo>
                <a:lnTo>
                  <a:pt x="178" y="266"/>
                </a:lnTo>
                <a:lnTo>
                  <a:pt x="172" y="264"/>
                </a:lnTo>
                <a:lnTo>
                  <a:pt x="172" y="264"/>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grpSp>
        <p:nvGrpSpPr>
          <p:cNvPr id="25" name="Google Shape;448;p5">
            <a:extLst>
              <a:ext uri="{FF2B5EF4-FFF2-40B4-BE49-F238E27FC236}">
                <a16:creationId xmlns:a16="http://schemas.microsoft.com/office/drawing/2014/main" id="{2F0AB0B6-99C7-FBB6-C376-4D6E1998C80B}"/>
              </a:ext>
            </a:extLst>
          </p:cNvPr>
          <p:cNvGrpSpPr/>
          <p:nvPr/>
        </p:nvGrpSpPr>
        <p:grpSpPr>
          <a:xfrm>
            <a:off x="276816" y="3629217"/>
            <a:ext cx="468000" cy="467999"/>
            <a:chOff x="3525" y="2005"/>
            <a:chExt cx="446" cy="441"/>
          </a:xfrm>
        </p:grpSpPr>
        <p:sp>
          <p:nvSpPr>
            <p:cNvPr id="26" name="Google Shape;449;p5">
              <a:extLst>
                <a:ext uri="{FF2B5EF4-FFF2-40B4-BE49-F238E27FC236}">
                  <a16:creationId xmlns:a16="http://schemas.microsoft.com/office/drawing/2014/main" id="{C93D4366-602E-60CD-914D-308EF97C61F3}"/>
                </a:ext>
              </a:extLst>
            </p:cNvPr>
            <p:cNvSpPr/>
            <p:nvPr/>
          </p:nvSpPr>
          <p:spPr>
            <a:xfrm>
              <a:off x="3525" y="2024"/>
              <a:ext cx="178" cy="281"/>
            </a:xfrm>
            <a:custGeom>
              <a:avLst/>
              <a:gdLst/>
              <a:ahLst/>
              <a:cxnLst/>
              <a:rect l="l" t="t" r="r" b="b"/>
              <a:pathLst>
                <a:path w="78" h="123" extrusionOk="0">
                  <a:moveTo>
                    <a:pt x="8" y="123"/>
                  </a:moveTo>
                  <a:cubicBezTo>
                    <a:pt x="6" y="123"/>
                    <a:pt x="5" y="122"/>
                    <a:pt x="4" y="120"/>
                  </a:cubicBezTo>
                  <a:cubicBezTo>
                    <a:pt x="1" y="111"/>
                    <a:pt x="0" y="101"/>
                    <a:pt x="0" y="91"/>
                  </a:cubicBezTo>
                  <a:cubicBezTo>
                    <a:pt x="0" y="47"/>
                    <a:pt x="30" y="9"/>
                    <a:pt x="73" y="0"/>
                  </a:cubicBezTo>
                  <a:cubicBezTo>
                    <a:pt x="75" y="0"/>
                    <a:pt x="77" y="1"/>
                    <a:pt x="78" y="3"/>
                  </a:cubicBezTo>
                  <a:cubicBezTo>
                    <a:pt x="78" y="5"/>
                    <a:pt x="77" y="7"/>
                    <a:pt x="75" y="7"/>
                  </a:cubicBezTo>
                  <a:cubicBezTo>
                    <a:pt x="36" y="16"/>
                    <a:pt x="7" y="51"/>
                    <a:pt x="7" y="91"/>
                  </a:cubicBezTo>
                  <a:cubicBezTo>
                    <a:pt x="7" y="100"/>
                    <a:pt x="9" y="109"/>
                    <a:pt x="11" y="118"/>
                  </a:cubicBezTo>
                  <a:cubicBezTo>
                    <a:pt x="12" y="120"/>
                    <a:pt x="11" y="122"/>
                    <a:pt x="9" y="123"/>
                  </a:cubicBezTo>
                  <a:cubicBezTo>
                    <a:pt x="9" y="123"/>
                    <a:pt x="8" y="123"/>
                    <a:pt x="8" y="123"/>
                  </a:cubicBez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27" name="Google Shape;450;p5">
              <a:extLst>
                <a:ext uri="{FF2B5EF4-FFF2-40B4-BE49-F238E27FC236}">
                  <a16:creationId xmlns:a16="http://schemas.microsoft.com/office/drawing/2014/main" id="{08FAE3C9-4F15-CA50-074E-ACA958AF37FD}"/>
                </a:ext>
              </a:extLst>
            </p:cNvPr>
            <p:cNvSpPr/>
            <p:nvPr/>
          </p:nvSpPr>
          <p:spPr>
            <a:xfrm>
              <a:off x="3680" y="2005"/>
              <a:ext cx="57" cy="60"/>
            </a:xfrm>
            <a:custGeom>
              <a:avLst/>
              <a:gdLst/>
              <a:ahLst/>
              <a:cxnLst/>
              <a:rect l="l" t="t" r="r" b="b"/>
              <a:pathLst>
                <a:path w="57" h="60" extrusionOk="0">
                  <a:moveTo>
                    <a:pt x="9" y="60"/>
                  </a:moveTo>
                  <a:lnTo>
                    <a:pt x="57" y="23"/>
                  </a:lnTo>
                  <a:lnTo>
                    <a:pt x="0" y="0"/>
                  </a:lnTo>
                  <a:lnTo>
                    <a:pt x="9" y="60"/>
                  </a:ln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28" name="Google Shape;451;p5">
              <a:extLst>
                <a:ext uri="{FF2B5EF4-FFF2-40B4-BE49-F238E27FC236}">
                  <a16:creationId xmlns:a16="http://schemas.microsoft.com/office/drawing/2014/main" id="{5D6C8277-1317-755F-F167-FF4673276099}"/>
                </a:ext>
              </a:extLst>
            </p:cNvPr>
            <p:cNvSpPr/>
            <p:nvPr/>
          </p:nvSpPr>
          <p:spPr>
            <a:xfrm>
              <a:off x="3580" y="2357"/>
              <a:ext cx="322" cy="89"/>
            </a:xfrm>
            <a:custGeom>
              <a:avLst/>
              <a:gdLst/>
              <a:ahLst/>
              <a:cxnLst/>
              <a:rect l="l" t="t" r="r" b="b"/>
              <a:pathLst>
                <a:path w="141" h="39" extrusionOk="0">
                  <a:moveTo>
                    <a:pt x="70" y="37"/>
                  </a:moveTo>
                  <a:cubicBezTo>
                    <a:pt x="44" y="37"/>
                    <a:pt x="19" y="27"/>
                    <a:pt x="1" y="7"/>
                  </a:cubicBezTo>
                  <a:cubicBezTo>
                    <a:pt x="0" y="5"/>
                    <a:pt x="0" y="3"/>
                    <a:pt x="1" y="2"/>
                  </a:cubicBezTo>
                  <a:cubicBezTo>
                    <a:pt x="3" y="0"/>
                    <a:pt x="5" y="0"/>
                    <a:pt x="7" y="2"/>
                  </a:cubicBezTo>
                  <a:cubicBezTo>
                    <a:pt x="33" y="32"/>
                    <a:pt x="78" y="39"/>
                    <a:pt x="113" y="18"/>
                  </a:cubicBezTo>
                  <a:cubicBezTo>
                    <a:pt x="121" y="14"/>
                    <a:pt x="128" y="8"/>
                    <a:pt x="134" y="1"/>
                  </a:cubicBezTo>
                  <a:cubicBezTo>
                    <a:pt x="135" y="0"/>
                    <a:pt x="138" y="0"/>
                    <a:pt x="139" y="1"/>
                  </a:cubicBezTo>
                  <a:cubicBezTo>
                    <a:pt x="141" y="2"/>
                    <a:pt x="141" y="5"/>
                    <a:pt x="140" y="6"/>
                  </a:cubicBezTo>
                  <a:cubicBezTo>
                    <a:pt x="133" y="14"/>
                    <a:pt x="125" y="20"/>
                    <a:pt x="117" y="25"/>
                  </a:cubicBezTo>
                  <a:cubicBezTo>
                    <a:pt x="102" y="33"/>
                    <a:pt x="86" y="37"/>
                    <a:pt x="70" y="37"/>
                  </a:cubicBez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29" name="Google Shape;452;p5">
              <a:extLst>
                <a:ext uri="{FF2B5EF4-FFF2-40B4-BE49-F238E27FC236}">
                  <a16:creationId xmlns:a16="http://schemas.microsoft.com/office/drawing/2014/main" id="{FEA90DF5-8B71-856A-0819-B2DEA69257E7}"/>
                </a:ext>
              </a:extLst>
            </p:cNvPr>
            <p:cNvSpPr/>
            <p:nvPr/>
          </p:nvSpPr>
          <p:spPr>
            <a:xfrm>
              <a:off x="3564" y="2332"/>
              <a:ext cx="55" cy="60"/>
            </a:xfrm>
            <a:custGeom>
              <a:avLst/>
              <a:gdLst/>
              <a:ahLst/>
              <a:cxnLst/>
              <a:rect l="l" t="t" r="r" b="b"/>
              <a:pathLst>
                <a:path w="55" h="60" extrusionOk="0">
                  <a:moveTo>
                    <a:pt x="55" y="23"/>
                  </a:moveTo>
                  <a:lnTo>
                    <a:pt x="0" y="0"/>
                  </a:lnTo>
                  <a:lnTo>
                    <a:pt x="7" y="60"/>
                  </a:lnTo>
                  <a:lnTo>
                    <a:pt x="55" y="23"/>
                  </a:ln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30" name="Google Shape;453;p5">
              <a:extLst>
                <a:ext uri="{FF2B5EF4-FFF2-40B4-BE49-F238E27FC236}">
                  <a16:creationId xmlns:a16="http://schemas.microsoft.com/office/drawing/2014/main" id="{2D61F876-7B43-A454-B4BC-8005658D0287}"/>
                </a:ext>
              </a:extLst>
            </p:cNvPr>
            <p:cNvSpPr/>
            <p:nvPr/>
          </p:nvSpPr>
          <p:spPr>
            <a:xfrm>
              <a:off x="3769" y="2019"/>
              <a:ext cx="202" cy="281"/>
            </a:xfrm>
            <a:custGeom>
              <a:avLst/>
              <a:gdLst/>
              <a:ahLst/>
              <a:cxnLst/>
              <a:rect l="l" t="t" r="r" b="b"/>
              <a:pathLst>
                <a:path w="88" h="123" extrusionOk="0">
                  <a:moveTo>
                    <a:pt x="71" y="123"/>
                  </a:moveTo>
                  <a:cubicBezTo>
                    <a:pt x="70" y="123"/>
                    <a:pt x="70" y="123"/>
                    <a:pt x="70" y="123"/>
                  </a:cubicBezTo>
                  <a:cubicBezTo>
                    <a:pt x="68" y="122"/>
                    <a:pt x="67" y="120"/>
                    <a:pt x="67" y="118"/>
                  </a:cubicBezTo>
                  <a:cubicBezTo>
                    <a:pt x="80" y="80"/>
                    <a:pt x="63" y="37"/>
                    <a:pt x="28" y="17"/>
                  </a:cubicBezTo>
                  <a:cubicBezTo>
                    <a:pt x="21" y="13"/>
                    <a:pt x="12" y="10"/>
                    <a:pt x="3" y="8"/>
                  </a:cubicBezTo>
                  <a:cubicBezTo>
                    <a:pt x="1" y="7"/>
                    <a:pt x="0" y="5"/>
                    <a:pt x="0" y="3"/>
                  </a:cubicBezTo>
                  <a:cubicBezTo>
                    <a:pt x="1" y="1"/>
                    <a:pt x="2" y="0"/>
                    <a:pt x="5" y="0"/>
                  </a:cubicBezTo>
                  <a:cubicBezTo>
                    <a:pt x="14" y="2"/>
                    <a:pt x="24" y="6"/>
                    <a:pt x="32" y="11"/>
                  </a:cubicBezTo>
                  <a:cubicBezTo>
                    <a:pt x="70" y="33"/>
                    <a:pt x="88" y="79"/>
                    <a:pt x="74" y="120"/>
                  </a:cubicBezTo>
                  <a:cubicBezTo>
                    <a:pt x="74" y="122"/>
                    <a:pt x="72" y="123"/>
                    <a:pt x="71" y="123"/>
                  </a:cubicBez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31" name="Google Shape;454;p5">
              <a:extLst>
                <a:ext uri="{FF2B5EF4-FFF2-40B4-BE49-F238E27FC236}">
                  <a16:creationId xmlns:a16="http://schemas.microsoft.com/office/drawing/2014/main" id="{39E1D887-2FC9-5F75-B8F2-CBF84D896747}"/>
                </a:ext>
              </a:extLst>
            </p:cNvPr>
            <p:cNvSpPr/>
            <p:nvPr/>
          </p:nvSpPr>
          <p:spPr>
            <a:xfrm>
              <a:off x="3907" y="2270"/>
              <a:ext cx="54" cy="60"/>
            </a:xfrm>
            <a:custGeom>
              <a:avLst/>
              <a:gdLst/>
              <a:ahLst/>
              <a:cxnLst/>
              <a:rect l="l" t="t" r="r" b="b"/>
              <a:pathLst>
                <a:path w="54" h="60" extrusionOk="0">
                  <a:moveTo>
                    <a:pt x="0" y="0"/>
                  </a:moveTo>
                  <a:lnTo>
                    <a:pt x="6" y="60"/>
                  </a:lnTo>
                  <a:lnTo>
                    <a:pt x="54" y="23"/>
                  </a:lnTo>
                  <a:lnTo>
                    <a:pt x="0" y="0"/>
                  </a:ln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32" name="Google Shape;455;p5">
              <a:extLst>
                <a:ext uri="{FF2B5EF4-FFF2-40B4-BE49-F238E27FC236}">
                  <a16:creationId xmlns:a16="http://schemas.microsoft.com/office/drawing/2014/main" id="{6DFEAAE0-A129-8B63-E692-094E471BFE79}"/>
                </a:ext>
              </a:extLst>
            </p:cNvPr>
            <p:cNvSpPr/>
            <p:nvPr/>
          </p:nvSpPr>
          <p:spPr>
            <a:xfrm>
              <a:off x="3614" y="2101"/>
              <a:ext cx="251" cy="233"/>
            </a:xfrm>
            <a:custGeom>
              <a:avLst/>
              <a:gdLst/>
              <a:ahLst/>
              <a:cxnLst/>
              <a:rect l="l" t="t" r="r" b="b"/>
              <a:pathLst>
                <a:path w="110" h="102" extrusionOk="0">
                  <a:moveTo>
                    <a:pt x="4" y="102"/>
                  </a:moveTo>
                  <a:cubicBezTo>
                    <a:pt x="4" y="102"/>
                    <a:pt x="3" y="102"/>
                    <a:pt x="3" y="102"/>
                  </a:cubicBezTo>
                  <a:cubicBezTo>
                    <a:pt x="2" y="102"/>
                    <a:pt x="0" y="101"/>
                    <a:pt x="1" y="99"/>
                  </a:cubicBezTo>
                  <a:cubicBezTo>
                    <a:pt x="1" y="97"/>
                    <a:pt x="2" y="80"/>
                    <a:pt x="9" y="74"/>
                  </a:cubicBezTo>
                  <a:cubicBezTo>
                    <a:pt x="12" y="72"/>
                    <a:pt x="18" y="69"/>
                    <a:pt x="27" y="66"/>
                  </a:cubicBezTo>
                  <a:cubicBezTo>
                    <a:pt x="31" y="65"/>
                    <a:pt x="35" y="63"/>
                    <a:pt x="36" y="63"/>
                  </a:cubicBezTo>
                  <a:cubicBezTo>
                    <a:pt x="37" y="61"/>
                    <a:pt x="39" y="58"/>
                    <a:pt x="39" y="57"/>
                  </a:cubicBezTo>
                  <a:cubicBezTo>
                    <a:pt x="39" y="57"/>
                    <a:pt x="40" y="57"/>
                    <a:pt x="40" y="56"/>
                  </a:cubicBezTo>
                  <a:cubicBezTo>
                    <a:pt x="39" y="55"/>
                    <a:pt x="39" y="52"/>
                    <a:pt x="38" y="49"/>
                  </a:cubicBezTo>
                  <a:cubicBezTo>
                    <a:pt x="38" y="48"/>
                    <a:pt x="38" y="48"/>
                    <a:pt x="38" y="47"/>
                  </a:cubicBezTo>
                  <a:cubicBezTo>
                    <a:pt x="38" y="47"/>
                    <a:pt x="38" y="47"/>
                    <a:pt x="38" y="47"/>
                  </a:cubicBezTo>
                  <a:cubicBezTo>
                    <a:pt x="36" y="46"/>
                    <a:pt x="35" y="45"/>
                    <a:pt x="34" y="42"/>
                  </a:cubicBezTo>
                  <a:cubicBezTo>
                    <a:pt x="34" y="41"/>
                    <a:pt x="34" y="41"/>
                    <a:pt x="34" y="41"/>
                  </a:cubicBezTo>
                  <a:cubicBezTo>
                    <a:pt x="34" y="38"/>
                    <a:pt x="33" y="36"/>
                    <a:pt x="33" y="34"/>
                  </a:cubicBezTo>
                  <a:cubicBezTo>
                    <a:pt x="34" y="32"/>
                    <a:pt x="34" y="32"/>
                    <a:pt x="35" y="31"/>
                  </a:cubicBezTo>
                  <a:cubicBezTo>
                    <a:pt x="34" y="27"/>
                    <a:pt x="33" y="22"/>
                    <a:pt x="33" y="20"/>
                  </a:cubicBezTo>
                  <a:cubicBezTo>
                    <a:pt x="34" y="12"/>
                    <a:pt x="40" y="4"/>
                    <a:pt x="46" y="2"/>
                  </a:cubicBezTo>
                  <a:cubicBezTo>
                    <a:pt x="51" y="0"/>
                    <a:pt x="54" y="0"/>
                    <a:pt x="55" y="0"/>
                  </a:cubicBezTo>
                  <a:cubicBezTo>
                    <a:pt x="55" y="0"/>
                    <a:pt x="59" y="0"/>
                    <a:pt x="64" y="2"/>
                  </a:cubicBezTo>
                  <a:cubicBezTo>
                    <a:pt x="70" y="4"/>
                    <a:pt x="76" y="12"/>
                    <a:pt x="76" y="20"/>
                  </a:cubicBezTo>
                  <a:cubicBezTo>
                    <a:pt x="76" y="22"/>
                    <a:pt x="76" y="27"/>
                    <a:pt x="75" y="31"/>
                  </a:cubicBezTo>
                  <a:cubicBezTo>
                    <a:pt x="75" y="32"/>
                    <a:pt x="76" y="32"/>
                    <a:pt x="76" y="34"/>
                  </a:cubicBezTo>
                  <a:cubicBezTo>
                    <a:pt x="76" y="36"/>
                    <a:pt x="76" y="38"/>
                    <a:pt x="75" y="41"/>
                  </a:cubicBezTo>
                  <a:cubicBezTo>
                    <a:pt x="75" y="42"/>
                    <a:pt x="75" y="42"/>
                    <a:pt x="75" y="42"/>
                  </a:cubicBezTo>
                  <a:cubicBezTo>
                    <a:pt x="75" y="45"/>
                    <a:pt x="73" y="46"/>
                    <a:pt x="72" y="47"/>
                  </a:cubicBezTo>
                  <a:cubicBezTo>
                    <a:pt x="72" y="47"/>
                    <a:pt x="72" y="47"/>
                    <a:pt x="72" y="47"/>
                  </a:cubicBezTo>
                  <a:cubicBezTo>
                    <a:pt x="71" y="48"/>
                    <a:pt x="71" y="49"/>
                    <a:pt x="71" y="50"/>
                  </a:cubicBezTo>
                  <a:cubicBezTo>
                    <a:pt x="71" y="52"/>
                    <a:pt x="71" y="55"/>
                    <a:pt x="70" y="57"/>
                  </a:cubicBezTo>
                  <a:cubicBezTo>
                    <a:pt x="70" y="57"/>
                    <a:pt x="70" y="57"/>
                    <a:pt x="70" y="57"/>
                  </a:cubicBezTo>
                  <a:cubicBezTo>
                    <a:pt x="71" y="58"/>
                    <a:pt x="72" y="61"/>
                    <a:pt x="73" y="63"/>
                  </a:cubicBezTo>
                  <a:cubicBezTo>
                    <a:pt x="75" y="63"/>
                    <a:pt x="79" y="65"/>
                    <a:pt x="83" y="66"/>
                  </a:cubicBezTo>
                  <a:cubicBezTo>
                    <a:pt x="91" y="69"/>
                    <a:pt x="98" y="72"/>
                    <a:pt x="100" y="74"/>
                  </a:cubicBezTo>
                  <a:cubicBezTo>
                    <a:pt x="109" y="80"/>
                    <a:pt x="110" y="97"/>
                    <a:pt x="110" y="99"/>
                  </a:cubicBezTo>
                  <a:cubicBezTo>
                    <a:pt x="110" y="101"/>
                    <a:pt x="109" y="102"/>
                    <a:pt x="107" y="102"/>
                  </a:cubicBezTo>
                  <a:cubicBezTo>
                    <a:pt x="105" y="102"/>
                    <a:pt x="104" y="101"/>
                    <a:pt x="104" y="99"/>
                  </a:cubicBezTo>
                  <a:cubicBezTo>
                    <a:pt x="104" y="95"/>
                    <a:pt x="102" y="82"/>
                    <a:pt x="97" y="79"/>
                  </a:cubicBezTo>
                  <a:cubicBezTo>
                    <a:pt x="95" y="77"/>
                    <a:pt x="87" y="74"/>
                    <a:pt x="81" y="72"/>
                  </a:cubicBezTo>
                  <a:cubicBezTo>
                    <a:pt x="72" y="69"/>
                    <a:pt x="70" y="68"/>
                    <a:pt x="69" y="66"/>
                  </a:cubicBezTo>
                  <a:cubicBezTo>
                    <a:pt x="68" y="65"/>
                    <a:pt x="66" y="62"/>
                    <a:pt x="66" y="61"/>
                  </a:cubicBezTo>
                  <a:cubicBezTo>
                    <a:pt x="64" y="60"/>
                    <a:pt x="62" y="59"/>
                    <a:pt x="62" y="57"/>
                  </a:cubicBezTo>
                  <a:cubicBezTo>
                    <a:pt x="62" y="56"/>
                    <a:pt x="63" y="55"/>
                    <a:pt x="64" y="54"/>
                  </a:cubicBezTo>
                  <a:cubicBezTo>
                    <a:pt x="65" y="53"/>
                    <a:pt x="65" y="50"/>
                    <a:pt x="65" y="49"/>
                  </a:cubicBezTo>
                  <a:cubicBezTo>
                    <a:pt x="65" y="48"/>
                    <a:pt x="65" y="47"/>
                    <a:pt x="66" y="46"/>
                  </a:cubicBezTo>
                  <a:cubicBezTo>
                    <a:pt x="66" y="43"/>
                    <a:pt x="68" y="42"/>
                    <a:pt x="69" y="41"/>
                  </a:cubicBezTo>
                  <a:cubicBezTo>
                    <a:pt x="69" y="41"/>
                    <a:pt x="69" y="41"/>
                    <a:pt x="69" y="41"/>
                  </a:cubicBezTo>
                  <a:cubicBezTo>
                    <a:pt x="69" y="40"/>
                    <a:pt x="69" y="40"/>
                    <a:pt x="70" y="39"/>
                  </a:cubicBezTo>
                  <a:cubicBezTo>
                    <a:pt x="70" y="38"/>
                    <a:pt x="70" y="36"/>
                    <a:pt x="70" y="35"/>
                  </a:cubicBezTo>
                  <a:cubicBezTo>
                    <a:pt x="70" y="35"/>
                    <a:pt x="70" y="35"/>
                    <a:pt x="70" y="34"/>
                  </a:cubicBezTo>
                  <a:cubicBezTo>
                    <a:pt x="69" y="34"/>
                    <a:pt x="68" y="32"/>
                    <a:pt x="69" y="30"/>
                  </a:cubicBezTo>
                  <a:cubicBezTo>
                    <a:pt x="69" y="28"/>
                    <a:pt x="70" y="23"/>
                    <a:pt x="70" y="20"/>
                  </a:cubicBezTo>
                  <a:cubicBezTo>
                    <a:pt x="70" y="15"/>
                    <a:pt x="65" y="9"/>
                    <a:pt x="62" y="7"/>
                  </a:cubicBezTo>
                  <a:cubicBezTo>
                    <a:pt x="57" y="6"/>
                    <a:pt x="55" y="6"/>
                    <a:pt x="55" y="6"/>
                  </a:cubicBezTo>
                  <a:cubicBezTo>
                    <a:pt x="55" y="6"/>
                    <a:pt x="55" y="6"/>
                    <a:pt x="55" y="6"/>
                  </a:cubicBezTo>
                  <a:cubicBezTo>
                    <a:pt x="55" y="6"/>
                    <a:pt x="55" y="6"/>
                    <a:pt x="55" y="6"/>
                  </a:cubicBezTo>
                  <a:cubicBezTo>
                    <a:pt x="54" y="6"/>
                    <a:pt x="52" y="6"/>
                    <a:pt x="48" y="7"/>
                  </a:cubicBezTo>
                  <a:cubicBezTo>
                    <a:pt x="44" y="9"/>
                    <a:pt x="40" y="15"/>
                    <a:pt x="39" y="20"/>
                  </a:cubicBezTo>
                  <a:cubicBezTo>
                    <a:pt x="39" y="23"/>
                    <a:pt x="40" y="28"/>
                    <a:pt x="41" y="30"/>
                  </a:cubicBezTo>
                  <a:cubicBezTo>
                    <a:pt x="41" y="30"/>
                    <a:pt x="41" y="30"/>
                    <a:pt x="41" y="30"/>
                  </a:cubicBezTo>
                  <a:cubicBezTo>
                    <a:pt x="41" y="32"/>
                    <a:pt x="40" y="34"/>
                    <a:pt x="40" y="34"/>
                  </a:cubicBezTo>
                  <a:cubicBezTo>
                    <a:pt x="40" y="35"/>
                    <a:pt x="39" y="35"/>
                    <a:pt x="39" y="35"/>
                  </a:cubicBezTo>
                  <a:cubicBezTo>
                    <a:pt x="39" y="36"/>
                    <a:pt x="40" y="38"/>
                    <a:pt x="40" y="39"/>
                  </a:cubicBezTo>
                  <a:cubicBezTo>
                    <a:pt x="40" y="40"/>
                    <a:pt x="40" y="40"/>
                    <a:pt x="40" y="41"/>
                  </a:cubicBezTo>
                  <a:cubicBezTo>
                    <a:pt x="40" y="41"/>
                    <a:pt x="40" y="41"/>
                    <a:pt x="40" y="41"/>
                  </a:cubicBezTo>
                  <a:cubicBezTo>
                    <a:pt x="42" y="42"/>
                    <a:pt x="43" y="43"/>
                    <a:pt x="44" y="46"/>
                  </a:cubicBezTo>
                  <a:cubicBezTo>
                    <a:pt x="44" y="47"/>
                    <a:pt x="44" y="47"/>
                    <a:pt x="44" y="48"/>
                  </a:cubicBezTo>
                  <a:cubicBezTo>
                    <a:pt x="45" y="50"/>
                    <a:pt x="45" y="53"/>
                    <a:pt x="46" y="54"/>
                  </a:cubicBezTo>
                  <a:cubicBezTo>
                    <a:pt x="46" y="55"/>
                    <a:pt x="47" y="56"/>
                    <a:pt x="47" y="56"/>
                  </a:cubicBezTo>
                  <a:cubicBezTo>
                    <a:pt x="47" y="58"/>
                    <a:pt x="46" y="60"/>
                    <a:pt x="44" y="61"/>
                  </a:cubicBezTo>
                  <a:cubicBezTo>
                    <a:pt x="43" y="62"/>
                    <a:pt x="42" y="65"/>
                    <a:pt x="41" y="66"/>
                  </a:cubicBezTo>
                  <a:cubicBezTo>
                    <a:pt x="40" y="68"/>
                    <a:pt x="38" y="69"/>
                    <a:pt x="29" y="72"/>
                  </a:cubicBezTo>
                  <a:cubicBezTo>
                    <a:pt x="24" y="74"/>
                    <a:pt x="15" y="77"/>
                    <a:pt x="13" y="78"/>
                  </a:cubicBezTo>
                  <a:cubicBezTo>
                    <a:pt x="9" y="82"/>
                    <a:pt x="7" y="93"/>
                    <a:pt x="7" y="100"/>
                  </a:cubicBezTo>
                  <a:cubicBezTo>
                    <a:pt x="6" y="101"/>
                    <a:pt x="5" y="102"/>
                    <a:pt x="4" y="102"/>
                  </a:cubicBez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33" name="Google Shape;456;p5">
              <a:extLst>
                <a:ext uri="{FF2B5EF4-FFF2-40B4-BE49-F238E27FC236}">
                  <a16:creationId xmlns:a16="http://schemas.microsoft.com/office/drawing/2014/main" id="{CC90695C-FA28-53C8-9AE7-03EB27BBECB1}"/>
                </a:ext>
              </a:extLst>
            </p:cNvPr>
            <p:cNvSpPr/>
            <p:nvPr/>
          </p:nvSpPr>
          <p:spPr>
            <a:xfrm>
              <a:off x="3566" y="2133"/>
              <a:ext cx="126" cy="142"/>
            </a:xfrm>
            <a:custGeom>
              <a:avLst/>
              <a:gdLst/>
              <a:ahLst/>
              <a:cxnLst/>
              <a:rect l="l" t="t" r="r" b="b"/>
              <a:pathLst>
                <a:path w="55" h="62" extrusionOk="0">
                  <a:moveTo>
                    <a:pt x="44" y="37"/>
                  </a:moveTo>
                  <a:cubicBezTo>
                    <a:pt x="44" y="37"/>
                    <a:pt x="42" y="37"/>
                    <a:pt x="42" y="37"/>
                  </a:cubicBezTo>
                  <a:cubicBezTo>
                    <a:pt x="41" y="36"/>
                    <a:pt x="41" y="35"/>
                    <a:pt x="41" y="35"/>
                  </a:cubicBezTo>
                  <a:cubicBezTo>
                    <a:pt x="41" y="35"/>
                    <a:pt x="41" y="34"/>
                    <a:pt x="41" y="34"/>
                  </a:cubicBezTo>
                  <a:cubicBezTo>
                    <a:pt x="42" y="34"/>
                    <a:pt x="42" y="34"/>
                    <a:pt x="42" y="33"/>
                  </a:cubicBezTo>
                  <a:cubicBezTo>
                    <a:pt x="43" y="32"/>
                    <a:pt x="44" y="31"/>
                    <a:pt x="44" y="29"/>
                  </a:cubicBezTo>
                  <a:cubicBezTo>
                    <a:pt x="45" y="29"/>
                    <a:pt x="46" y="28"/>
                    <a:pt x="47" y="26"/>
                  </a:cubicBezTo>
                  <a:cubicBezTo>
                    <a:pt x="47" y="26"/>
                    <a:pt x="47" y="26"/>
                    <a:pt x="47" y="26"/>
                  </a:cubicBezTo>
                  <a:cubicBezTo>
                    <a:pt x="47" y="23"/>
                    <a:pt x="48" y="19"/>
                    <a:pt x="46" y="17"/>
                  </a:cubicBezTo>
                  <a:cubicBezTo>
                    <a:pt x="46" y="17"/>
                    <a:pt x="45" y="17"/>
                    <a:pt x="45" y="17"/>
                  </a:cubicBezTo>
                  <a:cubicBezTo>
                    <a:pt x="45" y="14"/>
                    <a:pt x="45" y="9"/>
                    <a:pt x="43" y="6"/>
                  </a:cubicBezTo>
                  <a:cubicBezTo>
                    <a:pt x="41" y="3"/>
                    <a:pt x="37" y="1"/>
                    <a:pt x="33" y="1"/>
                  </a:cubicBezTo>
                  <a:cubicBezTo>
                    <a:pt x="33" y="1"/>
                    <a:pt x="33" y="1"/>
                    <a:pt x="32" y="1"/>
                  </a:cubicBezTo>
                  <a:cubicBezTo>
                    <a:pt x="31" y="1"/>
                    <a:pt x="31" y="1"/>
                    <a:pt x="31" y="1"/>
                  </a:cubicBezTo>
                  <a:cubicBezTo>
                    <a:pt x="27" y="0"/>
                    <a:pt x="23" y="2"/>
                    <a:pt x="20" y="6"/>
                  </a:cubicBezTo>
                  <a:cubicBezTo>
                    <a:pt x="18" y="9"/>
                    <a:pt x="18" y="14"/>
                    <a:pt x="19" y="17"/>
                  </a:cubicBezTo>
                  <a:cubicBezTo>
                    <a:pt x="18" y="17"/>
                    <a:pt x="18" y="17"/>
                    <a:pt x="18" y="17"/>
                  </a:cubicBezTo>
                  <a:cubicBezTo>
                    <a:pt x="16" y="19"/>
                    <a:pt x="16" y="22"/>
                    <a:pt x="17" y="25"/>
                  </a:cubicBezTo>
                  <a:cubicBezTo>
                    <a:pt x="17" y="26"/>
                    <a:pt x="17" y="26"/>
                    <a:pt x="17" y="26"/>
                  </a:cubicBezTo>
                  <a:cubicBezTo>
                    <a:pt x="17" y="28"/>
                    <a:pt x="18" y="29"/>
                    <a:pt x="19" y="29"/>
                  </a:cubicBezTo>
                  <a:cubicBezTo>
                    <a:pt x="19" y="31"/>
                    <a:pt x="20" y="32"/>
                    <a:pt x="22" y="33"/>
                  </a:cubicBezTo>
                  <a:cubicBezTo>
                    <a:pt x="22" y="34"/>
                    <a:pt x="22" y="34"/>
                    <a:pt x="22" y="34"/>
                  </a:cubicBezTo>
                  <a:cubicBezTo>
                    <a:pt x="22" y="34"/>
                    <a:pt x="22" y="35"/>
                    <a:pt x="22" y="35"/>
                  </a:cubicBezTo>
                  <a:cubicBezTo>
                    <a:pt x="22" y="35"/>
                    <a:pt x="22" y="36"/>
                    <a:pt x="22" y="37"/>
                  </a:cubicBezTo>
                  <a:cubicBezTo>
                    <a:pt x="22" y="37"/>
                    <a:pt x="20" y="38"/>
                    <a:pt x="19" y="38"/>
                  </a:cubicBezTo>
                  <a:cubicBezTo>
                    <a:pt x="15" y="39"/>
                    <a:pt x="11" y="40"/>
                    <a:pt x="8" y="43"/>
                  </a:cubicBezTo>
                  <a:cubicBezTo>
                    <a:pt x="4" y="48"/>
                    <a:pt x="1" y="59"/>
                    <a:pt x="1" y="60"/>
                  </a:cubicBezTo>
                  <a:cubicBezTo>
                    <a:pt x="0" y="61"/>
                    <a:pt x="1" y="62"/>
                    <a:pt x="2" y="62"/>
                  </a:cubicBezTo>
                  <a:cubicBezTo>
                    <a:pt x="2" y="62"/>
                    <a:pt x="2" y="62"/>
                    <a:pt x="3" y="62"/>
                  </a:cubicBezTo>
                  <a:cubicBezTo>
                    <a:pt x="3" y="62"/>
                    <a:pt x="4" y="62"/>
                    <a:pt x="5" y="61"/>
                  </a:cubicBezTo>
                  <a:cubicBezTo>
                    <a:pt x="5" y="58"/>
                    <a:pt x="8" y="49"/>
                    <a:pt x="11" y="46"/>
                  </a:cubicBezTo>
                  <a:cubicBezTo>
                    <a:pt x="13" y="43"/>
                    <a:pt x="17" y="43"/>
                    <a:pt x="20" y="42"/>
                  </a:cubicBezTo>
                  <a:cubicBezTo>
                    <a:pt x="22" y="41"/>
                    <a:pt x="24" y="41"/>
                    <a:pt x="25" y="39"/>
                  </a:cubicBezTo>
                  <a:cubicBezTo>
                    <a:pt x="27" y="37"/>
                    <a:pt x="26" y="35"/>
                    <a:pt x="26" y="34"/>
                  </a:cubicBezTo>
                  <a:cubicBezTo>
                    <a:pt x="26" y="34"/>
                    <a:pt x="26" y="34"/>
                    <a:pt x="26" y="34"/>
                  </a:cubicBezTo>
                  <a:cubicBezTo>
                    <a:pt x="27" y="33"/>
                    <a:pt x="26" y="32"/>
                    <a:pt x="25" y="31"/>
                  </a:cubicBezTo>
                  <a:cubicBezTo>
                    <a:pt x="24" y="30"/>
                    <a:pt x="23" y="29"/>
                    <a:pt x="23" y="28"/>
                  </a:cubicBezTo>
                  <a:cubicBezTo>
                    <a:pt x="23" y="26"/>
                    <a:pt x="22" y="26"/>
                    <a:pt x="21" y="26"/>
                  </a:cubicBezTo>
                  <a:cubicBezTo>
                    <a:pt x="21" y="25"/>
                    <a:pt x="21" y="25"/>
                    <a:pt x="21" y="24"/>
                  </a:cubicBezTo>
                  <a:cubicBezTo>
                    <a:pt x="20" y="23"/>
                    <a:pt x="20" y="21"/>
                    <a:pt x="20" y="21"/>
                  </a:cubicBezTo>
                  <a:cubicBezTo>
                    <a:pt x="21" y="21"/>
                    <a:pt x="21" y="21"/>
                    <a:pt x="22" y="21"/>
                  </a:cubicBezTo>
                  <a:cubicBezTo>
                    <a:pt x="23" y="20"/>
                    <a:pt x="23" y="19"/>
                    <a:pt x="23" y="19"/>
                  </a:cubicBezTo>
                  <a:cubicBezTo>
                    <a:pt x="22" y="15"/>
                    <a:pt x="22" y="10"/>
                    <a:pt x="23" y="9"/>
                  </a:cubicBezTo>
                  <a:cubicBezTo>
                    <a:pt x="25" y="7"/>
                    <a:pt x="27" y="5"/>
                    <a:pt x="30" y="5"/>
                  </a:cubicBezTo>
                  <a:cubicBezTo>
                    <a:pt x="31" y="5"/>
                    <a:pt x="31" y="5"/>
                    <a:pt x="31" y="5"/>
                  </a:cubicBezTo>
                  <a:cubicBezTo>
                    <a:pt x="33" y="5"/>
                    <a:pt x="33" y="5"/>
                    <a:pt x="33" y="5"/>
                  </a:cubicBezTo>
                  <a:cubicBezTo>
                    <a:pt x="36" y="4"/>
                    <a:pt x="39" y="7"/>
                    <a:pt x="40" y="9"/>
                  </a:cubicBezTo>
                  <a:cubicBezTo>
                    <a:pt x="41" y="10"/>
                    <a:pt x="41" y="15"/>
                    <a:pt x="41" y="19"/>
                  </a:cubicBezTo>
                  <a:cubicBezTo>
                    <a:pt x="41" y="19"/>
                    <a:pt x="41" y="20"/>
                    <a:pt x="42" y="21"/>
                  </a:cubicBezTo>
                  <a:cubicBezTo>
                    <a:pt x="42" y="21"/>
                    <a:pt x="43" y="21"/>
                    <a:pt x="43" y="21"/>
                  </a:cubicBezTo>
                  <a:cubicBezTo>
                    <a:pt x="43" y="22"/>
                    <a:pt x="43" y="23"/>
                    <a:pt x="43" y="25"/>
                  </a:cubicBezTo>
                  <a:cubicBezTo>
                    <a:pt x="43" y="25"/>
                    <a:pt x="43" y="25"/>
                    <a:pt x="43" y="26"/>
                  </a:cubicBezTo>
                  <a:cubicBezTo>
                    <a:pt x="42" y="26"/>
                    <a:pt x="41" y="26"/>
                    <a:pt x="40" y="28"/>
                  </a:cubicBezTo>
                  <a:cubicBezTo>
                    <a:pt x="40" y="29"/>
                    <a:pt x="39" y="30"/>
                    <a:pt x="39" y="31"/>
                  </a:cubicBezTo>
                  <a:cubicBezTo>
                    <a:pt x="38" y="32"/>
                    <a:pt x="37" y="33"/>
                    <a:pt x="37" y="34"/>
                  </a:cubicBezTo>
                  <a:cubicBezTo>
                    <a:pt x="37" y="35"/>
                    <a:pt x="37" y="35"/>
                    <a:pt x="37" y="35"/>
                  </a:cubicBezTo>
                  <a:cubicBezTo>
                    <a:pt x="37" y="35"/>
                    <a:pt x="37" y="37"/>
                    <a:pt x="38" y="39"/>
                  </a:cubicBezTo>
                  <a:cubicBezTo>
                    <a:pt x="40" y="41"/>
                    <a:pt x="41" y="41"/>
                    <a:pt x="44" y="41"/>
                  </a:cubicBezTo>
                  <a:cubicBezTo>
                    <a:pt x="46" y="42"/>
                    <a:pt x="49" y="42"/>
                    <a:pt x="51" y="44"/>
                  </a:cubicBezTo>
                  <a:cubicBezTo>
                    <a:pt x="52" y="45"/>
                    <a:pt x="53" y="45"/>
                    <a:pt x="54" y="45"/>
                  </a:cubicBezTo>
                  <a:cubicBezTo>
                    <a:pt x="55" y="44"/>
                    <a:pt x="55" y="42"/>
                    <a:pt x="54" y="42"/>
                  </a:cubicBezTo>
                  <a:cubicBezTo>
                    <a:pt x="51" y="38"/>
                    <a:pt x="47" y="38"/>
                    <a:pt x="44" y="37"/>
                  </a:cubicBez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34" name="Google Shape;457;p5">
              <a:extLst>
                <a:ext uri="{FF2B5EF4-FFF2-40B4-BE49-F238E27FC236}">
                  <a16:creationId xmlns:a16="http://schemas.microsoft.com/office/drawing/2014/main" id="{05BD2A2F-EB5F-95BD-1291-838B044EE41C}"/>
                </a:ext>
              </a:extLst>
            </p:cNvPr>
            <p:cNvSpPr/>
            <p:nvPr/>
          </p:nvSpPr>
          <p:spPr>
            <a:xfrm>
              <a:off x="3788" y="2131"/>
              <a:ext cx="121" cy="128"/>
            </a:xfrm>
            <a:custGeom>
              <a:avLst/>
              <a:gdLst/>
              <a:ahLst/>
              <a:cxnLst/>
              <a:rect l="l" t="t" r="r" b="b"/>
              <a:pathLst>
                <a:path w="53" h="56" extrusionOk="0">
                  <a:moveTo>
                    <a:pt x="53" y="53"/>
                  </a:moveTo>
                  <a:cubicBezTo>
                    <a:pt x="53" y="53"/>
                    <a:pt x="50" y="49"/>
                    <a:pt x="49" y="45"/>
                  </a:cubicBezTo>
                  <a:cubicBezTo>
                    <a:pt x="47" y="41"/>
                    <a:pt x="40" y="38"/>
                    <a:pt x="38" y="37"/>
                  </a:cubicBezTo>
                  <a:cubicBezTo>
                    <a:pt x="37" y="37"/>
                    <a:pt x="35" y="36"/>
                    <a:pt x="33" y="35"/>
                  </a:cubicBezTo>
                  <a:cubicBezTo>
                    <a:pt x="34" y="34"/>
                    <a:pt x="36" y="34"/>
                    <a:pt x="37" y="34"/>
                  </a:cubicBezTo>
                  <a:cubicBezTo>
                    <a:pt x="41" y="34"/>
                    <a:pt x="43" y="29"/>
                    <a:pt x="43" y="29"/>
                  </a:cubicBezTo>
                  <a:cubicBezTo>
                    <a:pt x="43" y="28"/>
                    <a:pt x="43" y="26"/>
                    <a:pt x="42" y="26"/>
                  </a:cubicBezTo>
                  <a:cubicBezTo>
                    <a:pt x="42" y="26"/>
                    <a:pt x="40" y="25"/>
                    <a:pt x="39" y="23"/>
                  </a:cubicBezTo>
                  <a:cubicBezTo>
                    <a:pt x="39" y="22"/>
                    <a:pt x="39" y="21"/>
                    <a:pt x="39" y="19"/>
                  </a:cubicBezTo>
                  <a:cubicBezTo>
                    <a:pt x="39" y="18"/>
                    <a:pt x="39" y="17"/>
                    <a:pt x="39" y="14"/>
                  </a:cubicBezTo>
                  <a:cubicBezTo>
                    <a:pt x="38" y="5"/>
                    <a:pt x="29" y="0"/>
                    <a:pt x="25" y="0"/>
                  </a:cubicBezTo>
                  <a:cubicBezTo>
                    <a:pt x="23" y="0"/>
                    <a:pt x="23" y="0"/>
                    <a:pt x="23" y="0"/>
                  </a:cubicBezTo>
                  <a:cubicBezTo>
                    <a:pt x="18" y="0"/>
                    <a:pt x="9" y="5"/>
                    <a:pt x="9" y="14"/>
                  </a:cubicBezTo>
                  <a:cubicBezTo>
                    <a:pt x="9" y="17"/>
                    <a:pt x="9" y="18"/>
                    <a:pt x="9" y="19"/>
                  </a:cubicBezTo>
                  <a:cubicBezTo>
                    <a:pt x="9" y="21"/>
                    <a:pt x="9" y="22"/>
                    <a:pt x="8" y="23"/>
                  </a:cubicBezTo>
                  <a:cubicBezTo>
                    <a:pt x="7" y="25"/>
                    <a:pt x="6" y="26"/>
                    <a:pt x="6" y="26"/>
                  </a:cubicBezTo>
                  <a:cubicBezTo>
                    <a:pt x="5" y="26"/>
                    <a:pt x="4" y="28"/>
                    <a:pt x="5" y="29"/>
                  </a:cubicBezTo>
                  <a:cubicBezTo>
                    <a:pt x="5" y="29"/>
                    <a:pt x="6" y="34"/>
                    <a:pt x="11" y="34"/>
                  </a:cubicBezTo>
                  <a:cubicBezTo>
                    <a:pt x="12" y="34"/>
                    <a:pt x="13" y="34"/>
                    <a:pt x="14" y="35"/>
                  </a:cubicBezTo>
                  <a:cubicBezTo>
                    <a:pt x="13" y="36"/>
                    <a:pt x="11" y="37"/>
                    <a:pt x="10" y="37"/>
                  </a:cubicBezTo>
                  <a:cubicBezTo>
                    <a:pt x="9" y="37"/>
                    <a:pt x="9" y="37"/>
                    <a:pt x="9" y="37"/>
                  </a:cubicBezTo>
                  <a:cubicBezTo>
                    <a:pt x="7" y="38"/>
                    <a:pt x="3" y="39"/>
                    <a:pt x="1" y="43"/>
                  </a:cubicBezTo>
                  <a:cubicBezTo>
                    <a:pt x="1" y="44"/>
                    <a:pt x="1" y="44"/>
                    <a:pt x="1" y="45"/>
                  </a:cubicBezTo>
                  <a:cubicBezTo>
                    <a:pt x="0" y="45"/>
                    <a:pt x="1" y="46"/>
                    <a:pt x="1" y="47"/>
                  </a:cubicBezTo>
                  <a:cubicBezTo>
                    <a:pt x="1" y="47"/>
                    <a:pt x="1" y="47"/>
                    <a:pt x="2" y="48"/>
                  </a:cubicBezTo>
                  <a:cubicBezTo>
                    <a:pt x="3" y="48"/>
                    <a:pt x="4" y="47"/>
                    <a:pt x="5" y="46"/>
                  </a:cubicBezTo>
                  <a:cubicBezTo>
                    <a:pt x="5" y="46"/>
                    <a:pt x="5" y="45"/>
                    <a:pt x="5" y="45"/>
                  </a:cubicBezTo>
                  <a:cubicBezTo>
                    <a:pt x="6" y="43"/>
                    <a:pt x="9" y="42"/>
                    <a:pt x="11" y="41"/>
                  </a:cubicBezTo>
                  <a:cubicBezTo>
                    <a:pt x="11" y="41"/>
                    <a:pt x="11" y="41"/>
                    <a:pt x="11" y="41"/>
                  </a:cubicBezTo>
                  <a:cubicBezTo>
                    <a:pt x="13" y="40"/>
                    <a:pt x="18" y="37"/>
                    <a:pt x="18" y="37"/>
                  </a:cubicBezTo>
                  <a:cubicBezTo>
                    <a:pt x="19" y="37"/>
                    <a:pt x="19" y="35"/>
                    <a:pt x="19" y="32"/>
                  </a:cubicBezTo>
                  <a:cubicBezTo>
                    <a:pt x="19" y="32"/>
                    <a:pt x="18" y="31"/>
                    <a:pt x="17" y="31"/>
                  </a:cubicBezTo>
                  <a:cubicBezTo>
                    <a:pt x="17" y="31"/>
                    <a:pt x="14" y="30"/>
                    <a:pt x="11" y="30"/>
                  </a:cubicBezTo>
                  <a:cubicBezTo>
                    <a:pt x="10" y="30"/>
                    <a:pt x="10" y="29"/>
                    <a:pt x="9" y="29"/>
                  </a:cubicBezTo>
                  <a:cubicBezTo>
                    <a:pt x="10" y="28"/>
                    <a:pt x="11" y="26"/>
                    <a:pt x="12" y="25"/>
                  </a:cubicBezTo>
                  <a:cubicBezTo>
                    <a:pt x="13" y="23"/>
                    <a:pt x="13" y="22"/>
                    <a:pt x="13" y="19"/>
                  </a:cubicBezTo>
                  <a:cubicBezTo>
                    <a:pt x="13" y="18"/>
                    <a:pt x="13" y="17"/>
                    <a:pt x="13" y="14"/>
                  </a:cubicBezTo>
                  <a:cubicBezTo>
                    <a:pt x="13" y="8"/>
                    <a:pt x="20" y="4"/>
                    <a:pt x="23" y="4"/>
                  </a:cubicBezTo>
                  <a:cubicBezTo>
                    <a:pt x="25" y="4"/>
                    <a:pt x="25" y="4"/>
                    <a:pt x="25" y="4"/>
                  </a:cubicBezTo>
                  <a:cubicBezTo>
                    <a:pt x="27" y="4"/>
                    <a:pt x="34" y="8"/>
                    <a:pt x="35" y="14"/>
                  </a:cubicBezTo>
                  <a:cubicBezTo>
                    <a:pt x="35" y="17"/>
                    <a:pt x="35" y="18"/>
                    <a:pt x="35" y="19"/>
                  </a:cubicBezTo>
                  <a:cubicBezTo>
                    <a:pt x="34" y="22"/>
                    <a:pt x="35" y="23"/>
                    <a:pt x="36" y="25"/>
                  </a:cubicBezTo>
                  <a:cubicBezTo>
                    <a:pt x="36" y="26"/>
                    <a:pt x="37" y="28"/>
                    <a:pt x="38" y="29"/>
                  </a:cubicBezTo>
                  <a:cubicBezTo>
                    <a:pt x="38" y="29"/>
                    <a:pt x="37" y="30"/>
                    <a:pt x="36" y="30"/>
                  </a:cubicBezTo>
                  <a:cubicBezTo>
                    <a:pt x="34" y="30"/>
                    <a:pt x="30" y="31"/>
                    <a:pt x="30" y="31"/>
                  </a:cubicBezTo>
                  <a:cubicBezTo>
                    <a:pt x="30" y="31"/>
                    <a:pt x="29" y="32"/>
                    <a:pt x="29" y="32"/>
                  </a:cubicBezTo>
                  <a:cubicBezTo>
                    <a:pt x="28" y="36"/>
                    <a:pt x="29" y="37"/>
                    <a:pt x="29" y="37"/>
                  </a:cubicBezTo>
                  <a:cubicBezTo>
                    <a:pt x="30" y="37"/>
                    <a:pt x="34" y="40"/>
                    <a:pt x="37" y="41"/>
                  </a:cubicBezTo>
                  <a:cubicBezTo>
                    <a:pt x="39" y="42"/>
                    <a:pt x="44" y="44"/>
                    <a:pt x="45" y="47"/>
                  </a:cubicBezTo>
                  <a:cubicBezTo>
                    <a:pt x="46" y="50"/>
                    <a:pt x="49" y="55"/>
                    <a:pt x="49" y="55"/>
                  </a:cubicBezTo>
                  <a:cubicBezTo>
                    <a:pt x="49" y="56"/>
                    <a:pt x="50" y="56"/>
                    <a:pt x="51" y="56"/>
                  </a:cubicBezTo>
                  <a:cubicBezTo>
                    <a:pt x="51" y="56"/>
                    <a:pt x="51" y="56"/>
                    <a:pt x="52" y="56"/>
                  </a:cubicBezTo>
                  <a:cubicBezTo>
                    <a:pt x="53" y="55"/>
                    <a:pt x="53" y="54"/>
                    <a:pt x="53" y="53"/>
                  </a:cubicBez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grpSp>
      <p:sp>
        <p:nvSpPr>
          <p:cNvPr id="35" name="Google Shape;458;p5">
            <a:extLst>
              <a:ext uri="{FF2B5EF4-FFF2-40B4-BE49-F238E27FC236}">
                <a16:creationId xmlns:a16="http://schemas.microsoft.com/office/drawing/2014/main" id="{B39ABB53-0EA8-10EF-A80D-59FEBD8F9E35}"/>
              </a:ext>
            </a:extLst>
          </p:cNvPr>
          <p:cNvSpPr/>
          <p:nvPr/>
        </p:nvSpPr>
        <p:spPr>
          <a:xfrm>
            <a:off x="317736" y="2929049"/>
            <a:ext cx="432000" cy="432000"/>
          </a:xfrm>
          <a:custGeom>
            <a:avLst/>
            <a:gdLst/>
            <a:ahLst/>
            <a:cxnLst/>
            <a:rect l="l" t="t" r="r" b="b"/>
            <a:pathLst>
              <a:path w="141" h="162" extrusionOk="0">
                <a:moveTo>
                  <a:pt x="60" y="92"/>
                </a:moveTo>
                <a:cubicBezTo>
                  <a:pt x="60" y="92"/>
                  <a:pt x="60" y="92"/>
                  <a:pt x="60" y="92"/>
                </a:cubicBezTo>
                <a:cubicBezTo>
                  <a:pt x="82" y="92"/>
                  <a:pt x="101" y="84"/>
                  <a:pt x="116" y="70"/>
                </a:cubicBezTo>
                <a:cubicBezTo>
                  <a:pt x="133" y="54"/>
                  <a:pt x="141" y="30"/>
                  <a:pt x="139" y="4"/>
                </a:cubicBezTo>
                <a:cubicBezTo>
                  <a:pt x="138" y="3"/>
                  <a:pt x="137" y="1"/>
                  <a:pt x="135" y="1"/>
                </a:cubicBezTo>
                <a:cubicBezTo>
                  <a:pt x="132" y="0"/>
                  <a:pt x="128" y="0"/>
                  <a:pt x="125" y="0"/>
                </a:cubicBezTo>
                <a:cubicBezTo>
                  <a:pt x="103" y="0"/>
                  <a:pt x="83" y="8"/>
                  <a:pt x="69" y="22"/>
                </a:cubicBezTo>
                <a:cubicBezTo>
                  <a:pt x="52" y="39"/>
                  <a:pt x="44" y="63"/>
                  <a:pt x="46" y="88"/>
                </a:cubicBezTo>
                <a:cubicBezTo>
                  <a:pt x="46" y="88"/>
                  <a:pt x="46" y="88"/>
                  <a:pt x="46" y="88"/>
                </a:cubicBezTo>
                <a:cubicBezTo>
                  <a:pt x="46" y="88"/>
                  <a:pt x="46" y="88"/>
                  <a:pt x="46" y="88"/>
                </a:cubicBezTo>
                <a:cubicBezTo>
                  <a:pt x="46" y="156"/>
                  <a:pt x="46" y="156"/>
                  <a:pt x="46" y="156"/>
                </a:cubicBezTo>
                <a:cubicBezTo>
                  <a:pt x="22" y="156"/>
                  <a:pt x="22" y="156"/>
                  <a:pt x="22" y="156"/>
                </a:cubicBezTo>
                <a:cubicBezTo>
                  <a:pt x="22" y="129"/>
                  <a:pt x="22" y="129"/>
                  <a:pt x="22" y="129"/>
                </a:cubicBezTo>
                <a:cubicBezTo>
                  <a:pt x="25" y="124"/>
                  <a:pt x="26" y="118"/>
                  <a:pt x="24" y="113"/>
                </a:cubicBezTo>
                <a:cubicBezTo>
                  <a:pt x="22" y="106"/>
                  <a:pt x="17" y="101"/>
                  <a:pt x="10" y="98"/>
                </a:cubicBezTo>
                <a:cubicBezTo>
                  <a:pt x="5" y="104"/>
                  <a:pt x="3" y="111"/>
                  <a:pt x="5" y="118"/>
                </a:cubicBezTo>
                <a:cubicBezTo>
                  <a:pt x="6" y="123"/>
                  <a:pt x="10" y="128"/>
                  <a:pt x="14" y="131"/>
                </a:cubicBezTo>
                <a:cubicBezTo>
                  <a:pt x="14" y="156"/>
                  <a:pt x="14" y="156"/>
                  <a:pt x="14" y="156"/>
                </a:cubicBezTo>
                <a:cubicBezTo>
                  <a:pt x="2" y="156"/>
                  <a:pt x="2" y="156"/>
                  <a:pt x="2" y="156"/>
                </a:cubicBezTo>
                <a:cubicBezTo>
                  <a:pt x="1" y="156"/>
                  <a:pt x="0" y="158"/>
                  <a:pt x="0" y="159"/>
                </a:cubicBezTo>
                <a:cubicBezTo>
                  <a:pt x="0" y="160"/>
                  <a:pt x="1" y="162"/>
                  <a:pt x="2" y="162"/>
                </a:cubicBezTo>
                <a:cubicBezTo>
                  <a:pt x="113" y="162"/>
                  <a:pt x="113" y="162"/>
                  <a:pt x="113" y="162"/>
                </a:cubicBezTo>
                <a:cubicBezTo>
                  <a:pt x="115" y="162"/>
                  <a:pt x="116" y="160"/>
                  <a:pt x="116" y="159"/>
                </a:cubicBezTo>
                <a:cubicBezTo>
                  <a:pt x="116" y="158"/>
                  <a:pt x="115" y="156"/>
                  <a:pt x="113" y="156"/>
                </a:cubicBezTo>
                <a:cubicBezTo>
                  <a:pt x="91" y="156"/>
                  <a:pt x="91" y="156"/>
                  <a:pt x="91" y="156"/>
                </a:cubicBezTo>
                <a:cubicBezTo>
                  <a:pt x="91" y="127"/>
                  <a:pt x="91" y="127"/>
                  <a:pt x="91" y="127"/>
                </a:cubicBezTo>
                <a:cubicBezTo>
                  <a:pt x="95" y="128"/>
                  <a:pt x="100" y="127"/>
                  <a:pt x="104" y="124"/>
                </a:cubicBezTo>
                <a:cubicBezTo>
                  <a:pt x="110" y="120"/>
                  <a:pt x="113" y="113"/>
                  <a:pt x="113" y="105"/>
                </a:cubicBezTo>
                <a:cubicBezTo>
                  <a:pt x="106" y="103"/>
                  <a:pt x="98" y="103"/>
                  <a:pt x="92" y="107"/>
                </a:cubicBezTo>
                <a:cubicBezTo>
                  <a:pt x="86" y="111"/>
                  <a:pt x="83" y="118"/>
                  <a:pt x="83" y="126"/>
                </a:cubicBezTo>
                <a:cubicBezTo>
                  <a:pt x="83" y="126"/>
                  <a:pt x="83" y="126"/>
                  <a:pt x="83" y="126"/>
                </a:cubicBezTo>
                <a:cubicBezTo>
                  <a:pt x="83" y="156"/>
                  <a:pt x="83" y="156"/>
                  <a:pt x="83" y="156"/>
                </a:cubicBezTo>
                <a:cubicBezTo>
                  <a:pt x="58" y="156"/>
                  <a:pt x="58" y="156"/>
                  <a:pt x="58" y="156"/>
                </a:cubicBezTo>
                <a:cubicBezTo>
                  <a:pt x="58" y="92"/>
                  <a:pt x="58" y="92"/>
                  <a:pt x="58" y="92"/>
                </a:cubicBezTo>
                <a:cubicBezTo>
                  <a:pt x="59" y="92"/>
                  <a:pt x="59" y="92"/>
                  <a:pt x="60" y="92"/>
                </a:cubicBezTo>
                <a:moveTo>
                  <a:pt x="74" y="28"/>
                </a:moveTo>
                <a:cubicBezTo>
                  <a:pt x="89" y="14"/>
                  <a:pt x="109" y="7"/>
                  <a:pt x="131" y="8"/>
                </a:cubicBezTo>
                <a:cubicBezTo>
                  <a:pt x="132" y="30"/>
                  <a:pt x="125" y="50"/>
                  <a:pt x="110" y="65"/>
                </a:cubicBezTo>
                <a:cubicBezTo>
                  <a:pt x="97" y="77"/>
                  <a:pt x="79" y="84"/>
                  <a:pt x="60" y="84"/>
                </a:cubicBezTo>
                <a:cubicBezTo>
                  <a:pt x="107" y="36"/>
                  <a:pt x="107" y="36"/>
                  <a:pt x="107" y="36"/>
                </a:cubicBezTo>
                <a:cubicBezTo>
                  <a:pt x="109" y="35"/>
                  <a:pt x="109" y="32"/>
                  <a:pt x="107" y="31"/>
                </a:cubicBezTo>
                <a:cubicBezTo>
                  <a:pt x="106" y="30"/>
                  <a:pt x="104" y="30"/>
                  <a:pt x="102" y="31"/>
                </a:cubicBezTo>
                <a:cubicBezTo>
                  <a:pt x="54" y="80"/>
                  <a:pt x="54" y="80"/>
                  <a:pt x="54" y="80"/>
                </a:cubicBezTo>
                <a:cubicBezTo>
                  <a:pt x="53" y="60"/>
                  <a:pt x="61" y="41"/>
                  <a:pt x="74" y="28"/>
                </a:cubicBezTo>
                <a:moveTo>
                  <a:pt x="16" y="59"/>
                </a:moveTo>
                <a:cubicBezTo>
                  <a:pt x="4" y="45"/>
                  <a:pt x="0" y="26"/>
                  <a:pt x="4" y="6"/>
                </a:cubicBezTo>
                <a:cubicBezTo>
                  <a:pt x="4" y="4"/>
                  <a:pt x="4" y="4"/>
                  <a:pt x="4" y="4"/>
                </a:cubicBezTo>
                <a:cubicBezTo>
                  <a:pt x="7" y="4"/>
                  <a:pt x="7" y="4"/>
                  <a:pt x="7" y="4"/>
                </a:cubicBezTo>
                <a:cubicBezTo>
                  <a:pt x="27" y="4"/>
                  <a:pt x="45" y="12"/>
                  <a:pt x="56" y="26"/>
                </a:cubicBezTo>
                <a:cubicBezTo>
                  <a:pt x="57" y="28"/>
                  <a:pt x="57" y="30"/>
                  <a:pt x="56" y="31"/>
                </a:cubicBezTo>
                <a:cubicBezTo>
                  <a:pt x="54" y="32"/>
                  <a:pt x="53" y="31"/>
                  <a:pt x="51" y="30"/>
                </a:cubicBezTo>
                <a:cubicBezTo>
                  <a:pt x="41" y="18"/>
                  <a:pt x="27" y="11"/>
                  <a:pt x="9" y="10"/>
                </a:cubicBezTo>
                <a:cubicBezTo>
                  <a:pt x="6" y="27"/>
                  <a:pt x="10" y="43"/>
                  <a:pt x="20" y="55"/>
                </a:cubicBezTo>
                <a:cubicBezTo>
                  <a:pt x="25" y="61"/>
                  <a:pt x="31" y="66"/>
                  <a:pt x="38" y="69"/>
                </a:cubicBezTo>
                <a:cubicBezTo>
                  <a:pt x="39" y="70"/>
                  <a:pt x="40" y="72"/>
                  <a:pt x="39" y="73"/>
                </a:cubicBezTo>
                <a:cubicBezTo>
                  <a:pt x="39" y="75"/>
                  <a:pt x="38" y="75"/>
                  <a:pt x="36" y="75"/>
                </a:cubicBezTo>
                <a:cubicBezTo>
                  <a:pt x="36" y="75"/>
                  <a:pt x="35" y="75"/>
                  <a:pt x="35" y="75"/>
                </a:cubicBezTo>
                <a:cubicBezTo>
                  <a:pt x="27" y="71"/>
                  <a:pt x="21" y="66"/>
                  <a:pt x="16" y="59"/>
                </a:cubicBezTo>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chemeClr val="dk1"/>
              </a:solidFill>
            </a:endParaRPr>
          </a:p>
        </p:txBody>
      </p:sp>
      <p:grpSp>
        <p:nvGrpSpPr>
          <p:cNvPr id="36" name="Google Shape;459;p5">
            <a:extLst>
              <a:ext uri="{FF2B5EF4-FFF2-40B4-BE49-F238E27FC236}">
                <a16:creationId xmlns:a16="http://schemas.microsoft.com/office/drawing/2014/main" id="{3B8F024A-4508-F2AD-36BD-ABC2533201FB}"/>
              </a:ext>
            </a:extLst>
          </p:cNvPr>
          <p:cNvGrpSpPr/>
          <p:nvPr/>
        </p:nvGrpSpPr>
        <p:grpSpPr>
          <a:xfrm>
            <a:off x="242303" y="4433341"/>
            <a:ext cx="468000" cy="432001"/>
            <a:chOff x="4275375" y="4536410"/>
            <a:chExt cx="1125132" cy="730945"/>
          </a:xfrm>
        </p:grpSpPr>
        <p:sp>
          <p:nvSpPr>
            <p:cNvPr id="37" name="Google Shape;460;p5">
              <a:extLst>
                <a:ext uri="{FF2B5EF4-FFF2-40B4-BE49-F238E27FC236}">
                  <a16:creationId xmlns:a16="http://schemas.microsoft.com/office/drawing/2014/main" id="{927E128B-4A77-D58C-41F8-DFB3E89584AD}"/>
                </a:ext>
              </a:extLst>
            </p:cNvPr>
            <p:cNvSpPr/>
            <p:nvPr/>
          </p:nvSpPr>
          <p:spPr>
            <a:xfrm>
              <a:off x="5172266" y="4541490"/>
              <a:ext cx="135016" cy="110550"/>
            </a:xfrm>
            <a:custGeom>
              <a:avLst/>
              <a:gdLst/>
              <a:ahLst/>
              <a:cxnLst/>
              <a:rect l="l" t="t" r="r" b="b"/>
              <a:pathLst>
                <a:path w="84" h="82" extrusionOk="0">
                  <a:moveTo>
                    <a:pt x="42" y="82"/>
                  </a:moveTo>
                  <a:lnTo>
                    <a:pt x="42" y="82"/>
                  </a:lnTo>
                  <a:lnTo>
                    <a:pt x="34" y="82"/>
                  </a:lnTo>
                  <a:lnTo>
                    <a:pt x="26" y="80"/>
                  </a:lnTo>
                  <a:lnTo>
                    <a:pt x="18" y="76"/>
                  </a:lnTo>
                  <a:lnTo>
                    <a:pt x="12" y="70"/>
                  </a:lnTo>
                  <a:lnTo>
                    <a:pt x="8" y="64"/>
                  </a:lnTo>
                  <a:lnTo>
                    <a:pt x="4" y="58"/>
                  </a:lnTo>
                  <a:lnTo>
                    <a:pt x="2" y="50"/>
                  </a:lnTo>
                  <a:lnTo>
                    <a:pt x="0" y="42"/>
                  </a:lnTo>
                  <a:lnTo>
                    <a:pt x="0" y="42"/>
                  </a:lnTo>
                  <a:lnTo>
                    <a:pt x="2" y="32"/>
                  </a:lnTo>
                  <a:lnTo>
                    <a:pt x="4" y="26"/>
                  </a:lnTo>
                  <a:lnTo>
                    <a:pt x="8" y="18"/>
                  </a:lnTo>
                  <a:lnTo>
                    <a:pt x="12" y="12"/>
                  </a:lnTo>
                  <a:lnTo>
                    <a:pt x="18" y="8"/>
                  </a:lnTo>
                  <a:lnTo>
                    <a:pt x="26" y="4"/>
                  </a:lnTo>
                  <a:lnTo>
                    <a:pt x="34" y="0"/>
                  </a:lnTo>
                  <a:lnTo>
                    <a:pt x="42" y="0"/>
                  </a:lnTo>
                  <a:lnTo>
                    <a:pt x="42" y="0"/>
                  </a:lnTo>
                  <a:lnTo>
                    <a:pt x="50" y="0"/>
                  </a:lnTo>
                  <a:lnTo>
                    <a:pt x="58" y="4"/>
                  </a:lnTo>
                  <a:lnTo>
                    <a:pt x="64" y="8"/>
                  </a:lnTo>
                  <a:lnTo>
                    <a:pt x="72" y="12"/>
                  </a:lnTo>
                  <a:lnTo>
                    <a:pt x="76" y="18"/>
                  </a:lnTo>
                  <a:lnTo>
                    <a:pt x="80" y="26"/>
                  </a:lnTo>
                  <a:lnTo>
                    <a:pt x="82" y="32"/>
                  </a:lnTo>
                  <a:lnTo>
                    <a:pt x="84" y="42"/>
                  </a:lnTo>
                  <a:lnTo>
                    <a:pt x="84" y="42"/>
                  </a:lnTo>
                  <a:lnTo>
                    <a:pt x="82" y="50"/>
                  </a:lnTo>
                  <a:lnTo>
                    <a:pt x="80" y="58"/>
                  </a:lnTo>
                  <a:lnTo>
                    <a:pt x="76" y="64"/>
                  </a:lnTo>
                  <a:lnTo>
                    <a:pt x="72" y="70"/>
                  </a:lnTo>
                  <a:lnTo>
                    <a:pt x="64" y="76"/>
                  </a:lnTo>
                  <a:lnTo>
                    <a:pt x="58" y="80"/>
                  </a:lnTo>
                  <a:lnTo>
                    <a:pt x="50" y="82"/>
                  </a:lnTo>
                  <a:lnTo>
                    <a:pt x="42" y="82"/>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sp>
          <p:nvSpPr>
            <p:cNvPr id="38" name="Google Shape;461;p5">
              <a:extLst>
                <a:ext uri="{FF2B5EF4-FFF2-40B4-BE49-F238E27FC236}">
                  <a16:creationId xmlns:a16="http://schemas.microsoft.com/office/drawing/2014/main" id="{0AC7A20A-3D45-A108-9A44-E4D41A3457C0}"/>
                </a:ext>
              </a:extLst>
            </p:cNvPr>
            <p:cNvSpPr/>
            <p:nvPr/>
          </p:nvSpPr>
          <p:spPr>
            <a:xfrm>
              <a:off x="5082255" y="4686969"/>
              <a:ext cx="318252" cy="566235"/>
            </a:xfrm>
            <a:custGeom>
              <a:avLst/>
              <a:gdLst/>
              <a:ahLst/>
              <a:cxnLst/>
              <a:rect l="l" t="t" r="r" b="b"/>
              <a:pathLst>
                <a:path w="198" h="420" extrusionOk="0">
                  <a:moveTo>
                    <a:pt x="20" y="202"/>
                  </a:moveTo>
                  <a:lnTo>
                    <a:pt x="20" y="202"/>
                  </a:lnTo>
                  <a:lnTo>
                    <a:pt x="22" y="202"/>
                  </a:lnTo>
                  <a:lnTo>
                    <a:pt x="28" y="200"/>
                  </a:lnTo>
                  <a:lnTo>
                    <a:pt x="32" y="198"/>
                  </a:lnTo>
                  <a:lnTo>
                    <a:pt x="34" y="194"/>
                  </a:lnTo>
                  <a:lnTo>
                    <a:pt x="36" y="188"/>
                  </a:lnTo>
                  <a:lnTo>
                    <a:pt x="36" y="182"/>
                  </a:lnTo>
                  <a:lnTo>
                    <a:pt x="36" y="64"/>
                  </a:lnTo>
                  <a:lnTo>
                    <a:pt x="46" y="64"/>
                  </a:lnTo>
                  <a:lnTo>
                    <a:pt x="46" y="388"/>
                  </a:lnTo>
                  <a:lnTo>
                    <a:pt x="46" y="388"/>
                  </a:lnTo>
                  <a:lnTo>
                    <a:pt x="46" y="392"/>
                  </a:lnTo>
                  <a:lnTo>
                    <a:pt x="48" y="404"/>
                  </a:lnTo>
                  <a:lnTo>
                    <a:pt x="50" y="408"/>
                  </a:lnTo>
                  <a:lnTo>
                    <a:pt x="54" y="414"/>
                  </a:lnTo>
                  <a:lnTo>
                    <a:pt x="60" y="418"/>
                  </a:lnTo>
                  <a:lnTo>
                    <a:pt x="70" y="420"/>
                  </a:lnTo>
                  <a:lnTo>
                    <a:pt x="70" y="420"/>
                  </a:lnTo>
                  <a:lnTo>
                    <a:pt x="74" y="418"/>
                  </a:lnTo>
                  <a:lnTo>
                    <a:pt x="82" y="416"/>
                  </a:lnTo>
                  <a:lnTo>
                    <a:pt x="88" y="412"/>
                  </a:lnTo>
                  <a:lnTo>
                    <a:pt x="92" y="406"/>
                  </a:lnTo>
                  <a:lnTo>
                    <a:pt x="94" y="398"/>
                  </a:lnTo>
                  <a:lnTo>
                    <a:pt x="96" y="388"/>
                  </a:lnTo>
                  <a:lnTo>
                    <a:pt x="96" y="204"/>
                  </a:lnTo>
                  <a:lnTo>
                    <a:pt x="102" y="204"/>
                  </a:lnTo>
                  <a:lnTo>
                    <a:pt x="102" y="388"/>
                  </a:lnTo>
                  <a:lnTo>
                    <a:pt x="102" y="388"/>
                  </a:lnTo>
                  <a:lnTo>
                    <a:pt x="104" y="398"/>
                  </a:lnTo>
                  <a:lnTo>
                    <a:pt x="106" y="406"/>
                  </a:lnTo>
                  <a:lnTo>
                    <a:pt x="110" y="412"/>
                  </a:lnTo>
                  <a:lnTo>
                    <a:pt x="116" y="416"/>
                  </a:lnTo>
                  <a:lnTo>
                    <a:pt x="124" y="418"/>
                  </a:lnTo>
                  <a:lnTo>
                    <a:pt x="128" y="420"/>
                  </a:lnTo>
                  <a:lnTo>
                    <a:pt x="128" y="420"/>
                  </a:lnTo>
                  <a:lnTo>
                    <a:pt x="136" y="418"/>
                  </a:lnTo>
                  <a:lnTo>
                    <a:pt x="144" y="414"/>
                  </a:lnTo>
                  <a:lnTo>
                    <a:pt x="148" y="408"/>
                  </a:lnTo>
                  <a:lnTo>
                    <a:pt x="150" y="404"/>
                  </a:lnTo>
                  <a:lnTo>
                    <a:pt x="152" y="392"/>
                  </a:lnTo>
                  <a:lnTo>
                    <a:pt x="152" y="388"/>
                  </a:lnTo>
                  <a:lnTo>
                    <a:pt x="152" y="64"/>
                  </a:lnTo>
                  <a:lnTo>
                    <a:pt x="162" y="64"/>
                  </a:lnTo>
                  <a:lnTo>
                    <a:pt x="162" y="182"/>
                  </a:lnTo>
                  <a:lnTo>
                    <a:pt x="162" y="182"/>
                  </a:lnTo>
                  <a:lnTo>
                    <a:pt x="162" y="188"/>
                  </a:lnTo>
                  <a:lnTo>
                    <a:pt x="164" y="194"/>
                  </a:lnTo>
                  <a:lnTo>
                    <a:pt x="166" y="198"/>
                  </a:lnTo>
                  <a:lnTo>
                    <a:pt x="170" y="200"/>
                  </a:lnTo>
                  <a:lnTo>
                    <a:pt x="176" y="202"/>
                  </a:lnTo>
                  <a:lnTo>
                    <a:pt x="178" y="202"/>
                  </a:lnTo>
                  <a:lnTo>
                    <a:pt x="178" y="202"/>
                  </a:lnTo>
                  <a:lnTo>
                    <a:pt x="186" y="202"/>
                  </a:lnTo>
                  <a:lnTo>
                    <a:pt x="190" y="200"/>
                  </a:lnTo>
                  <a:lnTo>
                    <a:pt x="194" y="196"/>
                  </a:lnTo>
                  <a:lnTo>
                    <a:pt x="196" y="192"/>
                  </a:lnTo>
                  <a:lnTo>
                    <a:pt x="198" y="184"/>
                  </a:lnTo>
                  <a:lnTo>
                    <a:pt x="198" y="182"/>
                  </a:lnTo>
                  <a:lnTo>
                    <a:pt x="198" y="54"/>
                  </a:lnTo>
                  <a:lnTo>
                    <a:pt x="198" y="54"/>
                  </a:lnTo>
                  <a:lnTo>
                    <a:pt x="196" y="36"/>
                  </a:lnTo>
                  <a:lnTo>
                    <a:pt x="192" y="22"/>
                  </a:lnTo>
                  <a:lnTo>
                    <a:pt x="184" y="14"/>
                  </a:lnTo>
                  <a:lnTo>
                    <a:pt x="176" y="8"/>
                  </a:lnTo>
                  <a:lnTo>
                    <a:pt x="168" y="4"/>
                  </a:lnTo>
                  <a:lnTo>
                    <a:pt x="162" y="2"/>
                  </a:lnTo>
                  <a:lnTo>
                    <a:pt x="154" y="0"/>
                  </a:lnTo>
                  <a:lnTo>
                    <a:pt x="44" y="0"/>
                  </a:lnTo>
                  <a:lnTo>
                    <a:pt x="44" y="0"/>
                  </a:lnTo>
                  <a:lnTo>
                    <a:pt x="36" y="2"/>
                  </a:lnTo>
                  <a:lnTo>
                    <a:pt x="30" y="4"/>
                  </a:lnTo>
                  <a:lnTo>
                    <a:pt x="22" y="8"/>
                  </a:lnTo>
                  <a:lnTo>
                    <a:pt x="14" y="14"/>
                  </a:lnTo>
                  <a:lnTo>
                    <a:pt x="6" y="22"/>
                  </a:lnTo>
                  <a:lnTo>
                    <a:pt x="2" y="36"/>
                  </a:lnTo>
                  <a:lnTo>
                    <a:pt x="0" y="54"/>
                  </a:lnTo>
                  <a:lnTo>
                    <a:pt x="0" y="182"/>
                  </a:lnTo>
                  <a:lnTo>
                    <a:pt x="0" y="182"/>
                  </a:lnTo>
                  <a:lnTo>
                    <a:pt x="0" y="184"/>
                  </a:lnTo>
                  <a:lnTo>
                    <a:pt x="2" y="192"/>
                  </a:lnTo>
                  <a:lnTo>
                    <a:pt x="4" y="196"/>
                  </a:lnTo>
                  <a:lnTo>
                    <a:pt x="8" y="200"/>
                  </a:lnTo>
                  <a:lnTo>
                    <a:pt x="12" y="202"/>
                  </a:lnTo>
                  <a:lnTo>
                    <a:pt x="20" y="202"/>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sp>
          <p:nvSpPr>
            <p:cNvPr id="39" name="Google Shape;462;p5">
              <a:extLst>
                <a:ext uri="{FF2B5EF4-FFF2-40B4-BE49-F238E27FC236}">
                  <a16:creationId xmlns:a16="http://schemas.microsoft.com/office/drawing/2014/main" id="{B2EA5B44-E435-1F08-E7FA-B31E5D8113D7}"/>
                </a:ext>
              </a:extLst>
            </p:cNvPr>
            <p:cNvSpPr/>
            <p:nvPr/>
          </p:nvSpPr>
          <p:spPr>
            <a:xfrm>
              <a:off x="4786509" y="4541490"/>
              <a:ext cx="131801" cy="110550"/>
            </a:xfrm>
            <a:custGeom>
              <a:avLst/>
              <a:gdLst/>
              <a:ahLst/>
              <a:cxnLst/>
              <a:rect l="l" t="t" r="r" b="b"/>
              <a:pathLst>
                <a:path w="82" h="82" extrusionOk="0">
                  <a:moveTo>
                    <a:pt x="42" y="82"/>
                  </a:moveTo>
                  <a:lnTo>
                    <a:pt x="42" y="82"/>
                  </a:lnTo>
                  <a:lnTo>
                    <a:pt x="34" y="82"/>
                  </a:lnTo>
                  <a:lnTo>
                    <a:pt x="26" y="80"/>
                  </a:lnTo>
                  <a:lnTo>
                    <a:pt x="18" y="76"/>
                  </a:lnTo>
                  <a:lnTo>
                    <a:pt x="12" y="70"/>
                  </a:lnTo>
                  <a:lnTo>
                    <a:pt x="8" y="64"/>
                  </a:lnTo>
                  <a:lnTo>
                    <a:pt x="4" y="58"/>
                  </a:lnTo>
                  <a:lnTo>
                    <a:pt x="2" y="50"/>
                  </a:lnTo>
                  <a:lnTo>
                    <a:pt x="0" y="42"/>
                  </a:lnTo>
                  <a:lnTo>
                    <a:pt x="0" y="42"/>
                  </a:lnTo>
                  <a:lnTo>
                    <a:pt x="2" y="32"/>
                  </a:lnTo>
                  <a:lnTo>
                    <a:pt x="4" y="26"/>
                  </a:lnTo>
                  <a:lnTo>
                    <a:pt x="8" y="18"/>
                  </a:lnTo>
                  <a:lnTo>
                    <a:pt x="12" y="12"/>
                  </a:lnTo>
                  <a:lnTo>
                    <a:pt x="18" y="8"/>
                  </a:lnTo>
                  <a:lnTo>
                    <a:pt x="26" y="4"/>
                  </a:lnTo>
                  <a:lnTo>
                    <a:pt x="34" y="0"/>
                  </a:lnTo>
                  <a:lnTo>
                    <a:pt x="42" y="0"/>
                  </a:lnTo>
                  <a:lnTo>
                    <a:pt x="42" y="0"/>
                  </a:lnTo>
                  <a:lnTo>
                    <a:pt x="50" y="0"/>
                  </a:lnTo>
                  <a:lnTo>
                    <a:pt x="58" y="4"/>
                  </a:lnTo>
                  <a:lnTo>
                    <a:pt x="64" y="8"/>
                  </a:lnTo>
                  <a:lnTo>
                    <a:pt x="70" y="12"/>
                  </a:lnTo>
                  <a:lnTo>
                    <a:pt x="76" y="18"/>
                  </a:lnTo>
                  <a:lnTo>
                    <a:pt x="80" y="26"/>
                  </a:lnTo>
                  <a:lnTo>
                    <a:pt x="82" y="32"/>
                  </a:lnTo>
                  <a:lnTo>
                    <a:pt x="82" y="42"/>
                  </a:lnTo>
                  <a:lnTo>
                    <a:pt x="82" y="42"/>
                  </a:lnTo>
                  <a:lnTo>
                    <a:pt x="82" y="50"/>
                  </a:lnTo>
                  <a:lnTo>
                    <a:pt x="80" y="58"/>
                  </a:lnTo>
                  <a:lnTo>
                    <a:pt x="76" y="64"/>
                  </a:lnTo>
                  <a:lnTo>
                    <a:pt x="70" y="70"/>
                  </a:lnTo>
                  <a:lnTo>
                    <a:pt x="64" y="76"/>
                  </a:lnTo>
                  <a:lnTo>
                    <a:pt x="58" y="80"/>
                  </a:lnTo>
                  <a:lnTo>
                    <a:pt x="50" y="82"/>
                  </a:lnTo>
                  <a:lnTo>
                    <a:pt x="42" y="82"/>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sp>
          <p:nvSpPr>
            <p:cNvPr id="40" name="Google Shape;463;p5">
              <a:extLst>
                <a:ext uri="{FF2B5EF4-FFF2-40B4-BE49-F238E27FC236}">
                  <a16:creationId xmlns:a16="http://schemas.microsoft.com/office/drawing/2014/main" id="{7E149223-3896-D328-0D8F-64DFB117F95A}"/>
                </a:ext>
              </a:extLst>
            </p:cNvPr>
            <p:cNvSpPr/>
            <p:nvPr/>
          </p:nvSpPr>
          <p:spPr>
            <a:xfrm>
              <a:off x="4696496" y="4686969"/>
              <a:ext cx="318252" cy="566235"/>
            </a:xfrm>
            <a:custGeom>
              <a:avLst/>
              <a:gdLst/>
              <a:ahLst/>
              <a:cxnLst/>
              <a:rect l="l" t="t" r="r" b="b"/>
              <a:pathLst>
                <a:path w="198" h="420" extrusionOk="0">
                  <a:moveTo>
                    <a:pt x="18" y="202"/>
                  </a:moveTo>
                  <a:lnTo>
                    <a:pt x="18" y="202"/>
                  </a:lnTo>
                  <a:lnTo>
                    <a:pt x="22" y="202"/>
                  </a:lnTo>
                  <a:lnTo>
                    <a:pt x="28" y="200"/>
                  </a:lnTo>
                  <a:lnTo>
                    <a:pt x="30" y="198"/>
                  </a:lnTo>
                  <a:lnTo>
                    <a:pt x="34" y="194"/>
                  </a:lnTo>
                  <a:lnTo>
                    <a:pt x="36" y="188"/>
                  </a:lnTo>
                  <a:lnTo>
                    <a:pt x="36" y="182"/>
                  </a:lnTo>
                  <a:lnTo>
                    <a:pt x="36" y="64"/>
                  </a:lnTo>
                  <a:lnTo>
                    <a:pt x="46" y="64"/>
                  </a:lnTo>
                  <a:lnTo>
                    <a:pt x="46" y="388"/>
                  </a:lnTo>
                  <a:lnTo>
                    <a:pt x="46" y="388"/>
                  </a:lnTo>
                  <a:lnTo>
                    <a:pt x="46" y="392"/>
                  </a:lnTo>
                  <a:lnTo>
                    <a:pt x="48" y="404"/>
                  </a:lnTo>
                  <a:lnTo>
                    <a:pt x="50" y="408"/>
                  </a:lnTo>
                  <a:lnTo>
                    <a:pt x="54" y="414"/>
                  </a:lnTo>
                  <a:lnTo>
                    <a:pt x="60" y="418"/>
                  </a:lnTo>
                  <a:lnTo>
                    <a:pt x="70" y="420"/>
                  </a:lnTo>
                  <a:lnTo>
                    <a:pt x="70" y="420"/>
                  </a:lnTo>
                  <a:lnTo>
                    <a:pt x="74" y="418"/>
                  </a:lnTo>
                  <a:lnTo>
                    <a:pt x="82" y="416"/>
                  </a:lnTo>
                  <a:lnTo>
                    <a:pt x="86" y="412"/>
                  </a:lnTo>
                  <a:lnTo>
                    <a:pt x="90" y="406"/>
                  </a:lnTo>
                  <a:lnTo>
                    <a:pt x="94" y="398"/>
                  </a:lnTo>
                  <a:lnTo>
                    <a:pt x="96" y="388"/>
                  </a:lnTo>
                  <a:lnTo>
                    <a:pt x="96" y="204"/>
                  </a:lnTo>
                  <a:lnTo>
                    <a:pt x="102" y="204"/>
                  </a:lnTo>
                  <a:lnTo>
                    <a:pt x="102" y="388"/>
                  </a:lnTo>
                  <a:lnTo>
                    <a:pt x="102" y="388"/>
                  </a:lnTo>
                  <a:lnTo>
                    <a:pt x="104" y="398"/>
                  </a:lnTo>
                  <a:lnTo>
                    <a:pt x="106" y="406"/>
                  </a:lnTo>
                  <a:lnTo>
                    <a:pt x="110" y="412"/>
                  </a:lnTo>
                  <a:lnTo>
                    <a:pt x="116" y="416"/>
                  </a:lnTo>
                  <a:lnTo>
                    <a:pt x="124" y="418"/>
                  </a:lnTo>
                  <a:lnTo>
                    <a:pt x="128" y="420"/>
                  </a:lnTo>
                  <a:lnTo>
                    <a:pt x="128" y="420"/>
                  </a:lnTo>
                  <a:lnTo>
                    <a:pt x="136" y="418"/>
                  </a:lnTo>
                  <a:lnTo>
                    <a:pt x="142" y="414"/>
                  </a:lnTo>
                  <a:lnTo>
                    <a:pt x="148" y="408"/>
                  </a:lnTo>
                  <a:lnTo>
                    <a:pt x="150" y="404"/>
                  </a:lnTo>
                  <a:lnTo>
                    <a:pt x="152" y="392"/>
                  </a:lnTo>
                  <a:lnTo>
                    <a:pt x="152" y="388"/>
                  </a:lnTo>
                  <a:lnTo>
                    <a:pt x="152" y="64"/>
                  </a:lnTo>
                  <a:lnTo>
                    <a:pt x="160" y="64"/>
                  </a:lnTo>
                  <a:lnTo>
                    <a:pt x="160" y="182"/>
                  </a:lnTo>
                  <a:lnTo>
                    <a:pt x="160" y="182"/>
                  </a:lnTo>
                  <a:lnTo>
                    <a:pt x="162" y="188"/>
                  </a:lnTo>
                  <a:lnTo>
                    <a:pt x="164" y="194"/>
                  </a:lnTo>
                  <a:lnTo>
                    <a:pt x="166" y="198"/>
                  </a:lnTo>
                  <a:lnTo>
                    <a:pt x="170" y="200"/>
                  </a:lnTo>
                  <a:lnTo>
                    <a:pt x="176" y="202"/>
                  </a:lnTo>
                  <a:lnTo>
                    <a:pt x="178" y="202"/>
                  </a:lnTo>
                  <a:lnTo>
                    <a:pt x="178" y="202"/>
                  </a:lnTo>
                  <a:lnTo>
                    <a:pt x="186" y="202"/>
                  </a:lnTo>
                  <a:lnTo>
                    <a:pt x="190" y="200"/>
                  </a:lnTo>
                  <a:lnTo>
                    <a:pt x="194" y="196"/>
                  </a:lnTo>
                  <a:lnTo>
                    <a:pt x="196" y="192"/>
                  </a:lnTo>
                  <a:lnTo>
                    <a:pt x="198" y="184"/>
                  </a:lnTo>
                  <a:lnTo>
                    <a:pt x="198" y="182"/>
                  </a:lnTo>
                  <a:lnTo>
                    <a:pt x="198" y="54"/>
                  </a:lnTo>
                  <a:lnTo>
                    <a:pt x="198" y="54"/>
                  </a:lnTo>
                  <a:lnTo>
                    <a:pt x="196" y="36"/>
                  </a:lnTo>
                  <a:lnTo>
                    <a:pt x="192" y="22"/>
                  </a:lnTo>
                  <a:lnTo>
                    <a:pt x="184" y="14"/>
                  </a:lnTo>
                  <a:lnTo>
                    <a:pt x="176" y="8"/>
                  </a:lnTo>
                  <a:lnTo>
                    <a:pt x="168" y="4"/>
                  </a:lnTo>
                  <a:lnTo>
                    <a:pt x="160" y="2"/>
                  </a:lnTo>
                  <a:lnTo>
                    <a:pt x="154" y="0"/>
                  </a:lnTo>
                  <a:lnTo>
                    <a:pt x="44" y="0"/>
                  </a:lnTo>
                  <a:lnTo>
                    <a:pt x="44" y="0"/>
                  </a:lnTo>
                  <a:lnTo>
                    <a:pt x="36" y="2"/>
                  </a:lnTo>
                  <a:lnTo>
                    <a:pt x="30" y="4"/>
                  </a:lnTo>
                  <a:lnTo>
                    <a:pt x="22" y="8"/>
                  </a:lnTo>
                  <a:lnTo>
                    <a:pt x="14" y="14"/>
                  </a:lnTo>
                  <a:lnTo>
                    <a:pt x="6" y="22"/>
                  </a:lnTo>
                  <a:lnTo>
                    <a:pt x="2" y="36"/>
                  </a:lnTo>
                  <a:lnTo>
                    <a:pt x="0" y="54"/>
                  </a:lnTo>
                  <a:lnTo>
                    <a:pt x="0" y="182"/>
                  </a:lnTo>
                  <a:lnTo>
                    <a:pt x="0" y="182"/>
                  </a:lnTo>
                  <a:lnTo>
                    <a:pt x="0" y="184"/>
                  </a:lnTo>
                  <a:lnTo>
                    <a:pt x="2" y="192"/>
                  </a:lnTo>
                  <a:lnTo>
                    <a:pt x="4" y="196"/>
                  </a:lnTo>
                  <a:lnTo>
                    <a:pt x="8" y="200"/>
                  </a:lnTo>
                  <a:lnTo>
                    <a:pt x="12" y="202"/>
                  </a:lnTo>
                  <a:lnTo>
                    <a:pt x="18" y="202"/>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sp>
          <p:nvSpPr>
            <p:cNvPr id="41" name="Google Shape;464;p5">
              <a:extLst>
                <a:ext uri="{FF2B5EF4-FFF2-40B4-BE49-F238E27FC236}">
                  <a16:creationId xmlns:a16="http://schemas.microsoft.com/office/drawing/2014/main" id="{A1671EF3-1C28-0C7C-1350-2E4A20187887}"/>
                </a:ext>
              </a:extLst>
            </p:cNvPr>
            <p:cNvSpPr/>
            <p:nvPr/>
          </p:nvSpPr>
          <p:spPr>
            <a:xfrm>
              <a:off x="4415987" y="4536410"/>
              <a:ext cx="135016" cy="115944"/>
            </a:xfrm>
            <a:custGeom>
              <a:avLst/>
              <a:gdLst/>
              <a:ahLst/>
              <a:cxnLst/>
              <a:rect l="l" t="t" r="r" b="b"/>
              <a:pathLst>
                <a:path w="84" h="86" extrusionOk="0">
                  <a:moveTo>
                    <a:pt x="0" y="44"/>
                  </a:moveTo>
                  <a:lnTo>
                    <a:pt x="0" y="44"/>
                  </a:lnTo>
                  <a:lnTo>
                    <a:pt x="0" y="52"/>
                  </a:lnTo>
                  <a:lnTo>
                    <a:pt x="2" y="60"/>
                  </a:lnTo>
                  <a:lnTo>
                    <a:pt x="6" y="66"/>
                  </a:lnTo>
                  <a:lnTo>
                    <a:pt x="12" y="74"/>
                  </a:lnTo>
                  <a:lnTo>
                    <a:pt x="18" y="78"/>
                  </a:lnTo>
                  <a:lnTo>
                    <a:pt x="26" y="82"/>
                  </a:lnTo>
                  <a:lnTo>
                    <a:pt x="34" y="84"/>
                  </a:lnTo>
                  <a:lnTo>
                    <a:pt x="42" y="86"/>
                  </a:lnTo>
                  <a:lnTo>
                    <a:pt x="42" y="86"/>
                  </a:lnTo>
                  <a:lnTo>
                    <a:pt x="50" y="84"/>
                  </a:lnTo>
                  <a:lnTo>
                    <a:pt x="58" y="82"/>
                  </a:lnTo>
                  <a:lnTo>
                    <a:pt x="66" y="78"/>
                  </a:lnTo>
                  <a:lnTo>
                    <a:pt x="72" y="74"/>
                  </a:lnTo>
                  <a:lnTo>
                    <a:pt x="76" y="66"/>
                  </a:lnTo>
                  <a:lnTo>
                    <a:pt x="80" y="60"/>
                  </a:lnTo>
                  <a:lnTo>
                    <a:pt x="84" y="52"/>
                  </a:lnTo>
                  <a:lnTo>
                    <a:pt x="84" y="44"/>
                  </a:lnTo>
                  <a:lnTo>
                    <a:pt x="84" y="44"/>
                  </a:lnTo>
                  <a:lnTo>
                    <a:pt x="84" y="34"/>
                  </a:lnTo>
                  <a:lnTo>
                    <a:pt x="80" y="26"/>
                  </a:lnTo>
                  <a:lnTo>
                    <a:pt x="76" y="20"/>
                  </a:lnTo>
                  <a:lnTo>
                    <a:pt x="72" y="14"/>
                  </a:lnTo>
                  <a:lnTo>
                    <a:pt x="66" y="8"/>
                  </a:lnTo>
                  <a:lnTo>
                    <a:pt x="58" y="4"/>
                  </a:lnTo>
                  <a:lnTo>
                    <a:pt x="50" y="2"/>
                  </a:lnTo>
                  <a:lnTo>
                    <a:pt x="42" y="0"/>
                  </a:lnTo>
                  <a:lnTo>
                    <a:pt x="42" y="0"/>
                  </a:lnTo>
                  <a:lnTo>
                    <a:pt x="34" y="2"/>
                  </a:lnTo>
                  <a:lnTo>
                    <a:pt x="26" y="4"/>
                  </a:lnTo>
                  <a:lnTo>
                    <a:pt x="18" y="8"/>
                  </a:lnTo>
                  <a:lnTo>
                    <a:pt x="12" y="14"/>
                  </a:lnTo>
                  <a:lnTo>
                    <a:pt x="6" y="20"/>
                  </a:lnTo>
                  <a:lnTo>
                    <a:pt x="2" y="26"/>
                  </a:lnTo>
                  <a:lnTo>
                    <a:pt x="0" y="34"/>
                  </a:lnTo>
                  <a:lnTo>
                    <a:pt x="0" y="44"/>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sp>
          <p:nvSpPr>
            <p:cNvPr id="42" name="Google Shape;465;p5">
              <a:extLst>
                <a:ext uri="{FF2B5EF4-FFF2-40B4-BE49-F238E27FC236}">
                  <a16:creationId xmlns:a16="http://schemas.microsoft.com/office/drawing/2014/main" id="{15971394-BA1E-3D1D-9F46-4243F73FFDBE}"/>
                </a:ext>
              </a:extLst>
            </p:cNvPr>
            <p:cNvSpPr/>
            <p:nvPr/>
          </p:nvSpPr>
          <p:spPr>
            <a:xfrm>
              <a:off x="4275375" y="4693030"/>
              <a:ext cx="385760" cy="574325"/>
            </a:xfrm>
            <a:custGeom>
              <a:avLst/>
              <a:gdLst/>
              <a:ahLst/>
              <a:cxnLst/>
              <a:rect l="l" t="t" r="r" b="b"/>
              <a:pathLst>
                <a:path w="240" h="426" extrusionOk="0">
                  <a:moveTo>
                    <a:pt x="238" y="156"/>
                  </a:moveTo>
                  <a:lnTo>
                    <a:pt x="202" y="36"/>
                  </a:lnTo>
                  <a:lnTo>
                    <a:pt x="202" y="36"/>
                  </a:lnTo>
                  <a:lnTo>
                    <a:pt x="198" y="30"/>
                  </a:lnTo>
                  <a:lnTo>
                    <a:pt x="190" y="18"/>
                  </a:lnTo>
                  <a:lnTo>
                    <a:pt x="184" y="12"/>
                  </a:lnTo>
                  <a:lnTo>
                    <a:pt x="176" y="6"/>
                  </a:lnTo>
                  <a:lnTo>
                    <a:pt x="166" y="2"/>
                  </a:lnTo>
                  <a:lnTo>
                    <a:pt x="154" y="0"/>
                  </a:lnTo>
                  <a:lnTo>
                    <a:pt x="80" y="0"/>
                  </a:lnTo>
                  <a:lnTo>
                    <a:pt x="80" y="0"/>
                  </a:lnTo>
                  <a:lnTo>
                    <a:pt x="74" y="0"/>
                  </a:lnTo>
                  <a:lnTo>
                    <a:pt x="68" y="2"/>
                  </a:lnTo>
                  <a:lnTo>
                    <a:pt x="62" y="6"/>
                  </a:lnTo>
                  <a:lnTo>
                    <a:pt x="54" y="12"/>
                  </a:lnTo>
                  <a:lnTo>
                    <a:pt x="48" y="20"/>
                  </a:lnTo>
                  <a:lnTo>
                    <a:pt x="40" y="32"/>
                  </a:lnTo>
                  <a:lnTo>
                    <a:pt x="36" y="48"/>
                  </a:lnTo>
                  <a:lnTo>
                    <a:pt x="4" y="158"/>
                  </a:lnTo>
                  <a:lnTo>
                    <a:pt x="4" y="158"/>
                  </a:lnTo>
                  <a:lnTo>
                    <a:pt x="2" y="162"/>
                  </a:lnTo>
                  <a:lnTo>
                    <a:pt x="0" y="170"/>
                  </a:lnTo>
                  <a:lnTo>
                    <a:pt x="0" y="174"/>
                  </a:lnTo>
                  <a:lnTo>
                    <a:pt x="2" y="180"/>
                  </a:lnTo>
                  <a:lnTo>
                    <a:pt x="6" y="184"/>
                  </a:lnTo>
                  <a:lnTo>
                    <a:pt x="14" y="186"/>
                  </a:lnTo>
                  <a:lnTo>
                    <a:pt x="14" y="186"/>
                  </a:lnTo>
                  <a:lnTo>
                    <a:pt x="16" y="186"/>
                  </a:lnTo>
                  <a:lnTo>
                    <a:pt x="24" y="184"/>
                  </a:lnTo>
                  <a:lnTo>
                    <a:pt x="28" y="182"/>
                  </a:lnTo>
                  <a:lnTo>
                    <a:pt x="32" y="178"/>
                  </a:lnTo>
                  <a:lnTo>
                    <a:pt x="34" y="172"/>
                  </a:lnTo>
                  <a:lnTo>
                    <a:pt x="38" y="162"/>
                  </a:lnTo>
                  <a:lnTo>
                    <a:pt x="68" y="60"/>
                  </a:lnTo>
                  <a:lnTo>
                    <a:pt x="78" y="60"/>
                  </a:lnTo>
                  <a:lnTo>
                    <a:pt x="20" y="256"/>
                  </a:lnTo>
                  <a:lnTo>
                    <a:pt x="76" y="256"/>
                  </a:lnTo>
                  <a:lnTo>
                    <a:pt x="76" y="408"/>
                  </a:lnTo>
                  <a:lnTo>
                    <a:pt x="76" y="408"/>
                  </a:lnTo>
                  <a:lnTo>
                    <a:pt x="76" y="412"/>
                  </a:lnTo>
                  <a:lnTo>
                    <a:pt x="78" y="418"/>
                  </a:lnTo>
                  <a:lnTo>
                    <a:pt x="80" y="420"/>
                  </a:lnTo>
                  <a:lnTo>
                    <a:pt x="84" y="424"/>
                  </a:lnTo>
                  <a:lnTo>
                    <a:pt x="88" y="426"/>
                  </a:lnTo>
                  <a:lnTo>
                    <a:pt x="94" y="426"/>
                  </a:lnTo>
                  <a:lnTo>
                    <a:pt x="94" y="426"/>
                  </a:lnTo>
                  <a:lnTo>
                    <a:pt x="98" y="426"/>
                  </a:lnTo>
                  <a:lnTo>
                    <a:pt x="104" y="424"/>
                  </a:lnTo>
                  <a:lnTo>
                    <a:pt x="108" y="422"/>
                  </a:lnTo>
                  <a:lnTo>
                    <a:pt x="112" y="418"/>
                  </a:lnTo>
                  <a:lnTo>
                    <a:pt x="114" y="414"/>
                  </a:lnTo>
                  <a:lnTo>
                    <a:pt x="114" y="408"/>
                  </a:lnTo>
                  <a:lnTo>
                    <a:pt x="114" y="258"/>
                  </a:lnTo>
                  <a:lnTo>
                    <a:pt x="126" y="258"/>
                  </a:lnTo>
                  <a:lnTo>
                    <a:pt x="126" y="412"/>
                  </a:lnTo>
                  <a:lnTo>
                    <a:pt x="126" y="412"/>
                  </a:lnTo>
                  <a:lnTo>
                    <a:pt x="126" y="414"/>
                  </a:lnTo>
                  <a:lnTo>
                    <a:pt x="130" y="418"/>
                  </a:lnTo>
                  <a:lnTo>
                    <a:pt x="136" y="424"/>
                  </a:lnTo>
                  <a:lnTo>
                    <a:pt x="140" y="426"/>
                  </a:lnTo>
                  <a:lnTo>
                    <a:pt x="146" y="426"/>
                  </a:lnTo>
                  <a:lnTo>
                    <a:pt x="146" y="426"/>
                  </a:lnTo>
                  <a:lnTo>
                    <a:pt x="150" y="426"/>
                  </a:lnTo>
                  <a:lnTo>
                    <a:pt x="156" y="424"/>
                  </a:lnTo>
                  <a:lnTo>
                    <a:pt x="160" y="422"/>
                  </a:lnTo>
                  <a:lnTo>
                    <a:pt x="164" y="418"/>
                  </a:lnTo>
                  <a:lnTo>
                    <a:pt x="166" y="412"/>
                  </a:lnTo>
                  <a:lnTo>
                    <a:pt x="166" y="406"/>
                  </a:lnTo>
                  <a:lnTo>
                    <a:pt x="166" y="260"/>
                  </a:lnTo>
                  <a:lnTo>
                    <a:pt x="220" y="260"/>
                  </a:lnTo>
                  <a:lnTo>
                    <a:pt x="164" y="62"/>
                  </a:lnTo>
                  <a:lnTo>
                    <a:pt x="174" y="62"/>
                  </a:lnTo>
                  <a:lnTo>
                    <a:pt x="204" y="172"/>
                  </a:lnTo>
                  <a:lnTo>
                    <a:pt x="204" y="172"/>
                  </a:lnTo>
                  <a:lnTo>
                    <a:pt x="206" y="176"/>
                  </a:lnTo>
                  <a:lnTo>
                    <a:pt x="210" y="180"/>
                  </a:lnTo>
                  <a:lnTo>
                    <a:pt x="218" y="184"/>
                  </a:lnTo>
                  <a:lnTo>
                    <a:pt x="222" y="186"/>
                  </a:lnTo>
                  <a:lnTo>
                    <a:pt x="228" y="184"/>
                  </a:lnTo>
                  <a:lnTo>
                    <a:pt x="228" y="184"/>
                  </a:lnTo>
                  <a:lnTo>
                    <a:pt x="230" y="184"/>
                  </a:lnTo>
                  <a:lnTo>
                    <a:pt x="236" y="180"/>
                  </a:lnTo>
                  <a:lnTo>
                    <a:pt x="238" y="176"/>
                  </a:lnTo>
                  <a:lnTo>
                    <a:pt x="240" y="172"/>
                  </a:lnTo>
                  <a:lnTo>
                    <a:pt x="240" y="164"/>
                  </a:lnTo>
                  <a:lnTo>
                    <a:pt x="238" y="156"/>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grpSp>
      <p:sp>
        <p:nvSpPr>
          <p:cNvPr id="43" name="Google Shape;439;p5">
            <a:extLst>
              <a:ext uri="{FF2B5EF4-FFF2-40B4-BE49-F238E27FC236}">
                <a16:creationId xmlns:a16="http://schemas.microsoft.com/office/drawing/2014/main" id="{E9289148-794F-7D15-467A-1790D68B42C1}"/>
              </a:ext>
            </a:extLst>
          </p:cNvPr>
          <p:cNvSpPr/>
          <p:nvPr/>
        </p:nvSpPr>
        <p:spPr>
          <a:xfrm>
            <a:off x="971124" y="5111901"/>
            <a:ext cx="2742957" cy="637760"/>
          </a:xfrm>
          <a:prstGeom prst="roundRect">
            <a:avLst>
              <a:gd name="adj" fmla="val 50000"/>
            </a:avLst>
          </a:prstGeom>
          <a:solidFill>
            <a:schemeClr val="tx1">
              <a:lumMod val="50000"/>
              <a:lumOff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chemeClr val="dk1"/>
              </a:buClr>
              <a:buSzPts val="1200"/>
            </a:pPr>
            <a:endParaRPr sz="1200">
              <a:solidFill>
                <a:srgbClr val="FFFFFF"/>
              </a:solidFill>
              <a:latin typeface="Calibri"/>
              <a:ea typeface="Calibri"/>
              <a:cs typeface="Calibri"/>
              <a:sym typeface="Calibri"/>
            </a:endParaRPr>
          </a:p>
        </p:txBody>
      </p:sp>
      <p:sp>
        <p:nvSpPr>
          <p:cNvPr id="44" name="Google Shape;445;p5">
            <a:extLst>
              <a:ext uri="{FF2B5EF4-FFF2-40B4-BE49-F238E27FC236}">
                <a16:creationId xmlns:a16="http://schemas.microsoft.com/office/drawing/2014/main" id="{FAF34B5E-3984-085D-5BB1-98A834AF19DB}"/>
              </a:ext>
            </a:extLst>
          </p:cNvPr>
          <p:cNvSpPr/>
          <p:nvPr/>
        </p:nvSpPr>
        <p:spPr>
          <a:xfrm>
            <a:off x="162223" y="5117743"/>
            <a:ext cx="684000" cy="684000"/>
          </a:xfrm>
          <a:prstGeom prst="flowChartConnector">
            <a:avLst/>
          </a:prstGeom>
          <a:solidFill>
            <a:schemeClr val="tx1">
              <a:lumMod val="50000"/>
              <a:lumOff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rgbClr val="000000"/>
              </a:buClr>
              <a:buSzPts val="1400"/>
            </a:pPr>
            <a:endParaRPr sz="1400">
              <a:solidFill>
                <a:srgbClr val="FFFFFF"/>
              </a:solidFill>
              <a:latin typeface="Calibri"/>
              <a:ea typeface="Calibri"/>
              <a:cs typeface="Calibri"/>
              <a:sym typeface="Calibri"/>
            </a:endParaRPr>
          </a:p>
        </p:txBody>
      </p:sp>
      <p:sp>
        <p:nvSpPr>
          <p:cNvPr id="45" name="Google Shape;440;p5">
            <a:extLst>
              <a:ext uri="{FF2B5EF4-FFF2-40B4-BE49-F238E27FC236}">
                <a16:creationId xmlns:a16="http://schemas.microsoft.com/office/drawing/2014/main" id="{6E8FE380-50F6-2288-0684-716C205A6DBD}"/>
              </a:ext>
            </a:extLst>
          </p:cNvPr>
          <p:cNvSpPr txBox="1"/>
          <p:nvPr/>
        </p:nvSpPr>
        <p:spPr>
          <a:xfrm>
            <a:off x="1219150" y="5292305"/>
            <a:ext cx="2776940" cy="276959"/>
          </a:xfrm>
          <a:prstGeom prst="rect">
            <a:avLst/>
          </a:prstGeom>
          <a:noFill/>
          <a:ln>
            <a:noFill/>
          </a:ln>
        </p:spPr>
        <p:txBody>
          <a:bodyPr spcFirstLastPara="1" wrap="square" lIns="91425" tIns="45700" rIns="91425" bIns="4570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r>
              <a:rPr lang="el-GR" sz="1200" b="1">
                <a:solidFill>
                  <a:srgbClr val="FFFFFF"/>
                </a:solidFill>
                <a:latin typeface="Arial" panose="020B0604020202020204" pitchFamily="34" charset="0"/>
                <a:ea typeface="Calibri"/>
                <a:cs typeface="Arial" panose="020B0604020202020204" pitchFamily="34" charset="0"/>
                <a:sym typeface="Calibri"/>
              </a:rPr>
              <a:t>6. Τεχνική Βοήθεια</a:t>
            </a:r>
          </a:p>
        </p:txBody>
      </p:sp>
      <p:sp>
        <p:nvSpPr>
          <p:cNvPr id="46" name="Freeform 5">
            <a:extLst>
              <a:ext uri="{FF2B5EF4-FFF2-40B4-BE49-F238E27FC236}">
                <a16:creationId xmlns:a16="http://schemas.microsoft.com/office/drawing/2014/main" id="{4005798E-BBE6-C1E7-397F-09691E67E11B}"/>
              </a:ext>
            </a:extLst>
          </p:cNvPr>
          <p:cNvSpPr>
            <a:spLocks noChangeAspect="1" noEditPoints="1"/>
          </p:cNvSpPr>
          <p:nvPr/>
        </p:nvSpPr>
        <p:spPr bwMode="auto">
          <a:xfrm>
            <a:off x="258108" y="5223999"/>
            <a:ext cx="488949" cy="471488"/>
          </a:xfrm>
          <a:custGeom>
            <a:avLst/>
            <a:gdLst>
              <a:gd name="T0" fmla="*/ 124 w 200"/>
              <a:gd name="T1" fmla="*/ 2 h 194"/>
              <a:gd name="T2" fmla="*/ 100 w 200"/>
              <a:gd name="T3" fmla="*/ 15 h 194"/>
              <a:gd name="T4" fmla="*/ 76 w 200"/>
              <a:gd name="T5" fmla="*/ 2 h 194"/>
              <a:gd name="T6" fmla="*/ 66 w 200"/>
              <a:gd name="T7" fmla="*/ 1 h 194"/>
              <a:gd name="T8" fmla="*/ 30 w 200"/>
              <a:gd name="T9" fmla="*/ 29 h 194"/>
              <a:gd name="T10" fmla="*/ 25 w 200"/>
              <a:gd name="T11" fmla="*/ 65 h 194"/>
              <a:gd name="T12" fmla="*/ 0 w 200"/>
              <a:gd name="T13" fmla="*/ 78 h 194"/>
              <a:gd name="T14" fmla="*/ 6 w 200"/>
              <a:gd name="T15" fmla="*/ 123 h 194"/>
              <a:gd name="T16" fmla="*/ 35 w 200"/>
              <a:gd name="T17" fmla="*/ 146 h 194"/>
              <a:gd name="T18" fmla="*/ 34 w 200"/>
              <a:gd name="T19" fmla="*/ 174 h 194"/>
              <a:gd name="T20" fmla="*/ 70 w 200"/>
              <a:gd name="T21" fmla="*/ 194 h 194"/>
              <a:gd name="T22" fmla="*/ 90 w 200"/>
              <a:gd name="T23" fmla="*/ 177 h 194"/>
              <a:gd name="T24" fmla="*/ 110 w 200"/>
              <a:gd name="T25" fmla="*/ 177 h 194"/>
              <a:gd name="T26" fmla="*/ 130 w 200"/>
              <a:gd name="T27" fmla="*/ 194 h 194"/>
              <a:gd name="T28" fmla="*/ 166 w 200"/>
              <a:gd name="T29" fmla="*/ 174 h 194"/>
              <a:gd name="T30" fmla="*/ 165 w 200"/>
              <a:gd name="T31" fmla="*/ 146 h 194"/>
              <a:gd name="T32" fmla="*/ 194 w 200"/>
              <a:gd name="T33" fmla="*/ 123 h 194"/>
              <a:gd name="T34" fmla="*/ 200 w 200"/>
              <a:gd name="T35" fmla="*/ 78 h 194"/>
              <a:gd name="T36" fmla="*/ 175 w 200"/>
              <a:gd name="T37" fmla="*/ 65 h 194"/>
              <a:gd name="T38" fmla="*/ 170 w 200"/>
              <a:gd name="T39" fmla="*/ 29 h 194"/>
              <a:gd name="T40" fmla="*/ 134 w 200"/>
              <a:gd name="T41" fmla="*/ 1 h 194"/>
              <a:gd name="T42" fmla="*/ 131 w 200"/>
              <a:gd name="T43" fmla="*/ 13 h 194"/>
              <a:gd name="T44" fmla="*/ 152 w 200"/>
              <a:gd name="T45" fmla="*/ 44 h 194"/>
              <a:gd name="T46" fmla="*/ 155 w 200"/>
              <a:gd name="T47" fmla="*/ 55 h 194"/>
              <a:gd name="T48" fmla="*/ 166 w 200"/>
              <a:gd name="T49" fmla="*/ 76 h 194"/>
              <a:gd name="T50" fmla="*/ 188 w 200"/>
              <a:gd name="T51" fmla="*/ 81 h 194"/>
              <a:gd name="T52" fmla="*/ 172 w 200"/>
              <a:gd name="T53" fmla="*/ 116 h 194"/>
              <a:gd name="T54" fmla="*/ 163 w 200"/>
              <a:gd name="T55" fmla="*/ 123 h 194"/>
              <a:gd name="T56" fmla="*/ 151 w 200"/>
              <a:gd name="T57" fmla="*/ 143 h 194"/>
              <a:gd name="T58" fmla="*/ 157 w 200"/>
              <a:gd name="T59" fmla="*/ 165 h 194"/>
              <a:gd name="T60" fmla="*/ 119 w 200"/>
              <a:gd name="T61" fmla="*/ 168 h 194"/>
              <a:gd name="T62" fmla="*/ 109 w 200"/>
              <a:gd name="T63" fmla="*/ 165 h 194"/>
              <a:gd name="T64" fmla="*/ 91 w 200"/>
              <a:gd name="T65" fmla="*/ 165 h 194"/>
              <a:gd name="T66" fmla="*/ 81 w 200"/>
              <a:gd name="T67" fmla="*/ 168 h 194"/>
              <a:gd name="T68" fmla="*/ 43 w 200"/>
              <a:gd name="T69" fmla="*/ 165 h 194"/>
              <a:gd name="T70" fmla="*/ 49 w 200"/>
              <a:gd name="T71" fmla="*/ 143 h 194"/>
              <a:gd name="T72" fmla="*/ 37 w 200"/>
              <a:gd name="T73" fmla="*/ 123 h 194"/>
              <a:gd name="T74" fmla="*/ 28 w 200"/>
              <a:gd name="T75" fmla="*/ 116 h 194"/>
              <a:gd name="T76" fmla="*/ 12 w 200"/>
              <a:gd name="T77" fmla="*/ 81 h 194"/>
              <a:gd name="T78" fmla="*/ 34 w 200"/>
              <a:gd name="T79" fmla="*/ 76 h 194"/>
              <a:gd name="T80" fmla="*/ 45 w 200"/>
              <a:gd name="T81" fmla="*/ 55 h 194"/>
              <a:gd name="T82" fmla="*/ 47 w 200"/>
              <a:gd name="T83" fmla="*/ 44 h 194"/>
              <a:gd name="T84" fmla="*/ 69 w 200"/>
              <a:gd name="T85" fmla="*/ 13 h 194"/>
              <a:gd name="T86" fmla="*/ 85 w 200"/>
              <a:gd name="T87" fmla="*/ 29 h 194"/>
              <a:gd name="T88" fmla="*/ 100 w 200"/>
              <a:gd name="T89" fmla="*/ 28 h 194"/>
              <a:gd name="T90" fmla="*/ 115 w 200"/>
              <a:gd name="T91" fmla="*/ 29 h 194"/>
              <a:gd name="T92" fmla="*/ 131 w 200"/>
              <a:gd name="T93" fmla="*/ 13 h 194"/>
              <a:gd name="T94" fmla="*/ 69 w 200"/>
              <a:gd name="T95" fmla="*/ 97 h 194"/>
              <a:gd name="T96" fmla="*/ 131 w 200"/>
              <a:gd name="T97" fmla="*/ 97 h 194"/>
              <a:gd name="T98" fmla="*/ 100 w 200"/>
              <a:gd name="T99" fmla="*/ 78 h 194"/>
              <a:gd name="T100" fmla="*/ 100 w 200"/>
              <a:gd name="T101" fmla="*/ 115 h 194"/>
              <a:gd name="T102" fmla="*/ 100 w 200"/>
              <a:gd name="T103" fmla="*/ 7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 h="194">
                <a:moveTo>
                  <a:pt x="130" y="0"/>
                </a:moveTo>
                <a:cubicBezTo>
                  <a:pt x="128" y="0"/>
                  <a:pt x="125" y="0"/>
                  <a:pt x="124" y="2"/>
                </a:cubicBezTo>
                <a:cubicBezTo>
                  <a:pt x="110" y="16"/>
                  <a:pt x="110" y="16"/>
                  <a:pt x="110" y="16"/>
                </a:cubicBezTo>
                <a:cubicBezTo>
                  <a:pt x="107" y="16"/>
                  <a:pt x="104" y="15"/>
                  <a:pt x="100" y="15"/>
                </a:cubicBezTo>
                <a:cubicBezTo>
                  <a:pt x="96" y="15"/>
                  <a:pt x="93" y="16"/>
                  <a:pt x="90" y="16"/>
                </a:cubicBezTo>
                <a:cubicBezTo>
                  <a:pt x="76" y="2"/>
                  <a:pt x="76" y="2"/>
                  <a:pt x="76" y="2"/>
                </a:cubicBezTo>
                <a:cubicBezTo>
                  <a:pt x="75" y="0"/>
                  <a:pt x="72" y="0"/>
                  <a:pt x="70" y="0"/>
                </a:cubicBezTo>
                <a:cubicBezTo>
                  <a:pt x="69" y="0"/>
                  <a:pt x="67" y="0"/>
                  <a:pt x="66" y="1"/>
                </a:cubicBezTo>
                <a:cubicBezTo>
                  <a:pt x="34" y="19"/>
                  <a:pt x="34" y="19"/>
                  <a:pt x="34" y="19"/>
                </a:cubicBezTo>
                <a:cubicBezTo>
                  <a:pt x="31" y="21"/>
                  <a:pt x="29" y="25"/>
                  <a:pt x="30" y="29"/>
                </a:cubicBezTo>
                <a:cubicBezTo>
                  <a:pt x="35" y="47"/>
                  <a:pt x="35" y="47"/>
                  <a:pt x="35" y="47"/>
                </a:cubicBezTo>
                <a:cubicBezTo>
                  <a:pt x="31" y="53"/>
                  <a:pt x="28" y="59"/>
                  <a:pt x="25" y="65"/>
                </a:cubicBezTo>
                <a:cubicBezTo>
                  <a:pt x="6" y="70"/>
                  <a:pt x="6" y="70"/>
                  <a:pt x="6" y="70"/>
                </a:cubicBezTo>
                <a:cubicBezTo>
                  <a:pt x="3" y="71"/>
                  <a:pt x="0" y="74"/>
                  <a:pt x="0" y="78"/>
                </a:cubicBezTo>
                <a:cubicBezTo>
                  <a:pt x="0" y="115"/>
                  <a:pt x="0" y="115"/>
                  <a:pt x="0" y="115"/>
                </a:cubicBezTo>
                <a:cubicBezTo>
                  <a:pt x="0" y="119"/>
                  <a:pt x="3" y="122"/>
                  <a:pt x="6" y="123"/>
                </a:cubicBezTo>
                <a:cubicBezTo>
                  <a:pt x="25" y="128"/>
                  <a:pt x="25" y="128"/>
                  <a:pt x="25" y="128"/>
                </a:cubicBezTo>
                <a:cubicBezTo>
                  <a:pt x="28" y="134"/>
                  <a:pt x="31" y="140"/>
                  <a:pt x="35" y="146"/>
                </a:cubicBezTo>
                <a:cubicBezTo>
                  <a:pt x="30" y="164"/>
                  <a:pt x="30" y="164"/>
                  <a:pt x="30" y="164"/>
                </a:cubicBezTo>
                <a:cubicBezTo>
                  <a:pt x="29" y="168"/>
                  <a:pt x="31" y="172"/>
                  <a:pt x="34" y="174"/>
                </a:cubicBezTo>
                <a:cubicBezTo>
                  <a:pt x="66" y="192"/>
                  <a:pt x="66" y="192"/>
                  <a:pt x="66" y="192"/>
                </a:cubicBezTo>
                <a:cubicBezTo>
                  <a:pt x="67" y="193"/>
                  <a:pt x="69" y="194"/>
                  <a:pt x="70" y="194"/>
                </a:cubicBezTo>
                <a:cubicBezTo>
                  <a:pt x="72" y="194"/>
                  <a:pt x="75" y="193"/>
                  <a:pt x="76" y="191"/>
                </a:cubicBezTo>
                <a:cubicBezTo>
                  <a:pt x="90" y="177"/>
                  <a:pt x="90" y="177"/>
                  <a:pt x="90" y="177"/>
                </a:cubicBezTo>
                <a:cubicBezTo>
                  <a:pt x="93" y="177"/>
                  <a:pt x="96" y="178"/>
                  <a:pt x="100" y="178"/>
                </a:cubicBezTo>
                <a:cubicBezTo>
                  <a:pt x="104" y="178"/>
                  <a:pt x="107" y="177"/>
                  <a:pt x="110" y="177"/>
                </a:cubicBezTo>
                <a:cubicBezTo>
                  <a:pt x="124" y="191"/>
                  <a:pt x="124" y="191"/>
                  <a:pt x="124" y="191"/>
                </a:cubicBezTo>
                <a:cubicBezTo>
                  <a:pt x="125" y="193"/>
                  <a:pt x="128" y="194"/>
                  <a:pt x="130" y="194"/>
                </a:cubicBezTo>
                <a:cubicBezTo>
                  <a:pt x="131" y="194"/>
                  <a:pt x="133" y="193"/>
                  <a:pt x="134" y="192"/>
                </a:cubicBezTo>
                <a:cubicBezTo>
                  <a:pt x="166" y="174"/>
                  <a:pt x="166" y="174"/>
                  <a:pt x="166" y="174"/>
                </a:cubicBezTo>
                <a:cubicBezTo>
                  <a:pt x="169" y="172"/>
                  <a:pt x="171" y="168"/>
                  <a:pt x="170" y="164"/>
                </a:cubicBezTo>
                <a:cubicBezTo>
                  <a:pt x="165" y="146"/>
                  <a:pt x="165" y="146"/>
                  <a:pt x="165" y="146"/>
                </a:cubicBezTo>
                <a:cubicBezTo>
                  <a:pt x="169" y="140"/>
                  <a:pt x="172" y="134"/>
                  <a:pt x="175" y="128"/>
                </a:cubicBezTo>
                <a:cubicBezTo>
                  <a:pt x="194" y="123"/>
                  <a:pt x="194" y="123"/>
                  <a:pt x="194" y="123"/>
                </a:cubicBezTo>
                <a:cubicBezTo>
                  <a:pt x="197" y="122"/>
                  <a:pt x="200" y="119"/>
                  <a:pt x="200" y="115"/>
                </a:cubicBezTo>
                <a:cubicBezTo>
                  <a:pt x="200" y="78"/>
                  <a:pt x="200" y="78"/>
                  <a:pt x="200" y="78"/>
                </a:cubicBezTo>
                <a:cubicBezTo>
                  <a:pt x="200" y="74"/>
                  <a:pt x="197" y="71"/>
                  <a:pt x="194" y="70"/>
                </a:cubicBezTo>
                <a:cubicBezTo>
                  <a:pt x="175" y="65"/>
                  <a:pt x="175" y="65"/>
                  <a:pt x="175" y="65"/>
                </a:cubicBezTo>
                <a:cubicBezTo>
                  <a:pt x="172" y="59"/>
                  <a:pt x="169" y="53"/>
                  <a:pt x="165" y="47"/>
                </a:cubicBezTo>
                <a:cubicBezTo>
                  <a:pt x="170" y="29"/>
                  <a:pt x="170" y="29"/>
                  <a:pt x="170" y="29"/>
                </a:cubicBezTo>
                <a:cubicBezTo>
                  <a:pt x="171" y="25"/>
                  <a:pt x="169" y="21"/>
                  <a:pt x="166" y="19"/>
                </a:cubicBezTo>
                <a:cubicBezTo>
                  <a:pt x="134" y="1"/>
                  <a:pt x="134" y="1"/>
                  <a:pt x="134" y="1"/>
                </a:cubicBezTo>
                <a:cubicBezTo>
                  <a:pt x="133" y="0"/>
                  <a:pt x="131" y="0"/>
                  <a:pt x="130" y="0"/>
                </a:cubicBezTo>
                <a:close/>
                <a:moveTo>
                  <a:pt x="131" y="13"/>
                </a:moveTo>
                <a:cubicBezTo>
                  <a:pt x="157" y="28"/>
                  <a:pt x="157" y="28"/>
                  <a:pt x="157" y="28"/>
                </a:cubicBezTo>
                <a:cubicBezTo>
                  <a:pt x="152" y="44"/>
                  <a:pt x="152" y="44"/>
                  <a:pt x="152" y="44"/>
                </a:cubicBezTo>
                <a:cubicBezTo>
                  <a:pt x="151" y="50"/>
                  <a:pt x="151" y="50"/>
                  <a:pt x="151" y="50"/>
                </a:cubicBezTo>
                <a:cubicBezTo>
                  <a:pt x="155" y="55"/>
                  <a:pt x="155" y="55"/>
                  <a:pt x="155" y="55"/>
                </a:cubicBezTo>
                <a:cubicBezTo>
                  <a:pt x="158" y="60"/>
                  <a:pt x="161" y="65"/>
                  <a:pt x="163" y="70"/>
                </a:cubicBezTo>
                <a:cubicBezTo>
                  <a:pt x="166" y="76"/>
                  <a:pt x="166" y="76"/>
                  <a:pt x="166" y="76"/>
                </a:cubicBezTo>
                <a:cubicBezTo>
                  <a:pt x="172" y="77"/>
                  <a:pt x="172" y="77"/>
                  <a:pt x="172" y="77"/>
                </a:cubicBezTo>
                <a:cubicBezTo>
                  <a:pt x="188" y="81"/>
                  <a:pt x="188" y="81"/>
                  <a:pt x="188" y="81"/>
                </a:cubicBezTo>
                <a:cubicBezTo>
                  <a:pt x="188" y="112"/>
                  <a:pt x="188" y="112"/>
                  <a:pt x="188" y="112"/>
                </a:cubicBezTo>
                <a:cubicBezTo>
                  <a:pt x="172" y="116"/>
                  <a:pt x="172" y="116"/>
                  <a:pt x="172" y="116"/>
                </a:cubicBezTo>
                <a:cubicBezTo>
                  <a:pt x="166" y="117"/>
                  <a:pt x="166" y="117"/>
                  <a:pt x="166" y="117"/>
                </a:cubicBezTo>
                <a:cubicBezTo>
                  <a:pt x="163" y="123"/>
                  <a:pt x="163" y="123"/>
                  <a:pt x="163" y="123"/>
                </a:cubicBezTo>
                <a:cubicBezTo>
                  <a:pt x="161" y="128"/>
                  <a:pt x="158" y="133"/>
                  <a:pt x="155" y="138"/>
                </a:cubicBezTo>
                <a:cubicBezTo>
                  <a:pt x="151" y="143"/>
                  <a:pt x="151" y="143"/>
                  <a:pt x="151" y="143"/>
                </a:cubicBezTo>
                <a:cubicBezTo>
                  <a:pt x="152" y="149"/>
                  <a:pt x="152" y="149"/>
                  <a:pt x="152" y="149"/>
                </a:cubicBezTo>
                <a:cubicBezTo>
                  <a:pt x="157" y="165"/>
                  <a:pt x="157" y="165"/>
                  <a:pt x="157" y="165"/>
                </a:cubicBezTo>
                <a:cubicBezTo>
                  <a:pt x="131" y="180"/>
                  <a:pt x="131" y="180"/>
                  <a:pt x="131" y="180"/>
                </a:cubicBezTo>
                <a:cubicBezTo>
                  <a:pt x="119" y="168"/>
                  <a:pt x="119" y="168"/>
                  <a:pt x="119" y="168"/>
                </a:cubicBezTo>
                <a:cubicBezTo>
                  <a:pt x="115" y="164"/>
                  <a:pt x="115" y="164"/>
                  <a:pt x="115" y="164"/>
                </a:cubicBezTo>
                <a:cubicBezTo>
                  <a:pt x="109" y="165"/>
                  <a:pt x="109" y="165"/>
                  <a:pt x="109" y="165"/>
                </a:cubicBezTo>
                <a:cubicBezTo>
                  <a:pt x="105" y="165"/>
                  <a:pt x="103" y="165"/>
                  <a:pt x="100" y="165"/>
                </a:cubicBezTo>
                <a:cubicBezTo>
                  <a:pt x="97" y="165"/>
                  <a:pt x="95" y="165"/>
                  <a:pt x="91" y="165"/>
                </a:cubicBezTo>
                <a:cubicBezTo>
                  <a:pt x="85" y="164"/>
                  <a:pt x="85" y="164"/>
                  <a:pt x="85" y="164"/>
                </a:cubicBezTo>
                <a:cubicBezTo>
                  <a:pt x="81" y="168"/>
                  <a:pt x="81" y="168"/>
                  <a:pt x="81" y="168"/>
                </a:cubicBezTo>
                <a:cubicBezTo>
                  <a:pt x="69" y="180"/>
                  <a:pt x="69" y="180"/>
                  <a:pt x="69" y="180"/>
                </a:cubicBezTo>
                <a:cubicBezTo>
                  <a:pt x="43" y="165"/>
                  <a:pt x="43" y="165"/>
                  <a:pt x="43" y="165"/>
                </a:cubicBezTo>
                <a:cubicBezTo>
                  <a:pt x="47" y="149"/>
                  <a:pt x="47" y="149"/>
                  <a:pt x="47" y="149"/>
                </a:cubicBezTo>
                <a:cubicBezTo>
                  <a:pt x="49" y="143"/>
                  <a:pt x="49" y="143"/>
                  <a:pt x="49" y="143"/>
                </a:cubicBezTo>
                <a:cubicBezTo>
                  <a:pt x="45" y="138"/>
                  <a:pt x="45" y="138"/>
                  <a:pt x="45" y="138"/>
                </a:cubicBezTo>
                <a:cubicBezTo>
                  <a:pt x="42" y="133"/>
                  <a:pt x="39" y="128"/>
                  <a:pt x="37" y="123"/>
                </a:cubicBezTo>
                <a:cubicBezTo>
                  <a:pt x="34" y="117"/>
                  <a:pt x="34" y="117"/>
                  <a:pt x="34" y="117"/>
                </a:cubicBezTo>
                <a:cubicBezTo>
                  <a:pt x="28" y="116"/>
                  <a:pt x="28" y="116"/>
                  <a:pt x="28" y="116"/>
                </a:cubicBezTo>
                <a:cubicBezTo>
                  <a:pt x="12" y="112"/>
                  <a:pt x="12" y="112"/>
                  <a:pt x="12" y="112"/>
                </a:cubicBezTo>
                <a:cubicBezTo>
                  <a:pt x="12" y="81"/>
                  <a:pt x="12" y="81"/>
                  <a:pt x="12" y="81"/>
                </a:cubicBezTo>
                <a:cubicBezTo>
                  <a:pt x="28" y="77"/>
                  <a:pt x="28" y="77"/>
                  <a:pt x="28" y="77"/>
                </a:cubicBezTo>
                <a:cubicBezTo>
                  <a:pt x="34" y="76"/>
                  <a:pt x="34" y="76"/>
                  <a:pt x="34" y="76"/>
                </a:cubicBezTo>
                <a:cubicBezTo>
                  <a:pt x="37" y="70"/>
                  <a:pt x="37" y="70"/>
                  <a:pt x="37" y="70"/>
                </a:cubicBezTo>
                <a:cubicBezTo>
                  <a:pt x="39" y="65"/>
                  <a:pt x="42" y="60"/>
                  <a:pt x="45" y="55"/>
                </a:cubicBezTo>
                <a:cubicBezTo>
                  <a:pt x="49" y="50"/>
                  <a:pt x="49" y="50"/>
                  <a:pt x="49" y="50"/>
                </a:cubicBezTo>
                <a:cubicBezTo>
                  <a:pt x="47" y="44"/>
                  <a:pt x="47" y="44"/>
                  <a:pt x="47" y="44"/>
                </a:cubicBezTo>
                <a:cubicBezTo>
                  <a:pt x="43" y="28"/>
                  <a:pt x="43" y="28"/>
                  <a:pt x="43" y="28"/>
                </a:cubicBezTo>
                <a:cubicBezTo>
                  <a:pt x="69" y="13"/>
                  <a:pt x="69" y="13"/>
                  <a:pt x="69" y="13"/>
                </a:cubicBezTo>
                <a:cubicBezTo>
                  <a:pt x="81" y="25"/>
                  <a:pt x="81" y="25"/>
                  <a:pt x="81" y="25"/>
                </a:cubicBezTo>
                <a:cubicBezTo>
                  <a:pt x="85" y="29"/>
                  <a:pt x="85" y="29"/>
                  <a:pt x="85" y="29"/>
                </a:cubicBezTo>
                <a:cubicBezTo>
                  <a:pt x="91" y="28"/>
                  <a:pt x="91" y="28"/>
                  <a:pt x="91" y="28"/>
                </a:cubicBezTo>
                <a:cubicBezTo>
                  <a:pt x="95" y="28"/>
                  <a:pt x="97" y="28"/>
                  <a:pt x="100" y="28"/>
                </a:cubicBezTo>
                <a:cubicBezTo>
                  <a:pt x="103" y="28"/>
                  <a:pt x="105" y="28"/>
                  <a:pt x="109" y="28"/>
                </a:cubicBezTo>
                <a:cubicBezTo>
                  <a:pt x="115" y="29"/>
                  <a:pt x="115" y="29"/>
                  <a:pt x="115" y="29"/>
                </a:cubicBezTo>
                <a:cubicBezTo>
                  <a:pt x="119" y="25"/>
                  <a:pt x="119" y="25"/>
                  <a:pt x="119" y="25"/>
                </a:cubicBezTo>
                <a:lnTo>
                  <a:pt x="131" y="13"/>
                </a:lnTo>
                <a:close/>
                <a:moveTo>
                  <a:pt x="100" y="128"/>
                </a:moveTo>
                <a:cubicBezTo>
                  <a:pt x="83" y="128"/>
                  <a:pt x="69" y="114"/>
                  <a:pt x="69" y="97"/>
                </a:cubicBezTo>
                <a:cubicBezTo>
                  <a:pt x="69" y="79"/>
                  <a:pt x="83" y="65"/>
                  <a:pt x="100" y="65"/>
                </a:cubicBezTo>
                <a:cubicBezTo>
                  <a:pt x="117" y="65"/>
                  <a:pt x="131" y="79"/>
                  <a:pt x="131" y="97"/>
                </a:cubicBezTo>
                <a:cubicBezTo>
                  <a:pt x="131" y="114"/>
                  <a:pt x="117" y="128"/>
                  <a:pt x="100" y="128"/>
                </a:cubicBezTo>
                <a:close/>
                <a:moveTo>
                  <a:pt x="100" y="78"/>
                </a:moveTo>
                <a:cubicBezTo>
                  <a:pt x="90" y="78"/>
                  <a:pt x="81" y="86"/>
                  <a:pt x="81" y="97"/>
                </a:cubicBezTo>
                <a:cubicBezTo>
                  <a:pt x="81" y="107"/>
                  <a:pt x="90" y="115"/>
                  <a:pt x="100" y="115"/>
                </a:cubicBezTo>
                <a:cubicBezTo>
                  <a:pt x="110" y="115"/>
                  <a:pt x="119" y="107"/>
                  <a:pt x="119" y="97"/>
                </a:cubicBezTo>
                <a:cubicBezTo>
                  <a:pt x="119" y="86"/>
                  <a:pt x="110" y="78"/>
                  <a:pt x="100" y="78"/>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lang="en-US" sz="1400"/>
          </a:p>
        </p:txBody>
      </p:sp>
      <p:sp>
        <p:nvSpPr>
          <p:cNvPr id="47" name="Google Shape;416;p5">
            <a:extLst>
              <a:ext uri="{FF2B5EF4-FFF2-40B4-BE49-F238E27FC236}">
                <a16:creationId xmlns:a16="http://schemas.microsoft.com/office/drawing/2014/main" id="{62519766-5B92-67EF-86DB-52AF8F9C464A}"/>
              </a:ext>
            </a:extLst>
          </p:cNvPr>
          <p:cNvSpPr/>
          <p:nvPr/>
        </p:nvSpPr>
        <p:spPr>
          <a:xfrm>
            <a:off x="954323" y="1257393"/>
            <a:ext cx="2564039" cy="637760"/>
          </a:xfrm>
          <a:prstGeom prst="roundRect">
            <a:avLst>
              <a:gd name="adj" fmla="val 50000"/>
            </a:avLst>
          </a:prstGeom>
          <a:solidFill>
            <a:srgbClr val="104D8C"/>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2700">
              <a:spcBef>
                <a:spcPts val="100"/>
              </a:spcBef>
            </a:pPr>
            <a:r>
              <a:rPr lang="el-GR" sz="1300" b="1" dirty="0">
                <a:solidFill>
                  <a:srgbClr val="FFFFFF"/>
                </a:solidFill>
              </a:rPr>
              <a:t>1.</a:t>
            </a:r>
            <a:r>
              <a:rPr lang="el-GR" sz="1300" b="1" spc="-60" dirty="0">
                <a:solidFill>
                  <a:srgbClr val="FFFFFF"/>
                </a:solidFill>
              </a:rPr>
              <a:t> </a:t>
            </a:r>
            <a:r>
              <a:rPr lang="el-GR" sz="1300" b="1" dirty="0">
                <a:solidFill>
                  <a:srgbClr val="FFFFFF"/>
                </a:solidFill>
              </a:rPr>
              <a:t>Ενίσχυση</a:t>
            </a:r>
            <a:r>
              <a:rPr lang="el-GR" sz="1300" b="1" spc="-15" dirty="0">
                <a:solidFill>
                  <a:srgbClr val="FFFFFF"/>
                </a:solidFill>
              </a:rPr>
              <a:t> </a:t>
            </a:r>
            <a:r>
              <a:rPr lang="el-GR" sz="1300" b="1" dirty="0">
                <a:solidFill>
                  <a:srgbClr val="FFFFFF"/>
                </a:solidFill>
              </a:rPr>
              <a:t>και</a:t>
            </a:r>
            <a:r>
              <a:rPr lang="el-GR" sz="1300" b="1" spc="-35" dirty="0">
                <a:solidFill>
                  <a:srgbClr val="FFFFFF"/>
                </a:solidFill>
              </a:rPr>
              <a:t> </a:t>
            </a:r>
            <a:r>
              <a:rPr lang="el-GR" sz="1300" b="1" dirty="0">
                <a:solidFill>
                  <a:srgbClr val="FFFFFF"/>
                </a:solidFill>
              </a:rPr>
              <a:t>Προώθηση</a:t>
            </a:r>
            <a:r>
              <a:rPr lang="el-GR" sz="1300" b="1" spc="-45" dirty="0">
                <a:solidFill>
                  <a:srgbClr val="FFFFFF"/>
                </a:solidFill>
              </a:rPr>
              <a:t> </a:t>
            </a:r>
            <a:r>
              <a:rPr lang="el-GR" sz="1300" b="1" spc="-25" dirty="0">
                <a:solidFill>
                  <a:srgbClr val="FFFFFF"/>
                </a:solidFill>
              </a:rPr>
              <a:t>της </a:t>
            </a:r>
            <a:r>
              <a:rPr lang="el-GR" sz="1300" b="1" spc="-11" dirty="0">
                <a:solidFill>
                  <a:srgbClr val="FFFFFF"/>
                </a:solidFill>
              </a:rPr>
              <a:t>Επιχειρηματικότητας</a:t>
            </a:r>
            <a:endParaRPr lang="el-GR" sz="1300" dirty="0"/>
          </a:p>
        </p:txBody>
      </p:sp>
      <p:sp>
        <p:nvSpPr>
          <p:cNvPr id="49" name="Google Shape;421;p5">
            <a:extLst>
              <a:ext uri="{FF2B5EF4-FFF2-40B4-BE49-F238E27FC236}">
                <a16:creationId xmlns:a16="http://schemas.microsoft.com/office/drawing/2014/main" id="{AFE2D03B-A020-6A3F-B518-8D29B79FF0BE}"/>
              </a:ext>
            </a:extLst>
          </p:cNvPr>
          <p:cNvSpPr/>
          <p:nvPr/>
        </p:nvSpPr>
        <p:spPr>
          <a:xfrm>
            <a:off x="954324" y="2016407"/>
            <a:ext cx="2626657" cy="637760"/>
          </a:xfrm>
          <a:prstGeom prst="roundRect">
            <a:avLst>
              <a:gd name="adj" fmla="val 50000"/>
            </a:avLst>
          </a:prstGeom>
          <a:solidFill>
            <a:srgbClr val="97CA3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2700" marR="5080">
              <a:spcBef>
                <a:spcPts val="100"/>
              </a:spcBef>
            </a:pPr>
            <a:r>
              <a:rPr lang="el-GR" sz="1300" b="1">
                <a:solidFill>
                  <a:srgbClr val="FFFFFF"/>
                </a:solidFill>
              </a:rPr>
              <a:t>2.</a:t>
            </a:r>
            <a:r>
              <a:rPr lang="el-GR" sz="1300" b="1" spc="-55">
                <a:solidFill>
                  <a:srgbClr val="FFFFFF"/>
                </a:solidFill>
              </a:rPr>
              <a:t> </a:t>
            </a:r>
            <a:r>
              <a:rPr lang="el-GR" sz="1300" b="1">
                <a:solidFill>
                  <a:srgbClr val="FFFFFF"/>
                </a:solidFill>
              </a:rPr>
              <a:t>Ενεργειακή</a:t>
            </a:r>
            <a:r>
              <a:rPr lang="el-GR" sz="1300" b="1" spc="-11">
                <a:solidFill>
                  <a:srgbClr val="FFFFFF"/>
                </a:solidFill>
              </a:rPr>
              <a:t> Μετάβαση </a:t>
            </a:r>
            <a:r>
              <a:rPr lang="el-GR" sz="1300" b="1">
                <a:solidFill>
                  <a:srgbClr val="FFFFFF"/>
                </a:solidFill>
              </a:rPr>
              <a:t>Κλιματική</a:t>
            </a:r>
            <a:r>
              <a:rPr lang="el-GR" sz="1300" b="1" spc="-45">
                <a:solidFill>
                  <a:srgbClr val="FFFFFF"/>
                </a:solidFill>
              </a:rPr>
              <a:t> </a:t>
            </a:r>
            <a:r>
              <a:rPr lang="el-GR" sz="1300" b="1" spc="-11">
                <a:solidFill>
                  <a:srgbClr val="FFFFFF"/>
                </a:solidFill>
              </a:rPr>
              <a:t>Ουδετερότητα</a:t>
            </a:r>
            <a:endParaRPr lang="el-GR" sz="1300"/>
          </a:p>
        </p:txBody>
      </p:sp>
      <p:sp>
        <p:nvSpPr>
          <p:cNvPr id="51" name="Google Shape;427;p5">
            <a:extLst>
              <a:ext uri="{FF2B5EF4-FFF2-40B4-BE49-F238E27FC236}">
                <a16:creationId xmlns:a16="http://schemas.microsoft.com/office/drawing/2014/main" id="{A568E3FD-451B-5C07-D6EB-2879AC358FAB}"/>
              </a:ext>
            </a:extLst>
          </p:cNvPr>
          <p:cNvSpPr/>
          <p:nvPr/>
        </p:nvSpPr>
        <p:spPr>
          <a:xfrm>
            <a:off x="954324" y="2779655"/>
            <a:ext cx="2722425" cy="637760"/>
          </a:xfrm>
          <a:prstGeom prst="roundRect">
            <a:avLst>
              <a:gd name="adj" fmla="val 50000"/>
            </a:avLst>
          </a:prstGeom>
          <a:solidFill>
            <a:srgbClr val="A5A5A5"/>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200"/>
            </a:pPr>
            <a:r>
              <a:rPr lang="el-GR" sz="1300" b="1">
                <a:solidFill>
                  <a:srgbClr val="FFFFFF"/>
                </a:solidFill>
              </a:rPr>
              <a:t>3.</a:t>
            </a:r>
            <a:r>
              <a:rPr lang="el-GR" sz="1300" b="1" spc="-71">
                <a:solidFill>
                  <a:srgbClr val="FFFFFF"/>
                </a:solidFill>
              </a:rPr>
              <a:t> </a:t>
            </a:r>
            <a:r>
              <a:rPr lang="el-GR" sz="1300" b="1" spc="-11">
                <a:solidFill>
                  <a:srgbClr val="FFFFFF"/>
                </a:solidFill>
              </a:rPr>
              <a:t>Αναπροσαρμογή</a:t>
            </a:r>
            <a:r>
              <a:rPr lang="el-GR" sz="1300" b="1" spc="25">
                <a:solidFill>
                  <a:srgbClr val="FFFFFF"/>
                </a:solidFill>
              </a:rPr>
              <a:t> </a:t>
            </a:r>
            <a:r>
              <a:rPr lang="el-GR" sz="1300" b="1" spc="-11">
                <a:solidFill>
                  <a:srgbClr val="FFFFFF"/>
                </a:solidFill>
              </a:rPr>
              <a:t>Χρήσεων </a:t>
            </a:r>
            <a:r>
              <a:rPr lang="el-GR" sz="1300" b="1">
                <a:solidFill>
                  <a:srgbClr val="FFFFFF"/>
                </a:solidFill>
              </a:rPr>
              <a:t>Γης</a:t>
            </a:r>
            <a:r>
              <a:rPr lang="el-GR" sz="1300" b="1" spc="-25">
                <a:solidFill>
                  <a:srgbClr val="FFFFFF"/>
                </a:solidFill>
              </a:rPr>
              <a:t> </a:t>
            </a:r>
            <a:r>
              <a:rPr lang="el-GR" sz="1300" b="1">
                <a:solidFill>
                  <a:srgbClr val="FFFFFF"/>
                </a:solidFill>
              </a:rPr>
              <a:t>Κυκλική</a:t>
            </a:r>
            <a:r>
              <a:rPr lang="el-GR" sz="1300" b="1" spc="-20">
                <a:solidFill>
                  <a:srgbClr val="FFFFFF"/>
                </a:solidFill>
              </a:rPr>
              <a:t> </a:t>
            </a:r>
            <a:r>
              <a:rPr lang="el-GR" sz="1300" b="1" spc="-11">
                <a:solidFill>
                  <a:srgbClr val="FFFFFF"/>
                </a:solidFill>
              </a:rPr>
              <a:t>Οικονομία</a:t>
            </a:r>
            <a:endParaRPr lang="el-GR" sz="1300"/>
          </a:p>
        </p:txBody>
      </p:sp>
      <p:sp>
        <p:nvSpPr>
          <p:cNvPr id="53" name="Google Shape;433;p5">
            <a:extLst>
              <a:ext uri="{FF2B5EF4-FFF2-40B4-BE49-F238E27FC236}">
                <a16:creationId xmlns:a16="http://schemas.microsoft.com/office/drawing/2014/main" id="{C2B728AB-2BCA-A740-B0C7-846B0782CE1E}"/>
              </a:ext>
            </a:extLst>
          </p:cNvPr>
          <p:cNvSpPr/>
          <p:nvPr/>
        </p:nvSpPr>
        <p:spPr>
          <a:xfrm>
            <a:off x="954323" y="3542905"/>
            <a:ext cx="2742957" cy="637760"/>
          </a:xfrm>
          <a:prstGeom prst="roundRect">
            <a:avLst>
              <a:gd name="adj" fmla="val 50000"/>
            </a:avLst>
          </a:prstGeom>
          <a:solidFill>
            <a:srgbClr val="FFC000"/>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2700" marR="5080">
              <a:spcBef>
                <a:spcPts val="100"/>
              </a:spcBef>
            </a:pPr>
            <a:r>
              <a:rPr lang="el-GR" sz="1200" b="1">
                <a:solidFill>
                  <a:srgbClr val="FFFFFF"/>
                </a:solidFill>
              </a:rPr>
              <a:t>4.</a:t>
            </a:r>
            <a:r>
              <a:rPr lang="el-GR" sz="1200" b="1" spc="-80">
                <a:solidFill>
                  <a:srgbClr val="FFFFFF"/>
                </a:solidFill>
              </a:rPr>
              <a:t> </a:t>
            </a:r>
            <a:r>
              <a:rPr lang="el-GR" sz="1200" b="1">
                <a:solidFill>
                  <a:srgbClr val="FFFFFF"/>
                </a:solidFill>
              </a:rPr>
              <a:t>Δίκαιη</a:t>
            </a:r>
            <a:r>
              <a:rPr lang="el-GR" sz="1200" b="1" spc="-20">
                <a:solidFill>
                  <a:srgbClr val="FFFFFF"/>
                </a:solidFill>
              </a:rPr>
              <a:t> </a:t>
            </a:r>
            <a:r>
              <a:rPr lang="el-GR" sz="1200" b="1" spc="-35">
                <a:solidFill>
                  <a:srgbClr val="FFFFFF"/>
                </a:solidFill>
              </a:rPr>
              <a:t>Εργασιακή</a:t>
            </a:r>
            <a:r>
              <a:rPr lang="el-GR" sz="1200" b="1" spc="-31">
                <a:solidFill>
                  <a:srgbClr val="FFFFFF"/>
                </a:solidFill>
              </a:rPr>
              <a:t> </a:t>
            </a:r>
            <a:r>
              <a:rPr lang="el-GR" sz="1200" b="1" spc="-11">
                <a:solidFill>
                  <a:srgbClr val="FFFFFF"/>
                </a:solidFill>
              </a:rPr>
              <a:t>Μετάβαση </a:t>
            </a:r>
            <a:r>
              <a:rPr lang="el-GR" sz="1200" b="1">
                <a:solidFill>
                  <a:srgbClr val="FFFFFF"/>
                </a:solidFill>
              </a:rPr>
              <a:t>και</a:t>
            </a:r>
            <a:r>
              <a:rPr lang="el-GR" sz="1200" b="1" spc="-11">
                <a:solidFill>
                  <a:srgbClr val="FFFFFF"/>
                </a:solidFill>
              </a:rPr>
              <a:t> Ενδυνάμωση</a:t>
            </a:r>
            <a:r>
              <a:rPr lang="el-GR" sz="1200" b="1" spc="-45">
                <a:solidFill>
                  <a:srgbClr val="FFFFFF"/>
                </a:solidFill>
              </a:rPr>
              <a:t> </a:t>
            </a:r>
            <a:r>
              <a:rPr lang="el-GR" sz="1200" b="1" spc="-11">
                <a:solidFill>
                  <a:srgbClr val="FFFFFF"/>
                </a:solidFill>
              </a:rPr>
              <a:t>Ανθρώπινου Κεφαλαίου</a:t>
            </a:r>
            <a:endParaRPr lang="el-GR" sz="1200"/>
          </a:p>
        </p:txBody>
      </p:sp>
      <p:sp>
        <p:nvSpPr>
          <p:cNvPr id="55" name="Google Shape;439;p5">
            <a:extLst>
              <a:ext uri="{FF2B5EF4-FFF2-40B4-BE49-F238E27FC236}">
                <a16:creationId xmlns:a16="http://schemas.microsoft.com/office/drawing/2014/main" id="{2AFD65BE-F7F2-E7F5-9B97-52FC579A5884}"/>
              </a:ext>
            </a:extLst>
          </p:cNvPr>
          <p:cNvSpPr/>
          <p:nvPr/>
        </p:nvSpPr>
        <p:spPr>
          <a:xfrm>
            <a:off x="954323" y="4308381"/>
            <a:ext cx="2742957" cy="637760"/>
          </a:xfrm>
          <a:prstGeom prst="roundRect">
            <a:avLst>
              <a:gd name="adj" fmla="val 50000"/>
            </a:avLst>
          </a:prstGeom>
          <a:solidFill>
            <a:srgbClr val="0CACDC"/>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2700" marR="5080">
              <a:spcBef>
                <a:spcPts val="100"/>
              </a:spcBef>
            </a:pPr>
            <a:r>
              <a:rPr lang="el-GR" sz="1200" b="1">
                <a:solidFill>
                  <a:srgbClr val="FFFFFF"/>
                </a:solidFill>
              </a:rPr>
              <a:t>5.</a:t>
            </a:r>
            <a:r>
              <a:rPr lang="el-GR" sz="1200" b="1" spc="5">
                <a:solidFill>
                  <a:srgbClr val="FFFFFF"/>
                </a:solidFill>
              </a:rPr>
              <a:t> </a:t>
            </a:r>
            <a:r>
              <a:rPr lang="el-GR" sz="1200" b="1" spc="-11">
                <a:solidFill>
                  <a:srgbClr val="FFFFFF"/>
                </a:solidFill>
              </a:rPr>
              <a:t>Ολοκληρωμένες</a:t>
            </a:r>
            <a:r>
              <a:rPr lang="el-GR" sz="1200" b="1" spc="11">
                <a:solidFill>
                  <a:srgbClr val="FFFFFF"/>
                </a:solidFill>
              </a:rPr>
              <a:t> </a:t>
            </a:r>
            <a:r>
              <a:rPr lang="el-GR" sz="1200" b="1" spc="-11">
                <a:solidFill>
                  <a:srgbClr val="FFFFFF"/>
                </a:solidFill>
              </a:rPr>
              <a:t>Παρεμβάσεις </a:t>
            </a:r>
            <a:r>
              <a:rPr lang="el-GR" sz="1200" b="1">
                <a:solidFill>
                  <a:srgbClr val="FFFFFF"/>
                </a:solidFill>
              </a:rPr>
              <a:t>Μικρής</a:t>
            </a:r>
            <a:r>
              <a:rPr lang="el-GR" sz="1200" b="1" spc="-55">
                <a:solidFill>
                  <a:srgbClr val="FFFFFF"/>
                </a:solidFill>
              </a:rPr>
              <a:t> </a:t>
            </a:r>
            <a:r>
              <a:rPr lang="el-GR" sz="1200" b="1">
                <a:solidFill>
                  <a:srgbClr val="FFFFFF"/>
                </a:solidFill>
              </a:rPr>
              <a:t>Κλίμακας</a:t>
            </a:r>
            <a:r>
              <a:rPr lang="el-GR" sz="1200" b="1" spc="-51">
                <a:solidFill>
                  <a:srgbClr val="FFFFFF"/>
                </a:solidFill>
              </a:rPr>
              <a:t> </a:t>
            </a:r>
            <a:r>
              <a:rPr lang="el-GR" sz="1200" b="1" spc="-11">
                <a:solidFill>
                  <a:srgbClr val="FFFFFF"/>
                </a:solidFill>
              </a:rPr>
              <a:t>Ευφυείς Κοινότητες</a:t>
            </a:r>
            <a:endParaRPr lang="el-GR" sz="1200"/>
          </a:p>
        </p:txBody>
      </p:sp>
      <p:sp>
        <p:nvSpPr>
          <p:cNvPr id="57" name="Google Shape;441;p5">
            <a:extLst>
              <a:ext uri="{FF2B5EF4-FFF2-40B4-BE49-F238E27FC236}">
                <a16:creationId xmlns:a16="http://schemas.microsoft.com/office/drawing/2014/main" id="{69E9C42B-239F-AD67-2435-16306D6E5C47}"/>
              </a:ext>
            </a:extLst>
          </p:cNvPr>
          <p:cNvSpPr/>
          <p:nvPr/>
        </p:nvSpPr>
        <p:spPr>
          <a:xfrm>
            <a:off x="173897" y="1211153"/>
            <a:ext cx="684000" cy="684000"/>
          </a:xfrm>
          <a:prstGeom prst="flowChartConnector">
            <a:avLst/>
          </a:prstGeom>
          <a:solidFill>
            <a:srgbClr val="104D8C"/>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rgbClr val="000000"/>
              </a:buClr>
              <a:buSzPts val="1400"/>
            </a:pPr>
            <a:endParaRPr sz="1400">
              <a:solidFill>
                <a:srgbClr val="FFFFFF"/>
              </a:solidFill>
              <a:latin typeface="Calibri"/>
              <a:ea typeface="Calibri"/>
              <a:cs typeface="Calibri"/>
              <a:sym typeface="Calibri"/>
            </a:endParaRPr>
          </a:p>
        </p:txBody>
      </p:sp>
      <p:sp>
        <p:nvSpPr>
          <p:cNvPr id="58" name="Google Shape;442;p5">
            <a:extLst>
              <a:ext uri="{FF2B5EF4-FFF2-40B4-BE49-F238E27FC236}">
                <a16:creationId xmlns:a16="http://schemas.microsoft.com/office/drawing/2014/main" id="{98FE237B-518E-489C-B13C-CA8E2B6DDD19}"/>
              </a:ext>
            </a:extLst>
          </p:cNvPr>
          <p:cNvSpPr/>
          <p:nvPr/>
        </p:nvSpPr>
        <p:spPr>
          <a:xfrm>
            <a:off x="143843" y="2015181"/>
            <a:ext cx="684000" cy="684000"/>
          </a:xfrm>
          <a:prstGeom prst="flowChartConnector">
            <a:avLst/>
          </a:prstGeom>
          <a:solidFill>
            <a:srgbClr val="97CA3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rgbClr val="000000"/>
              </a:buClr>
              <a:buSzPts val="1400"/>
            </a:pPr>
            <a:endParaRPr sz="1400">
              <a:solidFill>
                <a:srgbClr val="FFFFFF"/>
              </a:solidFill>
              <a:latin typeface="Calibri"/>
              <a:ea typeface="Calibri"/>
              <a:cs typeface="Calibri"/>
              <a:sym typeface="Calibri"/>
            </a:endParaRPr>
          </a:p>
        </p:txBody>
      </p:sp>
      <p:sp>
        <p:nvSpPr>
          <p:cNvPr id="59" name="Google Shape;443;p5">
            <a:extLst>
              <a:ext uri="{FF2B5EF4-FFF2-40B4-BE49-F238E27FC236}">
                <a16:creationId xmlns:a16="http://schemas.microsoft.com/office/drawing/2014/main" id="{1626E617-0CE0-CD22-5130-9FE1BD28BFE2}"/>
              </a:ext>
            </a:extLst>
          </p:cNvPr>
          <p:cNvSpPr/>
          <p:nvPr/>
        </p:nvSpPr>
        <p:spPr>
          <a:xfrm>
            <a:off x="168383" y="2776921"/>
            <a:ext cx="684000" cy="684000"/>
          </a:xfrm>
          <a:prstGeom prst="flowChartConnector">
            <a:avLst/>
          </a:prstGeom>
          <a:solidFill>
            <a:srgbClr val="A5A5A5"/>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rgbClr val="000000"/>
              </a:buClr>
              <a:buSzPts val="1400"/>
            </a:pPr>
            <a:endParaRPr sz="1400">
              <a:solidFill>
                <a:srgbClr val="FFFFFF"/>
              </a:solidFill>
              <a:latin typeface="Calibri"/>
              <a:ea typeface="Calibri"/>
              <a:cs typeface="Calibri"/>
              <a:sym typeface="Calibri"/>
            </a:endParaRPr>
          </a:p>
        </p:txBody>
      </p:sp>
      <p:sp>
        <p:nvSpPr>
          <p:cNvPr id="60" name="Google Shape;444;p5">
            <a:extLst>
              <a:ext uri="{FF2B5EF4-FFF2-40B4-BE49-F238E27FC236}">
                <a16:creationId xmlns:a16="http://schemas.microsoft.com/office/drawing/2014/main" id="{4EEEBA9D-54D2-851E-A431-EC2BD3694665}"/>
              </a:ext>
            </a:extLst>
          </p:cNvPr>
          <p:cNvSpPr/>
          <p:nvPr/>
        </p:nvSpPr>
        <p:spPr>
          <a:xfrm>
            <a:off x="168383" y="3536611"/>
            <a:ext cx="684000" cy="684000"/>
          </a:xfrm>
          <a:prstGeom prst="flowChartConnector">
            <a:avLst/>
          </a:prstGeom>
          <a:solidFill>
            <a:srgbClr val="FFC000"/>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rgbClr val="000000"/>
              </a:buClr>
              <a:buSzPts val="1400"/>
            </a:pPr>
            <a:endParaRPr sz="1400">
              <a:solidFill>
                <a:srgbClr val="FFFFFF"/>
              </a:solidFill>
              <a:latin typeface="Calibri"/>
              <a:ea typeface="Calibri"/>
              <a:cs typeface="Calibri"/>
              <a:sym typeface="Calibri"/>
            </a:endParaRPr>
          </a:p>
        </p:txBody>
      </p:sp>
      <p:sp>
        <p:nvSpPr>
          <p:cNvPr id="61" name="Google Shape;445;p5">
            <a:extLst>
              <a:ext uri="{FF2B5EF4-FFF2-40B4-BE49-F238E27FC236}">
                <a16:creationId xmlns:a16="http://schemas.microsoft.com/office/drawing/2014/main" id="{8883B7B5-3486-6F63-3C9A-7EA1CE86A6BB}"/>
              </a:ext>
            </a:extLst>
          </p:cNvPr>
          <p:cNvSpPr/>
          <p:nvPr/>
        </p:nvSpPr>
        <p:spPr>
          <a:xfrm>
            <a:off x="145419" y="4314223"/>
            <a:ext cx="684000" cy="684000"/>
          </a:xfrm>
          <a:prstGeom prst="flowChartConnector">
            <a:avLst/>
          </a:prstGeom>
          <a:solidFill>
            <a:srgbClr val="0CACDC"/>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rgbClr val="000000"/>
              </a:buClr>
              <a:buSzPts val="1400"/>
            </a:pPr>
            <a:endParaRPr sz="1400">
              <a:solidFill>
                <a:srgbClr val="FFFFFF"/>
              </a:solidFill>
              <a:latin typeface="Calibri"/>
              <a:ea typeface="Calibri"/>
              <a:cs typeface="Calibri"/>
              <a:sym typeface="Calibri"/>
            </a:endParaRPr>
          </a:p>
        </p:txBody>
      </p:sp>
      <p:sp>
        <p:nvSpPr>
          <p:cNvPr id="62" name="Google Shape;446;p5">
            <a:extLst>
              <a:ext uri="{FF2B5EF4-FFF2-40B4-BE49-F238E27FC236}">
                <a16:creationId xmlns:a16="http://schemas.microsoft.com/office/drawing/2014/main" id="{CAB3554D-0ADD-F030-B3BA-18324C615A1F}"/>
              </a:ext>
            </a:extLst>
          </p:cNvPr>
          <p:cNvSpPr/>
          <p:nvPr/>
        </p:nvSpPr>
        <p:spPr>
          <a:xfrm>
            <a:off x="287864" y="1343455"/>
            <a:ext cx="396000" cy="432000"/>
          </a:xfrm>
          <a:custGeom>
            <a:avLst/>
            <a:gdLst/>
            <a:ahLst/>
            <a:cxnLst/>
            <a:rect l="l" t="t" r="r" b="b"/>
            <a:pathLst>
              <a:path w="324" h="262" extrusionOk="0">
                <a:moveTo>
                  <a:pt x="0" y="212"/>
                </a:moveTo>
                <a:lnTo>
                  <a:pt x="0" y="136"/>
                </a:lnTo>
                <a:lnTo>
                  <a:pt x="0" y="136"/>
                </a:lnTo>
                <a:lnTo>
                  <a:pt x="0" y="132"/>
                </a:lnTo>
                <a:lnTo>
                  <a:pt x="2" y="128"/>
                </a:lnTo>
                <a:lnTo>
                  <a:pt x="6" y="126"/>
                </a:lnTo>
                <a:lnTo>
                  <a:pt x="10" y="126"/>
                </a:lnTo>
                <a:lnTo>
                  <a:pt x="46" y="126"/>
                </a:lnTo>
                <a:lnTo>
                  <a:pt x="46" y="126"/>
                </a:lnTo>
                <a:lnTo>
                  <a:pt x="50" y="126"/>
                </a:lnTo>
                <a:lnTo>
                  <a:pt x="54" y="128"/>
                </a:lnTo>
                <a:lnTo>
                  <a:pt x="56" y="132"/>
                </a:lnTo>
                <a:lnTo>
                  <a:pt x="56" y="136"/>
                </a:lnTo>
                <a:lnTo>
                  <a:pt x="56" y="212"/>
                </a:lnTo>
                <a:lnTo>
                  <a:pt x="56" y="212"/>
                </a:lnTo>
                <a:lnTo>
                  <a:pt x="56" y="216"/>
                </a:lnTo>
                <a:lnTo>
                  <a:pt x="54" y="218"/>
                </a:lnTo>
                <a:lnTo>
                  <a:pt x="50" y="220"/>
                </a:lnTo>
                <a:lnTo>
                  <a:pt x="46" y="222"/>
                </a:lnTo>
                <a:lnTo>
                  <a:pt x="10" y="222"/>
                </a:lnTo>
                <a:lnTo>
                  <a:pt x="10" y="222"/>
                </a:lnTo>
                <a:lnTo>
                  <a:pt x="6" y="220"/>
                </a:lnTo>
                <a:lnTo>
                  <a:pt x="2" y="218"/>
                </a:lnTo>
                <a:lnTo>
                  <a:pt x="0" y="216"/>
                </a:lnTo>
                <a:lnTo>
                  <a:pt x="0" y="212"/>
                </a:lnTo>
                <a:lnTo>
                  <a:pt x="0" y="212"/>
                </a:lnTo>
                <a:close/>
                <a:moveTo>
                  <a:pt x="100" y="222"/>
                </a:moveTo>
                <a:lnTo>
                  <a:pt x="136" y="222"/>
                </a:lnTo>
                <a:lnTo>
                  <a:pt x="136" y="222"/>
                </a:lnTo>
                <a:lnTo>
                  <a:pt x="140" y="220"/>
                </a:lnTo>
                <a:lnTo>
                  <a:pt x="142" y="218"/>
                </a:lnTo>
                <a:lnTo>
                  <a:pt x="144" y="216"/>
                </a:lnTo>
                <a:lnTo>
                  <a:pt x="146" y="212"/>
                </a:lnTo>
                <a:lnTo>
                  <a:pt x="146" y="58"/>
                </a:lnTo>
                <a:lnTo>
                  <a:pt x="146" y="58"/>
                </a:lnTo>
                <a:lnTo>
                  <a:pt x="144" y="54"/>
                </a:lnTo>
                <a:lnTo>
                  <a:pt x="142" y="52"/>
                </a:lnTo>
                <a:lnTo>
                  <a:pt x="140" y="50"/>
                </a:lnTo>
                <a:lnTo>
                  <a:pt x="136" y="48"/>
                </a:lnTo>
                <a:lnTo>
                  <a:pt x="100" y="48"/>
                </a:lnTo>
                <a:lnTo>
                  <a:pt x="100" y="48"/>
                </a:lnTo>
                <a:lnTo>
                  <a:pt x="96" y="50"/>
                </a:lnTo>
                <a:lnTo>
                  <a:pt x="92" y="52"/>
                </a:lnTo>
                <a:lnTo>
                  <a:pt x="90" y="54"/>
                </a:lnTo>
                <a:lnTo>
                  <a:pt x="90" y="58"/>
                </a:lnTo>
                <a:lnTo>
                  <a:pt x="90" y="212"/>
                </a:lnTo>
                <a:lnTo>
                  <a:pt x="90" y="212"/>
                </a:lnTo>
                <a:lnTo>
                  <a:pt x="90" y="216"/>
                </a:lnTo>
                <a:lnTo>
                  <a:pt x="92" y="218"/>
                </a:lnTo>
                <a:lnTo>
                  <a:pt x="96" y="220"/>
                </a:lnTo>
                <a:lnTo>
                  <a:pt x="100" y="222"/>
                </a:lnTo>
                <a:lnTo>
                  <a:pt x="100" y="222"/>
                </a:lnTo>
                <a:close/>
                <a:moveTo>
                  <a:pt x="188" y="222"/>
                </a:moveTo>
                <a:lnTo>
                  <a:pt x="224" y="222"/>
                </a:lnTo>
                <a:lnTo>
                  <a:pt x="224" y="222"/>
                </a:lnTo>
                <a:lnTo>
                  <a:pt x="228" y="220"/>
                </a:lnTo>
                <a:lnTo>
                  <a:pt x="232" y="218"/>
                </a:lnTo>
                <a:lnTo>
                  <a:pt x="234" y="216"/>
                </a:lnTo>
                <a:lnTo>
                  <a:pt x="234" y="212"/>
                </a:lnTo>
                <a:lnTo>
                  <a:pt x="234" y="86"/>
                </a:lnTo>
                <a:lnTo>
                  <a:pt x="234" y="86"/>
                </a:lnTo>
                <a:lnTo>
                  <a:pt x="234" y="82"/>
                </a:lnTo>
                <a:lnTo>
                  <a:pt x="232" y="78"/>
                </a:lnTo>
                <a:lnTo>
                  <a:pt x="228" y="76"/>
                </a:lnTo>
                <a:lnTo>
                  <a:pt x="224" y="76"/>
                </a:lnTo>
                <a:lnTo>
                  <a:pt x="188" y="76"/>
                </a:lnTo>
                <a:lnTo>
                  <a:pt x="188" y="76"/>
                </a:lnTo>
                <a:lnTo>
                  <a:pt x="184" y="76"/>
                </a:lnTo>
                <a:lnTo>
                  <a:pt x="182" y="78"/>
                </a:lnTo>
                <a:lnTo>
                  <a:pt x="180" y="82"/>
                </a:lnTo>
                <a:lnTo>
                  <a:pt x="178" y="86"/>
                </a:lnTo>
                <a:lnTo>
                  <a:pt x="178" y="212"/>
                </a:lnTo>
                <a:lnTo>
                  <a:pt x="178" y="212"/>
                </a:lnTo>
                <a:lnTo>
                  <a:pt x="180" y="216"/>
                </a:lnTo>
                <a:lnTo>
                  <a:pt x="182" y="218"/>
                </a:lnTo>
                <a:lnTo>
                  <a:pt x="184" y="220"/>
                </a:lnTo>
                <a:lnTo>
                  <a:pt x="188" y="222"/>
                </a:lnTo>
                <a:lnTo>
                  <a:pt x="188" y="222"/>
                </a:lnTo>
                <a:close/>
                <a:moveTo>
                  <a:pt x="314" y="0"/>
                </a:moveTo>
                <a:lnTo>
                  <a:pt x="278" y="0"/>
                </a:lnTo>
                <a:lnTo>
                  <a:pt x="278" y="0"/>
                </a:lnTo>
                <a:lnTo>
                  <a:pt x="274" y="0"/>
                </a:lnTo>
                <a:lnTo>
                  <a:pt x="270" y="2"/>
                </a:lnTo>
                <a:lnTo>
                  <a:pt x="268" y="6"/>
                </a:lnTo>
                <a:lnTo>
                  <a:pt x="268" y="10"/>
                </a:lnTo>
                <a:lnTo>
                  <a:pt x="268" y="212"/>
                </a:lnTo>
                <a:lnTo>
                  <a:pt x="268" y="212"/>
                </a:lnTo>
                <a:lnTo>
                  <a:pt x="268" y="216"/>
                </a:lnTo>
                <a:lnTo>
                  <a:pt x="270" y="218"/>
                </a:lnTo>
                <a:lnTo>
                  <a:pt x="274" y="220"/>
                </a:lnTo>
                <a:lnTo>
                  <a:pt x="278" y="222"/>
                </a:lnTo>
                <a:lnTo>
                  <a:pt x="314" y="222"/>
                </a:lnTo>
                <a:lnTo>
                  <a:pt x="314" y="222"/>
                </a:lnTo>
                <a:lnTo>
                  <a:pt x="318" y="220"/>
                </a:lnTo>
                <a:lnTo>
                  <a:pt x="322" y="218"/>
                </a:lnTo>
                <a:lnTo>
                  <a:pt x="324" y="216"/>
                </a:lnTo>
                <a:lnTo>
                  <a:pt x="324" y="212"/>
                </a:lnTo>
                <a:lnTo>
                  <a:pt x="324" y="10"/>
                </a:lnTo>
                <a:lnTo>
                  <a:pt x="324" y="10"/>
                </a:lnTo>
                <a:lnTo>
                  <a:pt x="324" y="6"/>
                </a:lnTo>
                <a:lnTo>
                  <a:pt x="322" y="2"/>
                </a:lnTo>
                <a:lnTo>
                  <a:pt x="318" y="0"/>
                </a:lnTo>
                <a:lnTo>
                  <a:pt x="314" y="0"/>
                </a:lnTo>
                <a:lnTo>
                  <a:pt x="314" y="0"/>
                </a:lnTo>
                <a:close/>
                <a:moveTo>
                  <a:pt x="324" y="242"/>
                </a:moveTo>
                <a:lnTo>
                  <a:pt x="0" y="242"/>
                </a:lnTo>
                <a:lnTo>
                  <a:pt x="0" y="262"/>
                </a:lnTo>
                <a:lnTo>
                  <a:pt x="324" y="262"/>
                </a:lnTo>
                <a:lnTo>
                  <a:pt x="324" y="242"/>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sp>
        <p:nvSpPr>
          <p:cNvPr id="63" name="Google Shape;447;p5">
            <a:extLst>
              <a:ext uri="{FF2B5EF4-FFF2-40B4-BE49-F238E27FC236}">
                <a16:creationId xmlns:a16="http://schemas.microsoft.com/office/drawing/2014/main" id="{8D646F89-CE3E-0CEA-5250-08FC9705B3AF}"/>
              </a:ext>
            </a:extLst>
          </p:cNvPr>
          <p:cNvSpPr/>
          <p:nvPr/>
        </p:nvSpPr>
        <p:spPr>
          <a:xfrm>
            <a:off x="264267" y="2109183"/>
            <a:ext cx="432000" cy="432000"/>
          </a:xfrm>
          <a:custGeom>
            <a:avLst/>
            <a:gdLst/>
            <a:ahLst/>
            <a:cxnLst/>
            <a:rect l="l" t="t" r="r" b="b"/>
            <a:pathLst>
              <a:path w="360" h="340" extrusionOk="0">
                <a:moveTo>
                  <a:pt x="274" y="56"/>
                </a:moveTo>
                <a:lnTo>
                  <a:pt x="258" y="116"/>
                </a:lnTo>
                <a:lnTo>
                  <a:pt x="258" y="116"/>
                </a:lnTo>
                <a:lnTo>
                  <a:pt x="254" y="120"/>
                </a:lnTo>
                <a:lnTo>
                  <a:pt x="250" y="120"/>
                </a:lnTo>
                <a:lnTo>
                  <a:pt x="190" y="104"/>
                </a:lnTo>
                <a:lnTo>
                  <a:pt x="190" y="104"/>
                </a:lnTo>
                <a:lnTo>
                  <a:pt x="188" y="102"/>
                </a:lnTo>
                <a:lnTo>
                  <a:pt x="186" y="98"/>
                </a:lnTo>
                <a:lnTo>
                  <a:pt x="186" y="98"/>
                </a:lnTo>
                <a:lnTo>
                  <a:pt x="186" y="94"/>
                </a:lnTo>
                <a:lnTo>
                  <a:pt x="190" y="92"/>
                </a:lnTo>
                <a:lnTo>
                  <a:pt x="204" y="82"/>
                </a:lnTo>
                <a:lnTo>
                  <a:pt x="180" y="42"/>
                </a:lnTo>
                <a:lnTo>
                  <a:pt x="180" y="42"/>
                </a:lnTo>
                <a:lnTo>
                  <a:pt x="166" y="18"/>
                </a:lnTo>
                <a:lnTo>
                  <a:pt x="166" y="18"/>
                </a:lnTo>
                <a:lnTo>
                  <a:pt x="164" y="14"/>
                </a:lnTo>
                <a:lnTo>
                  <a:pt x="160" y="12"/>
                </a:lnTo>
                <a:lnTo>
                  <a:pt x="154" y="12"/>
                </a:lnTo>
                <a:lnTo>
                  <a:pt x="150" y="14"/>
                </a:lnTo>
                <a:lnTo>
                  <a:pt x="150" y="14"/>
                </a:lnTo>
                <a:lnTo>
                  <a:pt x="148" y="16"/>
                </a:lnTo>
                <a:lnTo>
                  <a:pt x="146" y="20"/>
                </a:lnTo>
                <a:lnTo>
                  <a:pt x="146" y="26"/>
                </a:lnTo>
                <a:lnTo>
                  <a:pt x="146" y="30"/>
                </a:lnTo>
                <a:lnTo>
                  <a:pt x="168" y="66"/>
                </a:lnTo>
                <a:lnTo>
                  <a:pt x="120" y="146"/>
                </a:lnTo>
                <a:lnTo>
                  <a:pt x="120" y="146"/>
                </a:lnTo>
                <a:lnTo>
                  <a:pt x="116" y="150"/>
                </a:lnTo>
                <a:lnTo>
                  <a:pt x="110" y="150"/>
                </a:lnTo>
                <a:lnTo>
                  <a:pt x="78" y="130"/>
                </a:lnTo>
                <a:lnTo>
                  <a:pt x="78" y="130"/>
                </a:lnTo>
                <a:lnTo>
                  <a:pt x="76" y="126"/>
                </a:lnTo>
                <a:lnTo>
                  <a:pt x="76" y="126"/>
                </a:lnTo>
                <a:lnTo>
                  <a:pt x="76" y="120"/>
                </a:lnTo>
                <a:lnTo>
                  <a:pt x="144" y="4"/>
                </a:lnTo>
                <a:lnTo>
                  <a:pt x="144" y="4"/>
                </a:lnTo>
                <a:lnTo>
                  <a:pt x="144" y="4"/>
                </a:lnTo>
                <a:lnTo>
                  <a:pt x="144" y="4"/>
                </a:lnTo>
                <a:lnTo>
                  <a:pt x="146" y="2"/>
                </a:lnTo>
                <a:lnTo>
                  <a:pt x="146" y="2"/>
                </a:lnTo>
                <a:lnTo>
                  <a:pt x="146" y="2"/>
                </a:lnTo>
                <a:lnTo>
                  <a:pt x="146" y="2"/>
                </a:lnTo>
                <a:lnTo>
                  <a:pt x="146" y="2"/>
                </a:lnTo>
                <a:lnTo>
                  <a:pt x="146" y="2"/>
                </a:lnTo>
                <a:lnTo>
                  <a:pt x="146" y="0"/>
                </a:lnTo>
                <a:lnTo>
                  <a:pt x="146" y="0"/>
                </a:lnTo>
                <a:lnTo>
                  <a:pt x="148" y="0"/>
                </a:lnTo>
                <a:lnTo>
                  <a:pt x="148" y="0"/>
                </a:lnTo>
                <a:lnTo>
                  <a:pt x="148" y="0"/>
                </a:lnTo>
                <a:lnTo>
                  <a:pt x="148" y="0"/>
                </a:lnTo>
                <a:lnTo>
                  <a:pt x="150" y="0"/>
                </a:lnTo>
                <a:lnTo>
                  <a:pt x="210" y="0"/>
                </a:lnTo>
                <a:lnTo>
                  <a:pt x="210" y="0"/>
                </a:lnTo>
                <a:lnTo>
                  <a:pt x="214" y="0"/>
                </a:lnTo>
                <a:lnTo>
                  <a:pt x="218" y="4"/>
                </a:lnTo>
                <a:lnTo>
                  <a:pt x="248" y="58"/>
                </a:lnTo>
                <a:lnTo>
                  <a:pt x="264" y="48"/>
                </a:lnTo>
                <a:lnTo>
                  <a:pt x="264" y="48"/>
                </a:lnTo>
                <a:lnTo>
                  <a:pt x="268" y="48"/>
                </a:lnTo>
                <a:lnTo>
                  <a:pt x="272" y="48"/>
                </a:lnTo>
                <a:lnTo>
                  <a:pt x="272" y="48"/>
                </a:lnTo>
                <a:lnTo>
                  <a:pt x="274" y="50"/>
                </a:lnTo>
                <a:lnTo>
                  <a:pt x="274" y="50"/>
                </a:lnTo>
                <a:lnTo>
                  <a:pt x="274" y="56"/>
                </a:lnTo>
                <a:lnTo>
                  <a:pt x="274" y="56"/>
                </a:lnTo>
                <a:close/>
                <a:moveTo>
                  <a:pt x="360" y="254"/>
                </a:moveTo>
                <a:lnTo>
                  <a:pt x="360" y="254"/>
                </a:lnTo>
                <a:lnTo>
                  <a:pt x="360" y="254"/>
                </a:lnTo>
                <a:lnTo>
                  <a:pt x="360" y="254"/>
                </a:lnTo>
                <a:lnTo>
                  <a:pt x="360" y="252"/>
                </a:lnTo>
                <a:lnTo>
                  <a:pt x="360" y="252"/>
                </a:lnTo>
                <a:lnTo>
                  <a:pt x="360" y="252"/>
                </a:lnTo>
                <a:lnTo>
                  <a:pt x="292" y="134"/>
                </a:lnTo>
                <a:lnTo>
                  <a:pt x="292" y="134"/>
                </a:lnTo>
                <a:lnTo>
                  <a:pt x="286" y="132"/>
                </a:lnTo>
                <a:lnTo>
                  <a:pt x="286" y="132"/>
                </a:lnTo>
                <a:lnTo>
                  <a:pt x="282" y="132"/>
                </a:lnTo>
                <a:lnTo>
                  <a:pt x="250" y="150"/>
                </a:lnTo>
                <a:lnTo>
                  <a:pt x="250" y="150"/>
                </a:lnTo>
                <a:lnTo>
                  <a:pt x="246" y="154"/>
                </a:lnTo>
                <a:lnTo>
                  <a:pt x="246" y="160"/>
                </a:lnTo>
                <a:lnTo>
                  <a:pt x="294" y="240"/>
                </a:lnTo>
                <a:lnTo>
                  <a:pt x="336" y="240"/>
                </a:lnTo>
                <a:lnTo>
                  <a:pt x="336" y="240"/>
                </a:lnTo>
                <a:lnTo>
                  <a:pt x="340" y="242"/>
                </a:lnTo>
                <a:lnTo>
                  <a:pt x="344" y="244"/>
                </a:lnTo>
                <a:lnTo>
                  <a:pt x="346" y="248"/>
                </a:lnTo>
                <a:lnTo>
                  <a:pt x="346" y="252"/>
                </a:lnTo>
                <a:lnTo>
                  <a:pt x="346" y="252"/>
                </a:lnTo>
                <a:lnTo>
                  <a:pt x="346" y="256"/>
                </a:lnTo>
                <a:lnTo>
                  <a:pt x="344" y="260"/>
                </a:lnTo>
                <a:lnTo>
                  <a:pt x="340" y="262"/>
                </a:lnTo>
                <a:lnTo>
                  <a:pt x="336" y="264"/>
                </a:lnTo>
                <a:lnTo>
                  <a:pt x="306" y="264"/>
                </a:lnTo>
                <a:lnTo>
                  <a:pt x="306" y="264"/>
                </a:lnTo>
                <a:lnTo>
                  <a:pt x="260" y="264"/>
                </a:lnTo>
                <a:lnTo>
                  <a:pt x="260" y="248"/>
                </a:lnTo>
                <a:lnTo>
                  <a:pt x="260" y="248"/>
                </a:lnTo>
                <a:lnTo>
                  <a:pt x="260" y="242"/>
                </a:lnTo>
                <a:lnTo>
                  <a:pt x="256" y="240"/>
                </a:lnTo>
                <a:lnTo>
                  <a:pt x="256" y="240"/>
                </a:lnTo>
                <a:lnTo>
                  <a:pt x="252" y="240"/>
                </a:lnTo>
                <a:lnTo>
                  <a:pt x="248" y="242"/>
                </a:lnTo>
                <a:lnTo>
                  <a:pt x="206" y="284"/>
                </a:lnTo>
                <a:lnTo>
                  <a:pt x="206" y="284"/>
                </a:lnTo>
                <a:lnTo>
                  <a:pt x="204" y="290"/>
                </a:lnTo>
                <a:lnTo>
                  <a:pt x="206" y="296"/>
                </a:lnTo>
                <a:lnTo>
                  <a:pt x="248" y="338"/>
                </a:lnTo>
                <a:lnTo>
                  <a:pt x="248" y="338"/>
                </a:lnTo>
                <a:lnTo>
                  <a:pt x="254" y="340"/>
                </a:lnTo>
                <a:lnTo>
                  <a:pt x="254" y="340"/>
                </a:lnTo>
                <a:lnTo>
                  <a:pt x="256" y="340"/>
                </a:lnTo>
                <a:lnTo>
                  <a:pt x="256" y="340"/>
                </a:lnTo>
                <a:lnTo>
                  <a:pt x="260" y="336"/>
                </a:lnTo>
                <a:lnTo>
                  <a:pt x="260" y="332"/>
                </a:lnTo>
                <a:lnTo>
                  <a:pt x="260" y="316"/>
                </a:lnTo>
                <a:lnTo>
                  <a:pt x="322" y="316"/>
                </a:lnTo>
                <a:lnTo>
                  <a:pt x="322" y="316"/>
                </a:lnTo>
                <a:lnTo>
                  <a:pt x="326" y="314"/>
                </a:lnTo>
                <a:lnTo>
                  <a:pt x="328" y="312"/>
                </a:lnTo>
                <a:lnTo>
                  <a:pt x="360" y="260"/>
                </a:lnTo>
                <a:lnTo>
                  <a:pt x="360" y="260"/>
                </a:lnTo>
                <a:lnTo>
                  <a:pt x="360" y="258"/>
                </a:lnTo>
                <a:lnTo>
                  <a:pt x="360" y="258"/>
                </a:lnTo>
                <a:lnTo>
                  <a:pt x="360" y="256"/>
                </a:lnTo>
                <a:lnTo>
                  <a:pt x="360" y="256"/>
                </a:lnTo>
                <a:lnTo>
                  <a:pt x="360" y="256"/>
                </a:lnTo>
                <a:lnTo>
                  <a:pt x="360" y="256"/>
                </a:lnTo>
                <a:lnTo>
                  <a:pt x="360" y="256"/>
                </a:lnTo>
                <a:lnTo>
                  <a:pt x="360" y="256"/>
                </a:lnTo>
                <a:lnTo>
                  <a:pt x="360" y="254"/>
                </a:lnTo>
                <a:lnTo>
                  <a:pt x="360" y="254"/>
                </a:lnTo>
                <a:close/>
                <a:moveTo>
                  <a:pt x="172" y="264"/>
                </a:moveTo>
                <a:lnTo>
                  <a:pt x="80" y="264"/>
                </a:lnTo>
                <a:lnTo>
                  <a:pt x="58" y="300"/>
                </a:lnTo>
                <a:lnTo>
                  <a:pt x="58" y="300"/>
                </a:lnTo>
                <a:lnTo>
                  <a:pt x="54" y="304"/>
                </a:lnTo>
                <a:lnTo>
                  <a:pt x="48" y="306"/>
                </a:lnTo>
                <a:lnTo>
                  <a:pt x="48" y="306"/>
                </a:lnTo>
                <a:lnTo>
                  <a:pt x="44" y="304"/>
                </a:lnTo>
                <a:lnTo>
                  <a:pt x="44" y="304"/>
                </a:lnTo>
                <a:lnTo>
                  <a:pt x="40" y="302"/>
                </a:lnTo>
                <a:lnTo>
                  <a:pt x="38" y="298"/>
                </a:lnTo>
                <a:lnTo>
                  <a:pt x="38" y="294"/>
                </a:lnTo>
                <a:lnTo>
                  <a:pt x="38" y="290"/>
                </a:lnTo>
                <a:lnTo>
                  <a:pt x="54" y="264"/>
                </a:lnTo>
                <a:lnTo>
                  <a:pt x="54" y="264"/>
                </a:lnTo>
                <a:lnTo>
                  <a:pt x="76" y="224"/>
                </a:lnTo>
                <a:lnTo>
                  <a:pt x="90" y="234"/>
                </a:lnTo>
                <a:lnTo>
                  <a:pt x="90" y="234"/>
                </a:lnTo>
                <a:lnTo>
                  <a:pt x="94" y="234"/>
                </a:lnTo>
                <a:lnTo>
                  <a:pt x="98" y="232"/>
                </a:lnTo>
                <a:lnTo>
                  <a:pt x="98" y="232"/>
                </a:lnTo>
                <a:lnTo>
                  <a:pt x="102" y="230"/>
                </a:lnTo>
                <a:lnTo>
                  <a:pt x="102" y="224"/>
                </a:lnTo>
                <a:lnTo>
                  <a:pt x="86" y="166"/>
                </a:lnTo>
                <a:lnTo>
                  <a:pt x="86" y="166"/>
                </a:lnTo>
                <a:lnTo>
                  <a:pt x="82" y="162"/>
                </a:lnTo>
                <a:lnTo>
                  <a:pt x="76" y="162"/>
                </a:lnTo>
                <a:lnTo>
                  <a:pt x="18" y="176"/>
                </a:lnTo>
                <a:lnTo>
                  <a:pt x="18" y="176"/>
                </a:lnTo>
                <a:lnTo>
                  <a:pt x="14" y="180"/>
                </a:lnTo>
                <a:lnTo>
                  <a:pt x="14" y="180"/>
                </a:lnTo>
                <a:lnTo>
                  <a:pt x="14" y="184"/>
                </a:lnTo>
                <a:lnTo>
                  <a:pt x="14" y="184"/>
                </a:lnTo>
                <a:lnTo>
                  <a:pt x="14" y="188"/>
                </a:lnTo>
                <a:lnTo>
                  <a:pt x="16" y="190"/>
                </a:lnTo>
                <a:lnTo>
                  <a:pt x="32" y="200"/>
                </a:lnTo>
                <a:lnTo>
                  <a:pt x="0" y="252"/>
                </a:lnTo>
                <a:lnTo>
                  <a:pt x="0" y="252"/>
                </a:lnTo>
                <a:lnTo>
                  <a:pt x="0" y="256"/>
                </a:lnTo>
                <a:lnTo>
                  <a:pt x="0" y="260"/>
                </a:lnTo>
                <a:lnTo>
                  <a:pt x="32" y="312"/>
                </a:lnTo>
                <a:lnTo>
                  <a:pt x="32" y="312"/>
                </a:lnTo>
                <a:lnTo>
                  <a:pt x="32" y="314"/>
                </a:lnTo>
                <a:lnTo>
                  <a:pt x="32" y="314"/>
                </a:lnTo>
                <a:lnTo>
                  <a:pt x="32" y="314"/>
                </a:lnTo>
                <a:lnTo>
                  <a:pt x="32" y="314"/>
                </a:lnTo>
                <a:lnTo>
                  <a:pt x="34" y="314"/>
                </a:lnTo>
                <a:lnTo>
                  <a:pt x="34" y="314"/>
                </a:lnTo>
                <a:lnTo>
                  <a:pt x="34" y="316"/>
                </a:lnTo>
                <a:lnTo>
                  <a:pt x="34" y="316"/>
                </a:lnTo>
                <a:lnTo>
                  <a:pt x="36" y="316"/>
                </a:lnTo>
                <a:lnTo>
                  <a:pt x="36" y="316"/>
                </a:lnTo>
                <a:lnTo>
                  <a:pt x="36" y="316"/>
                </a:lnTo>
                <a:lnTo>
                  <a:pt x="36" y="316"/>
                </a:lnTo>
                <a:lnTo>
                  <a:pt x="38" y="316"/>
                </a:lnTo>
                <a:lnTo>
                  <a:pt x="38" y="316"/>
                </a:lnTo>
                <a:lnTo>
                  <a:pt x="38" y="316"/>
                </a:lnTo>
                <a:lnTo>
                  <a:pt x="172" y="316"/>
                </a:lnTo>
                <a:lnTo>
                  <a:pt x="172" y="316"/>
                </a:lnTo>
                <a:lnTo>
                  <a:pt x="178" y="314"/>
                </a:lnTo>
                <a:lnTo>
                  <a:pt x="178" y="314"/>
                </a:lnTo>
                <a:lnTo>
                  <a:pt x="180" y="308"/>
                </a:lnTo>
                <a:lnTo>
                  <a:pt x="180" y="272"/>
                </a:lnTo>
                <a:lnTo>
                  <a:pt x="180" y="272"/>
                </a:lnTo>
                <a:lnTo>
                  <a:pt x="178" y="266"/>
                </a:lnTo>
                <a:lnTo>
                  <a:pt x="172" y="264"/>
                </a:lnTo>
                <a:lnTo>
                  <a:pt x="172" y="264"/>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grpSp>
        <p:nvGrpSpPr>
          <p:cNvPr id="64" name="Google Shape;448;p5">
            <a:extLst>
              <a:ext uri="{FF2B5EF4-FFF2-40B4-BE49-F238E27FC236}">
                <a16:creationId xmlns:a16="http://schemas.microsoft.com/office/drawing/2014/main" id="{6AC3CC31-8081-FAEF-F7E7-AF4B013D8A65}"/>
              </a:ext>
            </a:extLst>
          </p:cNvPr>
          <p:cNvGrpSpPr/>
          <p:nvPr/>
        </p:nvGrpSpPr>
        <p:grpSpPr>
          <a:xfrm>
            <a:off x="282976" y="3632573"/>
            <a:ext cx="468000" cy="467999"/>
            <a:chOff x="3525" y="2005"/>
            <a:chExt cx="446" cy="441"/>
          </a:xfrm>
        </p:grpSpPr>
        <p:sp>
          <p:nvSpPr>
            <p:cNvPr id="65" name="Google Shape;449;p5">
              <a:extLst>
                <a:ext uri="{FF2B5EF4-FFF2-40B4-BE49-F238E27FC236}">
                  <a16:creationId xmlns:a16="http://schemas.microsoft.com/office/drawing/2014/main" id="{E7ED449C-03FD-18D2-A574-62969C1680AF}"/>
                </a:ext>
              </a:extLst>
            </p:cNvPr>
            <p:cNvSpPr/>
            <p:nvPr/>
          </p:nvSpPr>
          <p:spPr>
            <a:xfrm>
              <a:off x="3525" y="2024"/>
              <a:ext cx="178" cy="281"/>
            </a:xfrm>
            <a:custGeom>
              <a:avLst/>
              <a:gdLst/>
              <a:ahLst/>
              <a:cxnLst/>
              <a:rect l="l" t="t" r="r" b="b"/>
              <a:pathLst>
                <a:path w="78" h="123" extrusionOk="0">
                  <a:moveTo>
                    <a:pt x="8" y="123"/>
                  </a:moveTo>
                  <a:cubicBezTo>
                    <a:pt x="6" y="123"/>
                    <a:pt x="5" y="122"/>
                    <a:pt x="4" y="120"/>
                  </a:cubicBezTo>
                  <a:cubicBezTo>
                    <a:pt x="1" y="111"/>
                    <a:pt x="0" y="101"/>
                    <a:pt x="0" y="91"/>
                  </a:cubicBezTo>
                  <a:cubicBezTo>
                    <a:pt x="0" y="47"/>
                    <a:pt x="30" y="9"/>
                    <a:pt x="73" y="0"/>
                  </a:cubicBezTo>
                  <a:cubicBezTo>
                    <a:pt x="75" y="0"/>
                    <a:pt x="77" y="1"/>
                    <a:pt x="78" y="3"/>
                  </a:cubicBezTo>
                  <a:cubicBezTo>
                    <a:pt x="78" y="5"/>
                    <a:pt x="77" y="7"/>
                    <a:pt x="75" y="7"/>
                  </a:cubicBezTo>
                  <a:cubicBezTo>
                    <a:pt x="36" y="16"/>
                    <a:pt x="7" y="51"/>
                    <a:pt x="7" y="91"/>
                  </a:cubicBezTo>
                  <a:cubicBezTo>
                    <a:pt x="7" y="100"/>
                    <a:pt x="9" y="109"/>
                    <a:pt x="11" y="118"/>
                  </a:cubicBezTo>
                  <a:cubicBezTo>
                    <a:pt x="12" y="120"/>
                    <a:pt x="11" y="122"/>
                    <a:pt x="9" y="123"/>
                  </a:cubicBezTo>
                  <a:cubicBezTo>
                    <a:pt x="9" y="123"/>
                    <a:pt x="8" y="123"/>
                    <a:pt x="8" y="123"/>
                  </a:cubicBez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66" name="Google Shape;450;p5">
              <a:extLst>
                <a:ext uri="{FF2B5EF4-FFF2-40B4-BE49-F238E27FC236}">
                  <a16:creationId xmlns:a16="http://schemas.microsoft.com/office/drawing/2014/main" id="{6F0FE46E-D3EF-FAA0-11D2-7A3CC04BD198}"/>
                </a:ext>
              </a:extLst>
            </p:cNvPr>
            <p:cNvSpPr/>
            <p:nvPr/>
          </p:nvSpPr>
          <p:spPr>
            <a:xfrm>
              <a:off x="3680" y="2005"/>
              <a:ext cx="57" cy="60"/>
            </a:xfrm>
            <a:custGeom>
              <a:avLst/>
              <a:gdLst/>
              <a:ahLst/>
              <a:cxnLst/>
              <a:rect l="l" t="t" r="r" b="b"/>
              <a:pathLst>
                <a:path w="57" h="60" extrusionOk="0">
                  <a:moveTo>
                    <a:pt x="9" y="60"/>
                  </a:moveTo>
                  <a:lnTo>
                    <a:pt x="57" y="23"/>
                  </a:lnTo>
                  <a:lnTo>
                    <a:pt x="0" y="0"/>
                  </a:lnTo>
                  <a:lnTo>
                    <a:pt x="9" y="60"/>
                  </a:ln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67" name="Google Shape;451;p5">
              <a:extLst>
                <a:ext uri="{FF2B5EF4-FFF2-40B4-BE49-F238E27FC236}">
                  <a16:creationId xmlns:a16="http://schemas.microsoft.com/office/drawing/2014/main" id="{E4C72FA7-4DA3-455C-754F-F273059F567A}"/>
                </a:ext>
              </a:extLst>
            </p:cNvPr>
            <p:cNvSpPr/>
            <p:nvPr/>
          </p:nvSpPr>
          <p:spPr>
            <a:xfrm>
              <a:off x="3580" y="2357"/>
              <a:ext cx="322" cy="89"/>
            </a:xfrm>
            <a:custGeom>
              <a:avLst/>
              <a:gdLst/>
              <a:ahLst/>
              <a:cxnLst/>
              <a:rect l="l" t="t" r="r" b="b"/>
              <a:pathLst>
                <a:path w="141" h="39" extrusionOk="0">
                  <a:moveTo>
                    <a:pt x="70" y="37"/>
                  </a:moveTo>
                  <a:cubicBezTo>
                    <a:pt x="44" y="37"/>
                    <a:pt x="19" y="27"/>
                    <a:pt x="1" y="7"/>
                  </a:cubicBezTo>
                  <a:cubicBezTo>
                    <a:pt x="0" y="5"/>
                    <a:pt x="0" y="3"/>
                    <a:pt x="1" y="2"/>
                  </a:cubicBezTo>
                  <a:cubicBezTo>
                    <a:pt x="3" y="0"/>
                    <a:pt x="5" y="0"/>
                    <a:pt x="7" y="2"/>
                  </a:cubicBezTo>
                  <a:cubicBezTo>
                    <a:pt x="33" y="32"/>
                    <a:pt x="78" y="39"/>
                    <a:pt x="113" y="18"/>
                  </a:cubicBezTo>
                  <a:cubicBezTo>
                    <a:pt x="121" y="14"/>
                    <a:pt x="128" y="8"/>
                    <a:pt x="134" y="1"/>
                  </a:cubicBezTo>
                  <a:cubicBezTo>
                    <a:pt x="135" y="0"/>
                    <a:pt x="138" y="0"/>
                    <a:pt x="139" y="1"/>
                  </a:cubicBezTo>
                  <a:cubicBezTo>
                    <a:pt x="141" y="2"/>
                    <a:pt x="141" y="5"/>
                    <a:pt x="140" y="6"/>
                  </a:cubicBezTo>
                  <a:cubicBezTo>
                    <a:pt x="133" y="14"/>
                    <a:pt x="125" y="20"/>
                    <a:pt x="117" y="25"/>
                  </a:cubicBezTo>
                  <a:cubicBezTo>
                    <a:pt x="102" y="33"/>
                    <a:pt x="86" y="37"/>
                    <a:pt x="70" y="37"/>
                  </a:cubicBez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68" name="Google Shape;452;p5">
              <a:extLst>
                <a:ext uri="{FF2B5EF4-FFF2-40B4-BE49-F238E27FC236}">
                  <a16:creationId xmlns:a16="http://schemas.microsoft.com/office/drawing/2014/main" id="{6EF8B849-78C0-0A54-0441-E404DFE26AB9}"/>
                </a:ext>
              </a:extLst>
            </p:cNvPr>
            <p:cNvSpPr/>
            <p:nvPr/>
          </p:nvSpPr>
          <p:spPr>
            <a:xfrm>
              <a:off x="3564" y="2332"/>
              <a:ext cx="55" cy="60"/>
            </a:xfrm>
            <a:custGeom>
              <a:avLst/>
              <a:gdLst/>
              <a:ahLst/>
              <a:cxnLst/>
              <a:rect l="l" t="t" r="r" b="b"/>
              <a:pathLst>
                <a:path w="55" h="60" extrusionOk="0">
                  <a:moveTo>
                    <a:pt x="55" y="23"/>
                  </a:moveTo>
                  <a:lnTo>
                    <a:pt x="0" y="0"/>
                  </a:lnTo>
                  <a:lnTo>
                    <a:pt x="7" y="60"/>
                  </a:lnTo>
                  <a:lnTo>
                    <a:pt x="55" y="23"/>
                  </a:ln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69" name="Google Shape;453;p5">
              <a:extLst>
                <a:ext uri="{FF2B5EF4-FFF2-40B4-BE49-F238E27FC236}">
                  <a16:creationId xmlns:a16="http://schemas.microsoft.com/office/drawing/2014/main" id="{270D33A1-82F2-5DA2-FF33-061D963CA7A7}"/>
                </a:ext>
              </a:extLst>
            </p:cNvPr>
            <p:cNvSpPr/>
            <p:nvPr/>
          </p:nvSpPr>
          <p:spPr>
            <a:xfrm>
              <a:off x="3769" y="2019"/>
              <a:ext cx="202" cy="281"/>
            </a:xfrm>
            <a:custGeom>
              <a:avLst/>
              <a:gdLst/>
              <a:ahLst/>
              <a:cxnLst/>
              <a:rect l="l" t="t" r="r" b="b"/>
              <a:pathLst>
                <a:path w="88" h="123" extrusionOk="0">
                  <a:moveTo>
                    <a:pt x="71" y="123"/>
                  </a:moveTo>
                  <a:cubicBezTo>
                    <a:pt x="70" y="123"/>
                    <a:pt x="70" y="123"/>
                    <a:pt x="70" y="123"/>
                  </a:cubicBezTo>
                  <a:cubicBezTo>
                    <a:pt x="68" y="122"/>
                    <a:pt x="67" y="120"/>
                    <a:pt x="67" y="118"/>
                  </a:cubicBezTo>
                  <a:cubicBezTo>
                    <a:pt x="80" y="80"/>
                    <a:pt x="63" y="37"/>
                    <a:pt x="28" y="17"/>
                  </a:cubicBezTo>
                  <a:cubicBezTo>
                    <a:pt x="21" y="13"/>
                    <a:pt x="12" y="10"/>
                    <a:pt x="3" y="8"/>
                  </a:cubicBezTo>
                  <a:cubicBezTo>
                    <a:pt x="1" y="7"/>
                    <a:pt x="0" y="5"/>
                    <a:pt x="0" y="3"/>
                  </a:cubicBezTo>
                  <a:cubicBezTo>
                    <a:pt x="1" y="1"/>
                    <a:pt x="2" y="0"/>
                    <a:pt x="5" y="0"/>
                  </a:cubicBezTo>
                  <a:cubicBezTo>
                    <a:pt x="14" y="2"/>
                    <a:pt x="24" y="6"/>
                    <a:pt x="32" y="11"/>
                  </a:cubicBezTo>
                  <a:cubicBezTo>
                    <a:pt x="70" y="33"/>
                    <a:pt x="88" y="79"/>
                    <a:pt x="74" y="120"/>
                  </a:cubicBezTo>
                  <a:cubicBezTo>
                    <a:pt x="74" y="122"/>
                    <a:pt x="72" y="123"/>
                    <a:pt x="71" y="123"/>
                  </a:cubicBez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70" name="Google Shape;454;p5">
              <a:extLst>
                <a:ext uri="{FF2B5EF4-FFF2-40B4-BE49-F238E27FC236}">
                  <a16:creationId xmlns:a16="http://schemas.microsoft.com/office/drawing/2014/main" id="{0C862CE4-4040-535F-18FC-7FD9698D0815}"/>
                </a:ext>
              </a:extLst>
            </p:cNvPr>
            <p:cNvSpPr/>
            <p:nvPr/>
          </p:nvSpPr>
          <p:spPr>
            <a:xfrm>
              <a:off x="3907" y="2270"/>
              <a:ext cx="54" cy="60"/>
            </a:xfrm>
            <a:custGeom>
              <a:avLst/>
              <a:gdLst/>
              <a:ahLst/>
              <a:cxnLst/>
              <a:rect l="l" t="t" r="r" b="b"/>
              <a:pathLst>
                <a:path w="54" h="60" extrusionOk="0">
                  <a:moveTo>
                    <a:pt x="0" y="0"/>
                  </a:moveTo>
                  <a:lnTo>
                    <a:pt x="6" y="60"/>
                  </a:lnTo>
                  <a:lnTo>
                    <a:pt x="54" y="23"/>
                  </a:lnTo>
                  <a:lnTo>
                    <a:pt x="0" y="0"/>
                  </a:ln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71" name="Google Shape;455;p5">
              <a:extLst>
                <a:ext uri="{FF2B5EF4-FFF2-40B4-BE49-F238E27FC236}">
                  <a16:creationId xmlns:a16="http://schemas.microsoft.com/office/drawing/2014/main" id="{8F21BD04-DA5E-C845-C01D-59E81B7CE58B}"/>
                </a:ext>
              </a:extLst>
            </p:cNvPr>
            <p:cNvSpPr/>
            <p:nvPr/>
          </p:nvSpPr>
          <p:spPr>
            <a:xfrm>
              <a:off x="3614" y="2101"/>
              <a:ext cx="251" cy="233"/>
            </a:xfrm>
            <a:custGeom>
              <a:avLst/>
              <a:gdLst/>
              <a:ahLst/>
              <a:cxnLst/>
              <a:rect l="l" t="t" r="r" b="b"/>
              <a:pathLst>
                <a:path w="110" h="102" extrusionOk="0">
                  <a:moveTo>
                    <a:pt x="4" y="102"/>
                  </a:moveTo>
                  <a:cubicBezTo>
                    <a:pt x="4" y="102"/>
                    <a:pt x="3" y="102"/>
                    <a:pt x="3" y="102"/>
                  </a:cubicBezTo>
                  <a:cubicBezTo>
                    <a:pt x="2" y="102"/>
                    <a:pt x="0" y="101"/>
                    <a:pt x="1" y="99"/>
                  </a:cubicBezTo>
                  <a:cubicBezTo>
                    <a:pt x="1" y="97"/>
                    <a:pt x="2" y="80"/>
                    <a:pt x="9" y="74"/>
                  </a:cubicBezTo>
                  <a:cubicBezTo>
                    <a:pt x="12" y="72"/>
                    <a:pt x="18" y="69"/>
                    <a:pt x="27" y="66"/>
                  </a:cubicBezTo>
                  <a:cubicBezTo>
                    <a:pt x="31" y="65"/>
                    <a:pt x="35" y="63"/>
                    <a:pt x="36" y="63"/>
                  </a:cubicBezTo>
                  <a:cubicBezTo>
                    <a:pt x="37" y="61"/>
                    <a:pt x="39" y="58"/>
                    <a:pt x="39" y="57"/>
                  </a:cubicBezTo>
                  <a:cubicBezTo>
                    <a:pt x="39" y="57"/>
                    <a:pt x="40" y="57"/>
                    <a:pt x="40" y="56"/>
                  </a:cubicBezTo>
                  <a:cubicBezTo>
                    <a:pt x="39" y="55"/>
                    <a:pt x="39" y="52"/>
                    <a:pt x="38" y="49"/>
                  </a:cubicBezTo>
                  <a:cubicBezTo>
                    <a:pt x="38" y="48"/>
                    <a:pt x="38" y="48"/>
                    <a:pt x="38" y="47"/>
                  </a:cubicBezTo>
                  <a:cubicBezTo>
                    <a:pt x="38" y="47"/>
                    <a:pt x="38" y="47"/>
                    <a:pt x="38" y="47"/>
                  </a:cubicBezTo>
                  <a:cubicBezTo>
                    <a:pt x="36" y="46"/>
                    <a:pt x="35" y="45"/>
                    <a:pt x="34" y="42"/>
                  </a:cubicBezTo>
                  <a:cubicBezTo>
                    <a:pt x="34" y="41"/>
                    <a:pt x="34" y="41"/>
                    <a:pt x="34" y="41"/>
                  </a:cubicBezTo>
                  <a:cubicBezTo>
                    <a:pt x="34" y="38"/>
                    <a:pt x="33" y="36"/>
                    <a:pt x="33" y="34"/>
                  </a:cubicBezTo>
                  <a:cubicBezTo>
                    <a:pt x="34" y="32"/>
                    <a:pt x="34" y="32"/>
                    <a:pt x="35" y="31"/>
                  </a:cubicBezTo>
                  <a:cubicBezTo>
                    <a:pt x="34" y="27"/>
                    <a:pt x="33" y="22"/>
                    <a:pt x="33" y="20"/>
                  </a:cubicBezTo>
                  <a:cubicBezTo>
                    <a:pt x="34" y="12"/>
                    <a:pt x="40" y="4"/>
                    <a:pt x="46" y="2"/>
                  </a:cubicBezTo>
                  <a:cubicBezTo>
                    <a:pt x="51" y="0"/>
                    <a:pt x="54" y="0"/>
                    <a:pt x="55" y="0"/>
                  </a:cubicBezTo>
                  <a:cubicBezTo>
                    <a:pt x="55" y="0"/>
                    <a:pt x="59" y="0"/>
                    <a:pt x="64" y="2"/>
                  </a:cubicBezTo>
                  <a:cubicBezTo>
                    <a:pt x="70" y="4"/>
                    <a:pt x="76" y="12"/>
                    <a:pt x="76" y="20"/>
                  </a:cubicBezTo>
                  <a:cubicBezTo>
                    <a:pt x="76" y="22"/>
                    <a:pt x="76" y="27"/>
                    <a:pt x="75" y="31"/>
                  </a:cubicBezTo>
                  <a:cubicBezTo>
                    <a:pt x="75" y="32"/>
                    <a:pt x="76" y="32"/>
                    <a:pt x="76" y="34"/>
                  </a:cubicBezTo>
                  <a:cubicBezTo>
                    <a:pt x="76" y="36"/>
                    <a:pt x="76" y="38"/>
                    <a:pt x="75" y="41"/>
                  </a:cubicBezTo>
                  <a:cubicBezTo>
                    <a:pt x="75" y="42"/>
                    <a:pt x="75" y="42"/>
                    <a:pt x="75" y="42"/>
                  </a:cubicBezTo>
                  <a:cubicBezTo>
                    <a:pt x="75" y="45"/>
                    <a:pt x="73" y="46"/>
                    <a:pt x="72" y="47"/>
                  </a:cubicBezTo>
                  <a:cubicBezTo>
                    <a:pt x="72" y="47"/>
                    <a:pt x="72" y="47"/>
                    <a:pt x="72" y="47"/>
                  </a:cubicBezTo>
                  <a:cubicBezTo>
                    <a:pt x="71" y="48"/>
                    <a:pt x="71" y="49"/>
                    <a:pt x="71" y="50"/>
                  </a:cubicBezTo>
                  <a:cubicBezTo>
                    <a:pt x="71" y="52"/>
                    <a:pt x="71" y="55"/>
                    <a:pt x="70" y="57"/>
                  </a:cubicBezTo>
                  <a:cubicBezTo>
                    <a:pt x="70" y="57"/>
                    <a:pt x="70" y="57"/>
                    <a:pt x="70" y="57"/>
                  </a:cubicBezTo>
                  <a:cubicBezTo>
                    <a:pt x="71" y="58"/>
                    <a:pt x="72" y="61"/>
                    <a:pt x="73" y="63"/>
                  </a:cubicBezTo>
                  <a:cubicBezTo>
                    <a:pt x="75" y="63"/>
                    <a:pt x="79" y="65"/>
                    <a:pt x="83" y="66"/>
                  </a:cubicBezTo>
                  <a:cubicBezTo>
                    <a:pt x="91" y="69"/>
                    <a:pt x="98" y="72"/>
                    <a:pt x="100" y="74"/>
                  </a:cubicBezTo>
                  <a:cubicBezTo>
                    <a:pt x="109" y="80"/>
                    <a:pt x="110" y="97"/>
                    <a:pt x="110" y="99"/>
                  </a:cubicBezTo>
                  <a:cubicBezTo>
                    <a:pt x="110" y="101"/>
                    <a:pt x="109" y="102"/>
                    <a:pt x="107" y="102"/>
                  </a:cubicBezTo>
                  <a:cubicBezTo>
                    <a:pt x="105" y="102"/>
                    <a:pt x="104" y="101"/>
                    <a:pt x="104" y="99"/>
                  </a:cubicBezTo>
                  <a:cubicBezTo>
                    <a:pt x="104" y="95"/>
                    <a:pt x="102" y="82"/>
                    <a:pt x="97" y="79"/>
                  </a:cubicBezTo>
                  <a:cubicBezTo>
                    <a:pt x="95" y="77"/>
                    <a:pt x="87" y="74"/>
                    <a:pt x="81" y="72"/>
                  </a:cubicBezTo>
                  <a:cubicBezTo>
                    <a:pt x="72" y="69"/>
                    <a:pt x="70" y="68"/>
                    <a:pt x="69" y="66"/>
                  </a:cubicBezTo>
                  <a:cubicBezTo>
                    <a:pt x="68" y="65"/>
                    <a:pt x="66" y="62"/>
                    <a:pt x="66" y="61"/>
                  </a:cubicBezTo>
                  <a:cubicBezTo>
                    <a:pt x="64" y="60"/>
                    <a:pt x="62" y="59"/>
                    <a:pt x="62" y="57"/>
                  </a:cubicBezTo>
                  <a:cubicBezTo>
                    <a:pt x="62" y="56"/>
                    <a:pt x="63" y="55"/>
                    <a:pt x="64" y="54"/>
                  </a:cubicBezTo>
                  <a:cubicBezTo>
                    <a:pt x="65" y="53"/>
                    <a:pt x="65" y="50"/>
                    <a:pt x="65" y="49"/>
                  </a:cubicBezTo>
                  <a:cubicBezTo>
                    <a:pt x="65" y="48"/>
                    <a:pt x="65" y="47"/>
                    <a:pt x="66" y="46"/>
                  </a:cubicBezTo>
                  <a:cubicBezTo>
                    <a:pt x="66" y="43"/>
                    <a:pt x="68" y="42"/>
                    <a:pt x="69" y="41"/>
                  </a:cubicBezTo>
                  <a:cubicBezTo>
                    <a:pt x="69" y="41"/>
                    <a:pt x="69" y="41"/>
                    <a:pt x="69" y="41"/>
                  </a:cubicBezTo>
                  <a:cubicBezTo>
                    <a:pt x="69" y="40"/>
                    <a:pt x="69" y="40"/>
                    <a:pt x="70" y="39"/>
                  </a:cubicBezTo>
                  <a:cubicBezTo>
                    <a:pt x="70" y="38"/>
                    <a:pt x="70" y="36"/>
                    <a:pt x="70" y="35"/>
                  </a:cubicBezTo>
                  <a:cubicBezTo>
                    <a:pt x="70" y="35"/>
                    <a:pt x="70" y="35"/>
                    <a:pt x="70" y="34"/>
                  </a:cubicBezTo>
                  <a:cubicBezTo>
                    <a:pt x="69" y="34"/>
                    <a:pt x="68" y="32"/>
                    <a:pt x="69" y="30"/>
                  </a:cubicBezTo>
                  <a:cubicBezTo>
                    <a:pt x="69" y="28"/>
                    <a:pt x="70" y="23"/>
                    <a:pt x="70" y="20"/>
                  </a:cubicBezTo>
                  <a:cubicBezTo>
                    <a:pt x="70" y="15"/>
                    <a:pt x="65" y="9"/>
                    <a:pt x="62" y="7"/>
                  </a:cubicBezTo>
                  <a:cubicBezTo>
                    <a:pt x="57" y="6"/>
                    <a:pt x="55" y="6"/>
                    <a:pt x="55" y="6"/>
                  </a:cubicBezTo>
                  <a:cubicBezTo>
                    <a:pt x="55" y="6"/>
                    <a:pt x="55" y="6"/>
                    <a:pt x="55" y="6"/>
                  </a:cubicBezTo>
                  <a:cubicBezTo>
                    <a:pt x="55" y="6"/>
                    <a:pt x="55" y="6"/>
                    <a:pt x="55" y="6"/>
                  </a:cubicBezTo>
                  <a:cubicBezTo>
                    <a:pt x="54" y="6"/>
                    <a:pt x="52" y="6"/>
                    <a:pt x="48" y="7"/>
                  </a:cubicBezTo>
                  <a:cubicBezTo>
                    <a:pt x="44" y="9"/>
                    <a:pt x="40" y="15"/>
                    <a:pt x="39" y="20"/>
                  </a:cubicBezTo>
                  <a:cubicBezTo>
                    <a:pt x="39" y="23"/>
                    <a:pt x="40" y="28"/>
                    <a:pt x="41" y="30"/>
                  </a:cubicBezTo>
                  <a:cubicBezTo>
                    <a:pt x="41" y="30"/>
                    <a:pt x="41" y="30"/>
                    <a:pt x="41" y="30"/>
                  </a:cubicBezTo>
                  <a:cubicBezTo>
                    <a:pt x="41" y="32"/>
                    <a:pt x="40" y="34"/>
                    <a:pt x="40" y="34"/>
                  </a:cubicBezTo>
                  <a:cubicBezTo>
                    <a:pt x="40" y="35"/>
                    <a:pt x="39" y="35"/>
                    <a:pt x="39" y="35"/>
                  </a:cubicBezTo>
                  <a:cubicBezTo>
                    <a:pt x="39" y="36"/>
                    <a:pt x="40" y="38"/>
                    <a:pt x="40" y="39"/>
                  </a:cubicBezTo>
                  <a:cubicBezTo>
                    <a:pt x="40" y="40"/>
                    <a:pt x="40" y="40"/>
                    <a:pt x="40" y="41"/>
                  </a:cubicBezTo>
                  <a:cubicBezTo>
                    <a:pt x="40" y="41"/>
                    <a:pt x="40" y="41"/>
                    <a:pt x="40" y="41"/>
                  </a:cubicBezTo>
                  <a:cubicBezTo>
                    <a:pt x="42" y="42"/>
                    <a:pt x="43" y="43"/>
                    <a:pt x="44" y="46"/>
                  </a:cubicBezTo>
                  <a:cubicBezTo>
                    <a:pt x="44" y="47"/>
                    <a:pt x="44" y="47"/>
                    <a:pt x="44" y="48"/>
                  </a:cubicBezTo>
                  <a:cubicBezTo>
                    <a:pt x="45" y="50"/>
                    <a:pt x="45" y="53"/>
                    <a:pt x="46" y="54"/>
                  </a:cubicBezTo>
                  <a:cubicBezTo>
                    <a:pt x="46" y="55"/>
                    <a:pt x="47" y="56"/>
                    <a:pt x="47" y="56"/>
                  </a:cubicBezTo>
                  <a:cubicBezTo>
                    <a:pt x="47" y="58"/>
                    <a:pt x="46" y="60"/>
                    <a:pt x="44" y="61"/>
                  </a:cubicBezTo>
                  <a:cubicBezTo>
                    <a:pt x="43" y="62"/>
                    <a:pt x="42" y="65"/>
                    <a:pt x="41" y="66"/>
                  </a:cubicBezTo>
                  <a:cubicBezTo>
                    <a:pt x="40" y="68"/>
                    <a:pt x="38" y="69"/>
                    <a:pt x="29" y="72"/>
                  </a:cubicBezTo>
                  <a:cubicBezTo>
                    <a:pt x="24" y="74"/>
                    <a:pt x="15" y="77"/>
                    <a:pt x="13" y="78"/>
                  </a:cubicBezTo>
                  <a:cubicBezTo>
                    <a:pt x="9" y="82"/>
                    <a:pt x="7" y="93"/>
                    <a:pt x="7" y="100"/>
                  </a:cubicBezTo>
                  <a:cubicBezTo>
                    <a:pt x="6" y="101"/>
                    <a:pt x="5" y="102"/>
                    <a:pt x="4" y="102"/>
                  </a:cubicBez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72" name="Google Shape;456;p5">
              <a:extLst>
                <a:ext uri="{FF2B5EF4-FFF2-40B4-BE49-F238E27FC236}">
                  <a16:creationId xmlns:a16="http://schemas.microsoft.com/office/drawing/2014/main" id="{BCA80A2B-47F5-5BFF-4C2A-3359606EE7E1}"/>
                </a:ext>
              </a:extLst>
            </p:cNvPr>
            <p:cNvSpPr/>
            <p:nvPr/>
          </p:nvSpPr>
          <p:spPr>
            <a:xfrm>
              <a:off x="3566" y="2133"/>
              <a:ext cx="126" cy="142"/>
            </a:xfrm>
            <a:custGeom>
              <a:avLst/>
              <a:gdLst/>
              <a:ahLst/>
              <a:cxnLst/>
              <a:rect l="l" t="t" r="r" b="b"/>
              <a:pathLst>
                <a:path w="55" h="62" extrusionOk="0">
                  <a:moveTo>
                    <a:pt x="44" y="37"/>
                  </a:moveTo>
                  <a:cubicBezTo>
                    <a:pt x="44" y="37"/>
                    <a:pt x="42" y="37"/>
                    <a:pt x="42" y="37"/>
                  </a:cubicBezTo>
                  <a:cubicBezTo>
                    <a:pt x="41" y="36"/>
                    <a:pt x="41" y="35"/>
                    <a:pt x="41" y="35"/>
                  </a:cubicBezTo>
                  <a:cubicBezTo>
                    <a:pt x="41" y="35"/>
                    <a:pt x="41" y="34"/>
                    <a:pt x="41" y="34"/>
                  </a:cubicBezTo>
                  <a:cubicBezTo>
                    <a:pt x="42" y="34"/>
                    <a:pt x="42" y="34"/>
                    <a:pt x="42" y="33"/>
                  </a:cubicBezTo>
                  <a:cubicBezTo>
                    <a:pt x="43" y="32"/>
                    <a:pt x="44" y="31"/>
                    <a:pt x="44" y="29"/>
                  </a:cubicBezTo>
                  <a:cubicBezTo>
                    <a:pt x="45" y="29"/>
                    <a:pt x="46" y="28"/>
                    <a:pt x="47" y="26"/>
                  </a:cubicBezTo>
                  <a:cubicBezTo>
                    <a:pt x="47" y="26"/>
                    <a:pt x="47" y="26"/>
                    <a:pt x="47" y="26"/>
                  </a:cubicBezTo>
                  <a:cubicBezTo>
                    <a:pt x="47" y="23"/>
                    <a:pt x="48" y="19"/>
                    <a:pt x="46" y="17"/>
                  </a:cubicBezTo>
                  <a:cubicBezTo>
                    <a:pt x="46" y="17"/>
                    <a:pt x="45" y="17"/>
                    <a:pt x="45" y="17"/>
                  </a:cubicBezTo>
                  <a:cubicBezTo>
                    <a:pt x="45" y="14"/>
                    <a:pt x="45" y="9"/>
                    <a:pt x="43" y="6"/>
                  </a:cubicBezTo>
                  <a:cubicBezTo>
                    <a:pt x="41" y="3"/>
                    <a:pt x="37" y="1"/>
                    <a:pt x="33" y="1"/>
                  </a:cubicBezTo>
                  <a:cubicBezTo>
                    <a:pt x="33" y="1"/>
                    <a:pt x="33" y="1"/>
                    <a:pt x="32" y="1"/>
                  </a:cubicBezTo>
                  <a:cubicBezTo>
                    <a:pt x="31" y="1"/>
                    <a:pt x="31" y="1"/>
                    <a:pt x="31" y="1"/>
                  </a:cubicBezTo>
                  <a:cubicBezTo>
                    <a:pt x="27" y="0"/>
                    <a:pt x="23" y="2"/>
                    <a:pt x="20" y="6"/>
                  </a:cubicBezTo>
                  <a:cubicBezTo>
                    <a:pt x="18" y="9"/>
                    <a:pt x="18" y="14"/>
                    <a:pt x="19" y="17"/>
                  </a:cubicBezTo>
                  <a:cubicBezTo>
                    <a:pt x="18" y="17"/>
                    <a:pt x="18" y="17"/>
                    <a:pt x="18" y="17"/>
                  </a:cubicBezTo>
                  <a:cubicBezTo>
                    <a:pt x="16" y="19"/>
                    <a:pt x="16" y="22"/>
                    <a:pt x="17" y="25"/>
                  </a:cubicBezTo>
                  <a:cubicBezTo>
                    <a:pt x="17" y="26"/>
                    <a:pt x="17" y="26"/>
                    <a:pt x="17" y="26"/>
                  </a:cubicBezTo>
                  <a:cubicBezTo>
                    <a:pt x="17" y="28"/>
                    <a:pt x="18" y="29"/>
                    <a:pt x="19" y="29"/>
                  </a:cubicBezTo>
                  <a:cubicBezTo>
                    <a:pt x="19" y="31"/>
                    <a:pt x="20" y="32"/>
                    <a:pt x="22" y="33"/>
                  </a:cubicBezTo>
                  <a:cubicBezTo>
                    <a:pt x="22" y="34"/>
                    <a:pt x="22" y="34"/>
                    <a:pt x="22" y="34"/>
                  </a:cubicBezTo>
                  <a:cubicBezTo>
                    <a:pt x="22" y="34"/>
                    <a:pt x="22" y="35"/>
                    <a:pt x="22" y="35"/>
                  </a:cubicBezTo>
                  <a:cubicBezTo>
                    <a:pt x="22" y="35"/>
                    <a:pt x="22" y="36"/>
                    <a:pt x="22" y="37"/>
                  </a:cubicBezTo>
                  <a:cubicBezTo>
                    <a:pt x="22" y="37"/>
                    <a:pt x="20" y="38"/>
                    <a:pt x="19" y="38"/>
                  </a:cubicBezTo>
                  <a:cubicBezTo>
                    <a:pt x="15" y="39"/>
                    <a:pt x="11" y="40"/>
                    <a:pt x="8" y="43"/>
                  </a:cubicBezTo>
                  <a:cubicBezTo>
                    <a:pt x="4" y="48"/>
                    <a:pt x="1" y="59"/>
                    <a:pt x="1" y="60"/>
                  </a:cubicBezTo>
                  <a:cubicBezTo>
                    <a:pt x="0" y="61"/>
                    <a:pt x="1" y="62"/>
                    <a:pt x="2" y="62"/>
                  </a:cubicBezTo>
                  <a:cubicBezTo>
                    <a:pt x="2" y="62"/>
                    <a:pt x="2" y="62"/>
                    <a:pt x="3" y="62"/>
                  </a:cubicBezTo>
                  <a:cubicBezTo>
                    <a:pt x="3" y="62"/>
                    <a:pt x="4" y="62"/>
                    <a:pt x="5" y="61"/>
                  </a:cubicBezTo>
                  <a:cubicBezTo>
                    <a:pt x="5" y="58"/>
                    <a:pt x="8" y="49"/>
                    <a:pt x="11" y="46"/>
                  </a:cubicBezTo>
                  <a:cubicBezTo>
                    <a:pt x="13" y="43"/>
                    <a:pt x="17" y="43"/>
                    <a:pt x="20" y="42"/>
                  </a:cubicBezTo>
                  <a:cubicBezTo>
                    <a:pt x="22" y="41"/>
                    <a:pt x="24" y="41"/>
                    <a:pt x="25" y="39"/>
                  </a:cubicBezTo>
                  <a:cubicBezTo>
                    <a:pt x="27" y="37"/>
                    <a:pt x="26" y="35"/>
                    <a:pt x="26" y="34"/>
                  </a:cubicBezTo>
                  <a:cubicBezTo>
                    <a:pt x="26" y="34"/>
                    <a:pt x="26" y="34"/>
                    <a:pt x="26" y="34"/>
                  </a:cubicBezTo>
                  <a:cubicBezTo>
                    <a:pt x="27" y="33"/>
                    <a:pt x="26" y="32"/>
                    <a:pt x="25" y="31"/>
                  </a:cubicBezTo>
                  <a:cubicBezTo>
                    <a:pt x="24" y="30"/>
                    <a:pt x="23" y="29"/>
                    <a:pt x="23" y="28"/>
                  </a:cubicBezTo>
                  <a:cubicBezTo>
                    <a:pt x="23" y="26"/>
                    <a:pt x="22" y="26"/>
                    <a:pt x="21" y="26"/>
                  </a:cubicBezTo>
                  <a:cubicBezTo>
                    <a:pt x="21" y="25"/>
                    <a:pt x="21" y="25"/>
                    <a:pt x="21" y="24"/>
                  </a:cubicBezTo>
                  <a:cubicBezTo>
                    <a:pt x="20" y="23"/>
                    <a:pt x="20" y="21"/>
                    <a:pt x="20" y="21"/>
                  </a:cubicBezTo>
                  <a:cubicBezTo>
                    <a:pt x="21" y="21"/>
                    <a:pt x="21" y="21"/>
                    <a:pt x="22" y="21"/>
                  </a:cubicBezTo>
                  <a:cubicBezTo>
                    <a:pt x="23" y="20"/>
                    <a:pt x="23" y="19"/>
                    <a:pt x="23" y="19"/>
                  </a:cubicBezTo>
                  <a:cubicBezTo>
                    <a:pt x="22" y="15"/>
                    <a:pt x="22" y="10"/>
                    <a:pt x="23" y="9"/>
                  </a:cubicBezTo>
                  <a:cubicBezTo>
                    <a:pt x="25" y="7"/>
                    <a:pt x="27" y="5"/>
                    <a:pt x="30" y="5"/>
                  </a:cubicBezTo>
                  <a:cubicBezTo>
                    <a:pt x="31" y="5"/>
                    <a:pt x="31" y="5"/>
                    <a:pt x="31" y="5"/>
                  </a:cubicBezTo>
                  <a:cubicBezTo>
                    <a:pt x="33" y="5"/>
                    <a:pt x="33" y="5"/>
                    <a:pt x="33" y="5"/>
                  </a:cubicBezTo>
                  <a:cubicBezTo>
                    <a:pt x="36" y="4"/>
                    <a:pt x="39" y="7"/>
                    <a:pt x="40" y="9"/>
                  </a:cubicBezTo>
                  <a:cubicBezTo>
                    <a:pt x="41" y="10"/>
                    <a:pt x="41" y="15"/>
                    <a:pt x="41" y="19"/>
                  </a:cubicBezTo>
                  <a:cubicBezTo>
                    <a:pt x="41" y="19"/>
                    <a:pt x="41" y="20"/>
                    <a:pt x="42" y="21"/>
                  </a:cubicBezTo>
                  <a:cubicBezTo>
                    <a:pt x="42" y="21"/>
                    <a:pt x="43" y="21"/>
                    <a:pt x="43" y="21"/>
                  </a:cubicBezTo>
                  <a:cubicBezTo>
                    <a:pt x="43" y="22"/>
                    <a:pt x="43" y="23"/>
                    <a:pt x="43" y="25"/>
                  </a:cubicBezTo>
                  <a:cubicBezTo>
                    <a:pt x="43" y="25"/>
                    <a:pt x="43" y="25"/>
                    <a:pt x="43" y="26"/>
                  </a:cubicBezTo>
                  <a:cubicBezTo>
                    <a:pt x="42" y="26"/>
                    <a:pt x="41" y="26"/>
                    <a:pt x="40" y="28"/>
                  </a:cubicBezTo>
                  <a:cubicBezTo>
                    <a:pt x="40" y="29"/>
                    <a:pt x="39" y="30"/>
                    <a:pt x="39" y="31"/>
                  </a:cubicBezTo>
                  <a:cubicBezTo>
                    <a:pt x="38" y="32"/>
                    <a:pt x="37" y="33"/>
                    <a:pt x="37" y="34"/>
                  </a:cubicBezTo>
                  <a:cubicBezTo>
                    <a:pt x="37" y="35"/>
                    <a:pt x="37" y="35"/>
                    <a:pt x="37" y="35"/>
                  </a:cubicBezTo>
                  <a:cubicBezTo>
                    <a:pt x="37" y="35"/>
                    <a:pt x="37" y="37"/>
                    <a:pt x="38" y="39"/>
                  </a:cubicBezTo>
                  <a:cubicBezTo>
                    <a:pt x="40" y="41"/>
                    <a:pt x="41" y="41"/>
                    <a:pt x="44" y="41"/>
                  </a:cubicBezTo>
                  <a:cubicBezTo>
                    <a:pt x="46" y="42"/>
                    <a:pt x="49" y="42"/>
                    <a:pt x="51" y="44"/>
                  </a:cubicBezTo>
                  <a:cubicBezTo>
                    <a:pt x="52" y="45"/>
                    <a:pt x="53" y="45"/>
                    <a:pt x="54" y="45"/>
                  </a:cubicBezTo>
                  <a:cubicBezTo>
                    <a:pt x="55" y="44"/>
                    <a:pt x="55" y="42"/>
                    <a:pt x="54" y="42"/>
                  </a:cubicBezTo>
                  <a:cubicBezTo>
                    <a:pt x="51" y="38"/>
                    <a:pt x="47" y="38"/>
                    <a:pt x="44" y="37"/>
                  </a:cubicBez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sp>
          <p:nvSpPr>
            <p:cNvPr id="73" name="Google Shape;457;p5">
              <a:extLst>
                <a:ext uri="{FF2B5EF4-FFF2-40B4-BE49-F238E27FC236}">
                  <a16:creationId xmlns:a16="http://schemas.microsoft.com/office/drawing/2014/main" id="{697A4690-ECA5-667D-CEBC-88A5DFC727E0}"/>
                </a:ext>
              </a:extLst>
            </p:cNvPr>
            <p:cNvSpPr/>
            <p:nvPr/>
          </p:nvSpPr>
          <p:spPr>
            <a:xfrm>
              <a:off x="3788" y="2131"/>
              <a:ext cx="121" cy="128"/>
            </a:xfrm>
            <a:custGeom>
              <a:avLst/>
              <a:gdLst/>
              <a:ahLst/>
              <a:cxnLst/>
              <a:rect l="l" t="t" r="r" b="b"/>
              <a:pathLst>
                <a:path w="53" h="56" extrusionOk="0">
                  <a:moveTo>
                    <a:pt x="53" y="53"/>
                  </a:moveTo>
                  <a:cubicBezTo>
                    <a:pt x="53" y="53"/>
                    <a:pt x="50" y="49"/>
                    <a:pt x="49" y="45"/>
                  </a:cubicBezTo>
                  <a:cubicBezTo>
                    <a:pt x="47" y="41"/>
                    <a:pt x="40" y="38"/>
                    <a:pt x="38" y="37"/>
                  </a:cubicBezTo>
                  <a:cubicBezTo>
                    <a:pt x="37" y="37"/>
                    <a:pt x="35" y="36"/>
                    <a:pt x="33" y="35"/>
                  </a:cubicBezTo>
                  <a:cubicBezTo>
                    <a:pt x="34" y="34"/>
                    <a:pt x="36" y="34"/>
                    <a:pt x="37" y="34"/>
                  </a:cubicBezTo>
                  <a:cubicBezTo>
                    <a:pt x="41" y="34"/>
                    <a:pt x="43" y="29"/>
                    <a:pt x="43" y="29"/>
                  </a:cubicBezTo>
                  <a:cubicBezTo>
                    <a:pt x="43" y="28"/>
                    <a:pt x="43" y="26"/>
                    <a:pt x="42" y="26"/>
                  </a:cubicBezTo>
                  <a:cubicBezTo>
                    <a:pt x="42" y="26"/>
                    <a:pt x="40" y="25"/>
                    <a:pt x="39" y="23"/>
                  </a:cubicBezTo>
                  <a:cubicBezTo>
                    <a:pt x="39" y="22"/>
                    <a:pt x="39" y="21"/>
                    <a:pt x="39" y="19"/>
                  </a:cubicBezTo>
                  <a:cubicBezTo>
                    <a:pt x="39" y="18"/>
                    <a:pt x="39" y="17"/>
                    <a:pt x="39" y="14"/>
                  </a:cubicBezTo>
                  <a:cubicBezTo>
                    <a:pt x="38" y="5"/>
                    <a:pt x="29" y="0"/>
                    <a:pt x="25" y="0"/>
                  </a:cubicBezTo>
                  <a:cubicBezTo>
                    <a:pt x="23" y="0"/>
                    <a:pt x="23" y="0"/>
                    <a:pt x="23" y="0"/>
                  </a:cubicBezTo>
                  <a:cubicBezTo>
                    <a:pt x="18" y="0"/>
                    <a:pt x="9" y="5"/>
                    <a:pt x="9" y="14"/>
                  </a:cubicBezTo>
                  <a:cubicBezTo>
                    <a:pt x="9" y="17"/>
                    <a:pt x="9" y="18"/>
                    <a:pt x="9" y="19"/>
                  </a:cubicBezTo>
                  <a:cubicBezTo>
                    <a:pt x="9" y="21"/>
                    <a:pt x="9" y="22"/>
                    <a:pt x="8" y="23"/>
                  </a:cubicBezTo>
                  <a:cubicBezTo>
                    <a:pt x="7" y="25"/>
                    <a:pt x="6" y="26"/>
                    <a:pt x="6" y="26"/>
                  </a:cubicBezTo>
                  <a:cubicBezTo>
                    <a:pt x="5" y="26"/>
                    <a:pt x="4" y="28"/>
                    <a:pt x="5" y="29"/>
                  </a:cubicBezTo>
                  <a:cubicBezTo>
                    <a:pt x="5" y="29"/>
                    <a:pt x="6" y="34"/>
                    <a:pt x="11" y="34"/>
                  </a:cubicBezTo>
                  <a:cubicBezTo>
                    <a:pt x="12" y="34"/>
                    <a:pt x="13" y="34"/>
                    <a:pt x="14" y="35"/>
                  </a:cubicBezTo>
                  <a:cubicBezTo>
                    <a:pt x="13" y="36"/>
                    <a:pt x="11" y="37"/>
                    <a:pt x="10" y="37"/>
                  </a:cubicBezTo>
                  <a:cubicBezTo>
                    <a:pt x="9" y="37"/>
                    <a:pt x="9" y="37"/>
                    <a:pt x="9" y="37"/>
                  </a:cubicBezTo>
                  <a:cubicBezTo>
                    <a:pt x="7" y="38"/>
                    <a:pt x="3" y="39"/>
                    <a:pt x="1" y="43"/>
                  </a:cubicBezTo>
                  <a:cubicBezTo>
                    <a:pt x="1" y="44"/>
                    <a:pt x="1" y="44"/>
                    <a:pt x="1" y="45"/>
                  </a:cubicBezTo>
                  <a:cubicBezTo>
                    <a:pt x="0" y="45"/>
                    <a:pt x="1" y="46"/>
                    <a:pt x="1" y="47"/>
                  </a:cubicBezTo>
                  <a:cubicBezTo>
                    <a:pt x="1" y="47"/>
                    <a:pt x="1" y="47"/>
                    <a:pt x="2" y="48"/>
                  </a:cubicBezTo>
                  <a:cubicBezTo>
                    <a:pt x="3" y="48"/>
                    <a:pt x="4" y="47"/>
                    <a:pt x="5" y="46"/>
                  </a:cubicBezTo>
                  <a:cubicBezTo>
                    <a:pt x="5" y="46"/>
                    <a:pt x="5" y="45"/>
                    <a:pt x="5" y="45"/>
                  </a:cubicBezTo>
                  <a:cubicBezTo>
                    <a:pt x="6" y="43"/>
                    <a:pt x="9" y="42"/>
                    <a:pt x="11" y="41"/>
                  </a:cubicBezTo>
                  <a:cubicBezTo>
                    <a:pt x="11" y="41"/>
                    <a:pt x="11" y="41"/>
                    <a:pt x="11" y="41"/>
                  </a:cubicBezTo>
                  <a:cubicBezTo>
                    <a:pt x="13" y="40"/>
                    <a:pt x="18" y="37"/>
                    <a:pt x="18" y="37"/>
                  </a:cubicBezTo>
                  <a:cubicBezTo>
                    <a:pt x="19" y="37"/>
                    <a:pt x="19" y="35"/>
                    <a:pt x="19" y="32"/>
                  </a:cubicBezTo>
                  <a:cubicBezTo>
                    <a:pt x="19" y="32"/>
                    <a:pt x="18" y="31"/>
                    <a:pt x="17" y="31"/>
                  </a:cubicBezTo>
                  <a:cubicBezTo>
                    <a:pt x="17" y="31"/>
                    <a:pt x="14" y="30"/>
                    <a:pt x="11" y="30"/>
                  </a:cubicBezTo>
                  <a:cubicBezTo>
                    <a:pt x="10" y="30"/>
                    <a:pt x="10" y="29"/>
                    <a:pt x="9" y="29"/>
                  </a:cubicBezTo>
                  <a:cubicBezTo>
                    <a:pt x="10" y="28"/>
                    <a:pt x="11" y="26"/>
                    <a:pt x="12" y="25"/>
                  </a:cubicBezTo>
                  <a:cubicBezTo>
                    <a:pt x="13" y="23"/>
                    <a:pt x="13" y="22"/>
                    <a:pt x="13" y="19"/>
                  </a:cubicBezTo>
                  <a:cubicBezTo>
                    <a:pt x="13" y="18"/>
                    <a:pt x="13" y="17"/>
                    <a:pt x="13" y="14"/>
                  </a:cubicBezTo>
                  <a:cubicBezTo>
                    <a:pt x="13" y="8"/>
                    <a:pt x="20" y="4"/>
                    <a:pt x="23" y="4"/>
                  </a:cubicBezTo>
                  <a:cubicBezTo>
                    <a:pt x="25" y="4"/>
                    <a:pt x="25" y="4"/>
                    <a:pt x="25" y="4"/>
                  </a:cubicBezTo>
                  <a:cubicBezTo>
                    <a:pt x="27" y="4"/>
                    <a:pt x="34" y="8"/>
                    <a:pt x="35" y="14"/>
                  </a:cubicBezTo>
                  <a:cubicBezTo>
                    <a:pt x="35" y="17"/>
                    <a:pt x="35" y="18"/>
                    <a:pt x="35" y="19"/>
                  </a:cubicBezTo>
                  <a:cubicBezTo>
                    <a:pt x="34" y="22"/>
                    <a:pt x="35" y="23"/>
                    <a:pt x="36" y="25"/>
                  </a:cubicBezTo>
                  <a:cubicBezTo>
                    <a:pt x="36" y="26"/>
                    <a:pt x="37" y="28"/>
                    <a:pt x="38" y="29"/>
                  </a:cubicBezTo>
                  <a:cubicBezTo>
                    <a:pt x="38" y="29"/>
                    <a:pt x="37" y="30"/>
                    <a:pt x="36" y="30"/>
                  </a:cubicBezTo>
                  <a:cubicBezTo>
                    <a:pt x="34" y="30"/>
                    <a:pt x="30" y="31"/>
                    <a:pt x="30" y="31"/>
                  </a:cubicBezTo>
                  <a:cubicBezTo>
                    <a:pt x="30" y="31"/>
                    <a:pt x="29" y="32"/>
                    <a:pt x="29" y="32"/>
                  </a:cubicBezTo>
                  <a:cubicBezTo>
                    <a:pt x="28" y="36"/>
                    <a:pt x="29" y="37"/>
                    <a:pt x="29" y="37"/>
                  </a:cubicBezTo>
                  <a:cubicBezTo>
                    <a:pt x="30" y="37"/>
                    <a:pt x="34" y="40"/>
                    <a:pt x="37" y="41"/>
                  </a:cubicBezTo>
                  <a:cubicBezTo>
                    <a:pt x="39" y="42"/>
                    <a:pt x="44" y="44"/>
                    <a:pt x="45" y="47"/>
                  </a:cubicBezTo>
                  <a:cubicBezTo>
                    <a:pt x="46" y="50"/>
                    <a:pt x="49" y="55"/>
                    <a:pt x="49" y="55"/>
                  </a:cubicBezTo>
                  <a:cubicBezTo>
                    <a:pt x="49" y="56"/>
                    <a:pt x="50" y="56"/>
                    <a:pt x="51" y="56"/>
                  </a:cubicBezTo>
                  <a:cubicBezTo>
                    <a:pt x="51" y="56"/>
                    <a:pt x="51" y="56"/>
                    <a:pt x="52" y="56"/>
                  </a:cubicBezTo>
                  <a:cubicBezTo>
                    <a:pt x="53" y="55"/>
                    <a:pt x="53" y="54"/>
                    <a:pt x="53" y="53"/>
                  </a:cubicBezTo>
                  <a:close/>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rgbClr val="7FCD55"/>
                </a:solidFill>
              </a:endParaRPr>
            </a:p>
          </p:txBody>
        </p:sp>
      </p:grpSp>
      <p:sp>
        <p:nvSpPr>
          <p:cNvPr id="74" name="Google Shape;458;p5">
            <a:extLst>
              <a:ext uri="{FF2B5EF4-FFF2-40B4-BE49-F238E27FC236}">
                <a16:creationId xmlns:a16="http://schemas.microsoft.com/office/drawing/2014/main" id="{042ADF43-B8B5-402D-C7BF-CA003A503DEE}"/>
              </a:ext>
            </a:extLst>
          </p:cNvPr>
          <p:cNvSpPr/>
          <p:nvPr/>
        </p:nvSpPr>
        <p:spPr>
          <a:xfrm>
            <a:off x="323896" y="2932405"/>
            <a:ext cx="432000" cy="432000"/>
          </a:xfrm>
          <a:custGeom>
            <a:avLst/>
            <a:gdLst/>
            <a:ahLst/>
            <a:cxnLst/>
            <a:rect l="l" t="t" r="r" b="b"/>
            <a:pathLst>
              <a:path w="141" h="162" extrusionOk="0">
                <a:moveTo>
                  <a:pt x="60" y="92"/>
                </a:moveTo>
                <a:cubicBezTo>
                  <a:pt x="60" y="92"/>
                  <a:pt x="60" y="92"/>
                  <a:pt x="60" y="92"/>
                </a:cubicBezTo>
                <a:cubicBezTo>
                  <a:pt x="82" y="92"/>
                  <a:pt x="101" y="84"/>
                  <a:pt x="116" y="70"/>
                </a:cubicBezTo>
                <a:cubicBezTo>
                  <a:pt x="133" y="54"/>
                  <a:pt x="141" y="30"/>
                  <a:pt x="139" y="4"/>
                </a:cubicBezTo>
                <a:cubicBezTo>
                  <a:pt x="138" y="3"/>
                  <a:pt x="137" y="1"/>
                  <a:pt x="135" y="1"/>
                </a:cubicBezTo>
                <a:cubicBezTo>
                  <a:pt x="132" y="0"/>
                  <a:pt x="128" y="0"/>
                  <a:pt x="125" y="0"/>
                </a:cubicBezTo>
                <a:cubicBezTo>
                  <a:pt x="103" y="0"/>
                  <a:pt x="83" y="8"/>
                  <a:pt x="69" y="22"/>
                </a:cubicBezTo>
                <a:cubicBezTo>
                  <a:pt x="52" y="39"/>
                  <a:pt x="44" y="63"/>
                  <a:pt x="46" y="88"/>
                </a:cubicBezTo>
                <a:cubicBezTo>
                  <a:pt x="46" y="88"/>
                  <a:pt x="46" y="88"/>
                  <a:pt x="46" y="88"/>
                </a:cubicBezTo>
                <a:cubicBezTo>
                  <a:pt x="46" y="88"/>
                  <a:pt x="46" y="88"/>
                  <a:pt x="46" y="88"/>
                </a:cubicBezTo>
                <a:cubicBezTo>
                  <a:pt x="46" y="156"/>
                  <a:pt x="46" y="156"/>
                  <a:pt x="46" y="156"/>
                </a:cubicBezTo>
                <a:cubicBezTo>
                  <a:pt x="22" y="156"/>
                  <a:pt x="22" y="156"/>
                  <a:pt x="22" y="156"/>
                </a:cubicBezTo>
                <a:cubicBezTo>
                  <a:pt x="22" y="129"/>
                  <a:pt x="22" y="129"/>
                  <a:pt x="22" y="129"/>
                </a:cubicBezTo>
                <a:cubicBezTo>
                  <a:pt x="25" y="124"/>
                  <a:pt x="26" y="118"/>
                  <a:pt x="24" y="113"/>
                </a:cubicBezTo>
                <a:cubicBezTo>
                  <a:pt x="22" y="106"/>
                  <a:pt x="17" y="101"/>
                  <a:pt x="10" y="98"/>
                </a:cubicBezTo>
                <a:cubicBezTo>
                  <a:pt x="5" y="104"/>
                  <a:pt x="3" y="111"/>
                  <a:pt x="5" y="118"/>
                </a:cubicBezTo>
                <a:cubicBezTo>
                  <a:pt x="6" y="123"/>
                  <a:pt x="10" y="128"/>
                  <a:pt x="14" y="131"/>
                </a:cubicBezTo>
                <a:cubicBezTo>
                  <a:pt x="14" y="156"/>
                  <a:pt x="14" y="156"/>
                  <a:pt x="14" y="156"/>
                </a:cubicBezTo>
                <a:cubicBezTo>
                  <a:pt x="2" y="156"/>
                  <a:pt x="2" y="156"/>
                  <a:pt x="2" y="156"/>
                </a:cubicBezTo>
                <a:cubicBezTo>
                  <a:pt x="1" y="156"/>
                  <a:pt x="0" y="158"/>
                  <a:pt x="0" y="159"/>
                </a:cubicBezTo>
                <a:cubicBezTo>
                  <a:pt x="0" y="160"/>
                  <a:pt x="1" y="162"/>
                  <a:pt x="2" y="162"/>
                </a:cubicBezTo>
                <a:cubicBezTo>
                  <a:pt x="113" y="162"/>
                  <a:pt x="113" y="162"/>
                  <a:pt x="113" y="162"/>
                </a:cubicBezTo>
                <a:cubicBezTo>
                  <a:pt x="115" y="162"/>
                  <a:pt x="116" y="160"/>
                  <a:pt x="116" y="159"/>
                </a:cubicBezTo>
                <a:cubicBezTo>
                  <a:pt x="116" y="158"/>
                  <a:pt x="115" y="156"/>
                  <a:pt x="113" y="156"/>
                </a:cubicBezTo>
                <a:cubicBezTo>
                  <a:pt x="91" y="156"/>
                  <a:pt x="91" y="156"/>
                  <a:pt x="91" y="156"/>
                </a:cubicBezTo>
                <a:cubicBezTo>
                  <a:pt x="91" y="127"/>
                  <a:pt x="91" y="127"/>
                  <a:pt x="91" y="127"/>
                </a:cubicBezTo>
                <a:cubicBezTo>
                  <a:pt x="95" y="128"/>
                  <a:pt x="100" y="127"/>
                  <a:pt x="104" y="124"/>
                </a:cubicBezTo>
                <a:cubicBezTo>
                  <a:pt x="110" y="120"/>
                  <a:pt x="113" y="113"/>
                  <a:pt x="113" y="105"/>
                </a:cubicBezTo>
                <a:cubicBezTo>
                  <a:pt x="106" y="103"/>
                  <a:pt x="98" y="103"/>
                  <a:pt x="92" y="107"/>
                </a:cubicBezTo>
                <a:cubicBezTo>
                  <a:pt x="86" y="111"/>
                  <a:pt x="83" y="118"/>
                  <a:pt x="83" y="126"/>
                </a:cubicBezTo>
                <a:cubicBezTo>
                  <a:pt x="83" y="126"/>
                  <a:pt x="83" y="126"/>
                  <a:pt x="83" y="126"/>
                </a:cubicBezTo>
                <a:cubicBezTo>
                  <a:pt x="83" y="156"/>
                  <a:pt x="83" y="156"/>
                  <a:pt x="83" y="156"/>
                </a:cubicBezTo>
                <a:cubicBezTo>
                  <a:pt x="58" y="156"/>
                  <a:pt x="58" y="156"/>
                  <a:pt x="58" y="156"/>
                </a:cubicBezTo>
                <a:cubicBezTo>
                  <a:pt x="58" y="92"/>
                  <a:pt x="58" y="92"/>
                  <a:pt x="58" y="92"/>
                </a:cubicBezTo>
                <a:cubicBezTo>
                  <a:pt x="59" y="92"/>
                  <a:pt x="59" y="92"/>
                  <a:pt x="60" y="92"/>
                </a:cubicBezTo>
                <a:moveTo>
                  <a:pt x="74" y="28"/>
                </a:moveTo>
                <a:cubicBezTo>
                  <a:pt x="89" y="14"/>
                  <a:pt x="109" y="7"/>
                  <a:pt x="131" y="8"/>
                </a:cubicBezTo>
                <a:cubicBezTo>
                  <a:pt x="132" y="30"/>
                  <a:pt x="125" y="50"/>
                  <a:pt x="110" y="65"/>
                </a:cubicBezTo>
                <a:cubicBezTo>
                  <a:pt x="97" y="77"/>
                  <a:pt x="79" y="84"/>
                  <a:pt x="60" y="84"/>
                </a:cubicBezTo>
                <a:cubicBezTo>
                  <a:pt x="107" y="36"/>
                  <a:pt x="107" y="36"/>
                  <a:pt x="107" y="36"/>
                </a:cubicBezTo>
                <a:cubicBezTo>
                  <a:pt x="109" y="35"/>
                  <a:pt x="109" y="32"/>
                  <a:pt x="107" y="31"/>
                </a:cubicBezTo>
                <a:cubicBezTo>
                  <a:pt x="106" y="30"/>
                  <a:pt x="104" y="30"/>
                  <a:pt x="102" y="31"/>
                </a:cubicBezTo>
                <a:cubicBezTo>
                  <a:pt x="54" y="80"/>
                  <a:pt x="54" y="80"/>
                  <a:pt x="54" y="80"/>
                </a:cubicBezTo>
                <a:cubicBezTo>
                  <a:pt x="53" y="60"/>
                  <a:pt x="61" y="41"/>
                  <a:pt x="74" y="28"/>
                </a:cubicBezTo>
                <a:moveTo>
                  <a:pt x="16" y="59"/>
                </a:moveTo>
                <a:cubicBezTo>
                  <a:pt x="4" y="45"/>
                  <a:pt x="0" y="26"/>
                  <a:pt x="4" y="6"/>
                </a:cubicBezTo>
                <a:cubicBezTo>
                  <a:pt x="4" y="4"/>
                  <a:pt x="4" y="4"/>
                  <a:pt x="4" y="4"/>
                </a:cubicBezTo>
                <a:cubicBezTo>
                  <a:pt x="7" y="4"/>
                  <a:pt x="7" y="4"/>
                  <a:pt x="7" y="4"/>
                </a:cubicBezTo>
                <a:cubicBezTo>
                  <a:pt x="27" y="4"/>
                  <a:pt x="45" y="12"/>
                  <a:pt x="56" y="26"/>
                </a:cubicBezTo>
                <a:cubicBezTo>
                  <a:pt x="57" y="28"/>
                  <a:pt x="57" y="30"/>
                  <a:pt x="56" y="31"/>
                </a:cubicBezTo>
                <a:cubicBezTo>
                  <a:pt x="54" y="32"/>
                  <a:pt x="53" y="31"/>
                  <a:pt x="51" y="30"/>
                </a:cubicBezTo>
                <a:cubicBezTo>
                  <a:pt x="41" y="18"/>
                  <a:pt x="27" y="11"/>
                  <a:pt x="9" y="10"/>
                </a:cubicBezTo>
                <a:cubicBezTo>
                  <a:pt x="6" y="27"/>
                  <a:pt x="10" y="43"/>
                  <a:pt x="20" y="55"/>
                </a:cubicBezTo>
                <a:cubicBezTo>
                  <a:pt x="25" y="61"/>
                  <a:pt x="31" y="66"/>
                  <a:pt x="38" y="69"/>
                </a:cubicBezTo>
                <a:cubicBezTo>
                  <a:pt x="39" y="70"/>
                  <a:pt x="40" y="72"/>
                  <a:pt x="39" y="73"/>
                </a:cubicBezTo>
                <a:cubicBezTo>
                  <a:pt x="39" y="75"/>
                  <a:pt x="38" y="75"/>
                  <a:pt x="36" y="75"/>
                </a:cubicBezTo>
                <a:cubicBezTo>
                  <a:pt x="36" y="75"/>
                  <a:pt x="35" y="75"/>
                  <a:pt x="35" y="75"/>
                </a:cubicBezTo>
                <a:cubicBezTo>
                  <a:pt x="27" y="71"/>
                  <a:pt x="21" y="66"/>
                  <a:pt x="16" y="59"/>
                </a:cubicBezTo>
              </a:path>
            </a:pathLst>
          </a:custGeom>
          <a:solidFill>
            <a:schemeClr val="lt1"/>
          </a:solidFill>
          <a:ln>
            <a:noFill/>
          </a:ln>
        </p:spPr>
        <p:txBody>
          <a:bodyPr spcFirstLastPara="1" wrap="square" lIns="100800" tIns="50400" rIns="100800" bIns="50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2205"/>
            </a:pPr>
            <a:endParaRPr sz="2205">
              <a:solidFill>
                <a:schemeClr val="dk1"/>
              </a:solidFill>
            </a:endParaRPr>
          </a:p>
        </p:txBody>
      </p:sp>
      <p:grpSp>
        <p:nvGrpSpPr>
          <p:cNvPr id="75" name="Google Shape;459;p5">
            <a:extLst>
              <a:ext uri="{FF2B5EF4-FFF2-40B4-BE49-F238E27FC236}">
                <a16:creationId xmlns:a16="http://schemas.microsoft.com/office/drawing/2014/main" id="{6B2A68F9-5D27-6BA6-268B-BB8536365C2C}"/>
              </a:ext>
            </a:extLst>
          </p:cNvPr>
          <p:cNvGrpSpPr/>
          <p:nvPr/>
        </p:nvGrpSpPr>
        <p:grpSpPr>
          <a:xfrm>
            <a:off x="248463" y="4436697"/>
            <a:ext cx="468000" cy="432001"/>
            <a:chOff x="4275375" y="4536410"/>
            <a:chExt cx="1125132" cy="730945"/>
          </a:xfrm>
        </p:grpSpPr>
        <p:sp>
          <p:nvSpPr>
            <p:cNvPr id="76" name="Google Shape;460;p5">
              <a:extLst>
                <a:ext uri="{FF2B5EF4-FFF2-40B4-BE49-F238E27FC236}">
                  <a16:creationId xmlns:a16="http://schemas.microsoft.com/office/drawing/2014/main" id="{2CEBB81E-95EE-8C83-0FEC-E598A6670F64}"/>
                </a:ext>
              </a:extLst>
            </p:cNvPr>
            <p:cNvSpPr/>
            <p:nvPr/>
          </p:nvSpPr>
          <p:spPr>
            <a:xfrm>
              <a:off x="5172266" y="4541490"/>
              <a:ext cx="135016" cy="110550"/>
            </a:xfrm>
            <a:custGeom>
              <a:avLst/>
              <a:gdLst/>
              <a:ahLst/>
              <a:cxnLst/>
              <a:rect l="l" t="t" r="r" b="b"/>
              <a:pathLst>
                <a:path w="84" h="82" extrusionOk="0">
                  <a:moveTo>
                    <a:pt x="42" y="82"/>
                  </a:moveTo>
                  <a:lnTo>
                    <a:pt x="42" y="82"/>
                  </a:lnTo>
                  <a:lnTo>
                    <a:pt x="34" y="82"/>
                  </a:lnTo>
                  <a:lnTo>
                    <a:pt x="26" y="80"/>
                  </a:lnTo>
                  <a:lnTo>
                    <a:pt x="18" y="76"/>
                  </a:lnTo>
                  <a:lnTo>
                    <a:pt x="12" y="70"/>
                  </a:lnTo>
                  <a:lnTo>
                    <a:pt x="8" y="64"/>
                  </a:lnTo>
                  <a:lnTo>
                    <a:pt x="4" y="58"/>
                  </a:lnTo>
                  <a:lnTo>
                    <a:pt x="2" y="50"/>
                  </a:lnTo>
                  <a:lnTo>
                    <a:pt x="0" y="42"/>
                  </a:lnTo>
                  <a:lnTo>
                    <a:pt x="0" y="42"/>
                  </a:lnTo>
                  <a:lnTo>
                    <a:pt x="2" y="32"/>
                  </a:lnTo>
                  <a:lnTo>
                    <a:pt x="4" y="26"/>
                  </a:lnTo>
                  <a:lnTo>
                    <a:pt x="8" y="18"/>
                  </a:lnTo>
                  <a:lnTo>
                    <a:pt x="12" y="12"/>
                  </a:lnTo>
                  <a:lnTo>
                    <a:pt x="18" y="8"/>
                  </a:lnTo>
                  <a:lnTo>
                    <a:pt x="26" y="4"/>
                  </a:lnTo>
                  <a:lnTo>
                    <a:pt x="34" y="0"/>
                  </a:lnTo>
                  <a:lnTo>
                    <a:pt x="42" y="0"/>
                  </a:lnTo>
                  <a:lnTo>
                    <a:pt x="42" y="0"/>
                  </a:lnTo>
                  <a:lnTo>
                    <a:pt x="50" y="0"/>
                  </a:lnTo>
                  <a:lnTo>
                    <a:pt x="58" y="4"/>
                  </a:lnTo>
                  <a:lnTo>
                    <a:pt x="64" y="8"/>
                  </a:lnTo>
                  <a:lnTo>
                    <a:pt x="72" y="12"/>
                  </a:lnTo>
                  <a:lnTo>
                    <a:pt x="76" y="18"/>
                  </a:lnTo>
                  <a:lnTo>
                    <a:pt x="80" y="26"/>
                  </a:lnTo>
                  <a:lnTo>
                    <a:pt x="82" y="32"/>
                  </a:lnTo>
                  <a:lnTo>
                    <a:pt x="84" y="42"/>
                  </a:lnTo>
                  <a:lnTo>
                    <a:pt x="84" y="42"/>
                  </a:lnTo>
                  <a:lnTo>
                    <a:pt x="82" y="50"/>
                  </a:lnTo>
                  <a:lnTo>
                    <a:pt x="80" y="58"/>
                  </a:lnTo>
                  <a:lnTo>
                    <a:pt x="76" y="64"/>
                  </a:lnTo>
                  <a:lnTo>
                    <a:pt x="72" y="70"/>
                  </a:lnTo>
                  <a:lnTo>
                    <a:pt x="64" y="76"/>
                  </a:lnTo>
                  <a:lnTo>
                    <a:pt x="58" y="80"/>
                  </a:lnTo>
                  <a:lnTo>
                    <a:pt x="50" y="82"/>
                  </a:lnTo>
                  <a:lnTo>
                    <a:pt x="42" y="82"/>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sp>
          <p:nvSpPr>
            <p:cNvPr id="77" name="Google Shape;461;p5">
              <a:extLst>
                <a:ext uri="{FF2B5EF4-FFF2-40B4-BE49-F238E27FC236}">
                  <a16:creationId xmlns:a16="http://schemas.microsoft.com/office/drawing/2014/main" id="{F976BD3F-4167-D6D3-60E7-3418E7BD3513}"/>
                </a:ext>
              </a:extLst>
            </p:cNvPr>
            <p:cNvSpPr/>
            <p:nvPr/>
          </p:nvSpPr>
          <p:spPr>
            <a:xfrm>
              <a:off x="5082255" y="4686969"/>
              <a:ext cx="318252" cy="566235"/>
            </a:xfrm>
            <a:custGeom>
              <a:avLst/>
              <a:gdLst/>
              <a:ahLst/>
              <a:cxnLst/>
              <a:rect l="l" t="t" r="r" b="b"/>
              <a:pathLst>
                <a:path w="198" h="420" extrusionOk="0">
                  <a:moveTo>
                    <a:pt x="20" y="202"/>
                  </a:moveTo>
                  <a:lnTo>
                    <a:pt x="20" y="202"/>
                  </a:lnTo>
                  <a:lnTo>
                    <a:pt x="22" y="202"/>
                  </a:lnTo>
                  <a:lnTo>
                    <a:pt x="28" y="200"/>
                  </a:lnTo>
                  <a:lnTo>
                    <a:pt x="32" y="198"/>
                  </a:lnTo>
                  <a:lnTo>
                    <a:pt x="34" y="194"/>
                  </a:lnTo>
                  <a:lnTo>
                    <a:pt x="36" y="188"/>
                  </a:lnTo>
                  <a:lnTo>
                    <a:pt x="36" y="182"/>
                  </a:lnTo>
                  <a:lnTo>
                    <a:pt x="36" y="64"/>
                  </a:lnTo>
                  <a:lnTo>
                    <a:pt x="46" y="64"/>
                  </a:lnTo>
                  <a:lnTo>
                    <a:pt x="46" y="388"/>
                  </a:lnTo>
                  <a:lnTo>
                    <a:pt x="46" y="388"/>
                  </a:lnTo>
                  <a:lnTo>
                    <a:pt x="46" y="392"/>
                  </a:lnTo>
                  <a:lnTo>
                    <a:pt x="48" y="404"/>
                  </a:lnTo>
                  <a:lnTo>
                    <a:pt x="50" y="408"/>
                  </a:lnTo>
                  <a:lnTo>
                    <a:pt x="54" y="414"/>
                  </a:lnTo>
                  <a:lnTo>
                    <a:pt x="60" y="418"/>
                  </a:lnTo>
                  <a:lnTo>
                    <a:pt x="70" y="420"/>
                  </a:lnTo>
                  <a:lnTo>
                    <a:pt x="70" y="420"/>
                  </a:lnTo>
                  <a:lnTo>
                    <a:pt x="74" y="418"/>
                  </a:lnTo>
                  <a:lnTo>
                    <a:pt x="82" y="416"/>
                  </a:lnTo>
                  <a:lnTo>
                    <a:pt x="88" y="412"/>
                  </a:lnTo>
                  <a:lnTo>
                    <a:pt x="92" y="406"/>
                  </a:lnTo>
                  <a:lnTo>
                    <a:pt x="94" y="398"/>
                  </a:lnTo>
                  <a:lnTo>
                    <a:pt x="96" y="388"/>
                  </a:lnTo>
                  <a:lnTo>
                    <a:pt x="96" y="204"/>
                  </a:lnTo>
                  <a:lnTo>
                    <a:pt x="102" y="204"/>
                  </a:lnTo>
                  <a:lnTo>
                    <a:pt x="102" y="388"/>
                  </a:lnTo>
                  <a:lnTo>
                    <a:pt x="102" y="388"/>
                  </a:lnTo>
                  <a:lnTo>
                    <a:pt x="104" y="398"/>
                  </a:lnTo>
                  <a:lnTo>
                    <a:pt x="106" y="406"/>
                  </a:lnTo>
                  <a:lnTo>
                    <a:pt x="110" y="412"/>
                  </a:lnTo>
                  <a:lnTo>
                    <a:pt x="116" y="416"/>
                  </a:lnTo>
                  <a:lnTo>
                    <a:pt x="124" y="418"/>
                  </a:lnTo>
                  <a:lnTo>
                    <a:pt x="128" y="420"/>
                  </a:lnTo>
                  <a:lnTo>
                    <a:pt x="128" y="420"/>
                  </a:lnTo>
                  <a:lnTo>
                    <a:pt x="136" y="418"/>
                  </a:lnTo>
                  <a:lnTo>
                    <a:pt x="144" y="414"/>
                  </a:lnTo>
                  <a:lnTo>
                    <a:pt x="148" y="408"/>
                  </a:lnTo>
                  <a:lnTo>
                    <a:pt x="150" y="404"/>
                  </a:lnTo>
                  <a:lnTo>
                    <a:pt x="152" y="392"/>
                  </a:lnTo>
                  <a:lnTo>
                    <a:pt x="152" y="388"/>
                  </a:lnTo>
                  <a:lnTo>
                    <a:pt x="152" y="64"/>
                  </a:lnTo>
                  <a:lnTo>
                    <a:pt x="162" y="64"/>
                  </a:lnTo>
                  <a:lnTo>
                    <a:pt x="162" y="182"/>
                  </a:lnTo>
                  <a:lnTo>
                    <a:pt x="162" y="182"/>
                  </a:lnTo>
                  <a:lnTo>
                    <a:pt x="162" y="188"/>
                  </a:lnTo>
                  <a:lnTo>
                    <a:pt x="164" y="194"/>
                  </a:lnTo>
                  <a:lnTo>
                    <a:pt x="166" y="198"/>
                  </a:lnTo>
                  <a:lnTo>
                    <a:pt x="170" y="200"/>
                  </a:lnTo>
                  <a:lnTo>
                    <a:pt x="176" y="202"/>
                  </a:lnTo>
                  <a:lnTo>
                    <a:pt x="178" y="202"/>
                  </a:lnTo>
                  <a:lnTo>
                    <a:pt x="178" y="202"/>
                  </a:lnTo>
                  <a:lnTo>
                    <a:pt x="186" y="202"/>
                  </a:lnTo>
                  <a:lnTo>
                    <a:pt x="190" y="200"/>
                  </a:lnTo>
                  <a:lnTo>
                    <a:pt x="194" y="196"/>
                  </a:lnTo>
                  <a:lnTo>
                    <a:pt x="196" y="192"/>
                  </a:lnTo>
                  <a:lnTo>
                    <a:pt x="198" y="184"/>
                  </a:lnTo>
                  <a:lnTo>
                    <a:pt x="198" y="182"/>
                  </a:lnTo>
                  <a:lnTo>
                    <a:pt x="198" y="54"/>
                  </a:lnTo>
                  <a:lnTo>
                    <a:pt x="198" y="54"/>
                  </a:lnTo>
                  <a:lnTo>
                    <a:pt x="196" y="36"/>
                  </a:lnTo>
                  <a:lnTo>
                    <a:pt x="192" y="22"/>
                  </a:lnTo>
                  <a:lnTo>
                    <a:pt x="184" y="14"/>
                  </a:lnTo>
                  <a:lnTo>
                    <a:pt x="176" y="8"/>
                  </a:lnTo>
                  <a:lnTo>
                    <a:pt x="168" y="4"/>
                  </a:lnTo>
                  <a:lnTo>
                    <a:pt x="162" y="2"/>
                  </a:lnTo>
                  <a:lnTo>
                    <a:pt x="154" y="0"/>
                  </a:lnTo>
                  <a:lnTo>
                    <a:pt x="44" y="0"/>
                  </a:lnTo>
                  <a:lnTo>
                    <a:pt x="44" y="0"/>
                  </a:lnTo>
                  <a:lnTo>
                    <a:pt x="36" y="2"/>
                  </a:lnTo>
                  <a:lnTo>
                    <a:pt x="30" y="4"/>
                  </a:lnTo>
                  <a:lnTo>
                    <a:pt x="22" y="8"/>
                  </a:lnTo>
                  <a:lnTo>
                    <a:pt x="14" y="14"/>
                  </a:lnTo>
                  <a:lnTo>
                    <a:pt x="6" y="22"/>
                  </a:lnTo>
                  <a:lnTo>
                    <a:pt x="2" y="36"/>
                  </a:lnTo>
                  <a:lnTo>
                    <a:pt x="0" y="54"/>
                  </a:lnTo>
                  <a:lnTo>
                    <a:pt x="0" y="182"/>
                  </a:lnTo>
                  <a:lnTo>
                    <a:pt x="0" y="182"/>
                  </a:lnTo>
                  <a:lnTo>
                    <a:pt x="0" y="184"/>
                  </a:lnTo>
                  <a:lnTo>
                    <a:pt x="2" y="192"/>
                  </a:lnTo>
                  <a:lnTo>
                    <a:pt x="4" y="196"/>
                  </a:lnTo>
                  <a:lnTo>
                    <a:pt x="8" y="200"/>
                  </a:lnTo>
                  <a:lnTo>
                    <a:pt x="12" y="202"/>
                  </a:lnTo>
                  <a:lnTo>
                    <a:pt x="20" y="202"/>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sp>
          <p:nvSpPr>
            <p:cNvPr id="78" name="Google Shape;462;p5">
              <a:extLst>
                <a:ext uri="{FF2B5EF4-FFF2-40B4-BE49-F238E27FC236}">
                  <a16:creationId xmlns:a16="http://schemas.microsoft.com/office/drawing/2014/main" id="{35F55CFC-6C2E-D027-974C-E7FC1A509744}"/>
                </a:ext>
              </a:extLst>
            </p:cNvPr>
            <p:cNvSpPr/>
            <p:nvPr/>
          </p:nvSpPr>
          <p:spPr>
            <a:xfrm>
              <a:off x="4786509" y="4541490"/>
              <a:ext cx="131801" cy="110550"/>
            </a:xfrm>
            <a:custGeom>
              <a:avLst/>
              <a:gdLst/>
              <a:ahLst/>
              <a:cxnLst/>
              <a:rect l="l" t="t" r="r" b="b"/>
              <a:pathLst>
                <a:path w="82" h="82" extrusionOk="0">
                  <a:moveTo>
                    <a:pt x="42" y="82"/>
                  </a:moveTo>
                  <a:lnTo>
                    <a:pt x="42" y="82"/>
                  </a:lnTo>
                  <a:lnTo>
                    <a:pt x="34" y="82"/>
                  </a:lnTo>
                  <a:lnTo>
                    <a:pt x="26" y="80"/>
                  </a:lnTo>
                  <a:lnTo>
                    <a:pt x="18" y="76"/>
                  </a:lnTo>
                  <a:lnTo>
                    <a:pt x="12" y="70"/>
                  </a:lnTo>
                  <a:lnTo>
                    <a:pt x="8" y="64"/>
                  </a:lnTo>
                  <a:lnTo>
                    <a:pt x="4" y="58"/>
                  </a:lnTo>
                  <a:lnTo>
                    <a:pt x="2" y="50"/>
                  </a:lnTo>
                  <a:lnTo>
                    <a:pt x="0" y="42"/>
                  </a:lnTo>
                  <a:lnTo>
                    <a:pt x="0" y="42"/>
                  </a:lnTo>
                  <a:lnTo>
                    <a:pt x="2" y="32"/>
                  </a:lnTo>
                  <a:lnTo>
                    <a:pt x="4" y="26"/>
                  </a:lnTo>
                  <a:lnTo>
                    <a:pt x="8" y="18"/>
                  </a:lnTo>
                  <a:lnTo>
                    <a:pt x="12" y="12"/>
                  </a:lnTo>
                  <a:lnTo>
                    <a:pt x="18" y="8"/>
                  </a:lnTo>
                  <a:lnTo>
                    <a:pt x="26" y="4"/>
                  </a:lnTo>
                  <a:lnTo>
                    <a:pt x="34" y="0"/>
                  </a:lnTo>
                  <a:lnTo>
                    <a:pt x="42" y="0"/>
                  </a:lnTo>
                  <a:lnTo>
                    <a:pt x="42" y="0"/>
                  </a:lnTo>
                  <a:lnTo>
                    <a:pt x="50" y="0"/>
                  </a:lnTo>
                  <a:lnTo>
                    <a:pt x="58" y="4"/>
                  </a:lnTo>
                  <a:lnTo>
                    <a:pt x="64" y="8"/>
                  </a:lnTo>
                  <a:lnTo>
                    <a:pt x="70" y="12"/>
                  </a:lnTo>
                  <a:lnTo>
                    <a:pt x="76" y="18"/>
                  </a:lnTo>
                  <a:lnTo>
                    <a:pt x="80" y="26"/>
                  </a:lnTo>
                  <a:lnTo>
                    <a:pt x="82" y="32"/>
                  </a:lnTo>
                  <a:lnTo>
                    <a:pt x="82" y="42"/>
                  </a:lnTo>
                  <a:lnTo>
                    <a:pt x="82" y="42"/>
                  </a:lnTo>
                  <a:lnTo>
                    <a:pt x="82" y="50"/>
                  </a:lnTo>
                  <a:lnTo>
                    <a:pt x="80" y="58"/>
                  </a:lnTo>
                  <a:lnTo>
                    <a:pt x="76" y="64"/>
                  </a:lnTo>
                  <a:lnTo>
                    <a:pt x="70" y="70"/>
                  </a:lnTo>
                  <a:lnTo>
                    <a:pt x="64" y="76"/>
                  </a:lnTo>
                  <a:lnTo>
                    <a:pt x="58" y="80"/>
                  </a:lnTo>
                  <a:lnTo>
                    <a:pt x="50" y="82"/>
                  </a:lnTo>
                  <a:lnTo>
                    <a:pt x="42" y="82"/>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sp>
          <p:nvSpPr>
            <p:cNvPr id="79" name="Google Shape;463;p5">
              <a:extLst>
                <a:ext uri="{FF2B5EF4-FFF2-40B4-BE49-F238E27FC236}">
                  <a16:creationId xmlns:a16="http://schemas.microsoft.com/office/drawing/2014/main" id="{DC4D8825-6AC5-2B13-D40D-10CECBC2BAF6}"/>
                </a:ext>
              </a:extLst>
            </p:cNvPr>
            <p:cNvSpPr/>
            <p:nvPr/>
          </p:nvSpPr>
          <p:spPr>
            <a:xfrm>
              <a:off x="4696496" y="4686969"/>
              <a:ext cx="318252" cy="566235"/>
            </a:xfrm>
            <a:custGeom>
              <a:avLst/>
              <a:gdLst/>
              <a:ahLst/>
              <a:cxnLst/>
              <a:rect l="l" t="t" r="r" b="b"/>
              <a:pathLst>
                <a:path w="198" h="420" extrusionOk="0">
                  <a:moveTo>
                    <a:pt x="18" y="202"/>
                  </a:moveTo>
                  <a:lnTo>
                    <a:pt x="18" y="202"/>
                  </a:lnTo>
                  <a:lnTo>
                    <a:pt x="22" y="202"/>
                  </a:lnTo>
                  <a:lnTo>
                    <a:pt x="28" y="200"/>
                  </a:lnTo>
                  <a:lnTo>
                    <a:pt x="30" y="198"/>
                  </a:lnTo>
                  <a:lnTo>
                    <a:pt x="34" y="194"/>
                  </a:lnTo>
                  <a:lnTo>
                    <a:pt x="36" y="188"/>
                  </a:lnTo>
                  <a:lnTo>
                    <a:pt x="36" y="182"/>
                  </a:lnTo>
                  <a:lnTo>
                    <a:pt x="36" y="64"/>
                  </a:lnTo>
                  <a:lnTo>
                    <a:pt x="46" y="64"/>
                  </a:lnTo>
                  <a:lnTo>
                    <a:pt x="46" y="388"/>
                  </a:lnTo>
                  <a:lnTo>
                    <a:pt x="46" y="388"/>
                  </a:lnTo>
                  <a:lnTo>
                    <a:pt x="46" y="392"/>
                  </a:lnTo>
                  <a:lnTo>
                    <a:pt x="48" y="404"/>
                  </a:lnTo>
                  <a:lnTo>
                    <a:pt x="50" y="408"/>
                  </a:lnTo>
                  <a:lnTo>
                    <a:pt x="54" y="414"/>
                  </a:lnTo>
                  <a:lnTo>
                    <a:pt x="60" y="418"/>
                  </a:lnTo>
                  <a:lnTo>
                    <a:pt x="70" y="420"/>
                  </a:lnTo>
                  <a:lnTo>
                    <a:pt x="70" y="420"/>
                  </a:lnTo>
                  <a:lnTo>
                    <a:pt x="74" y="418"/>
                  </a:lnTo>
                  <a:lnTo>
                    <a:pt x="82" y="416"/>
                  </a:lnTo>
                  <a:lnTo>
                    <a:pt x="86" y="412"/>
                  </a:lnTo>
                  <a:lnTo>
                    <a:pt x="90" y="406"/>
                  </a:lnTo>
                  <a:lnTo>
                    <a:pt x="94" y="398"/>
                  </a:lnTo>
                  <a:lnTo>
                    <a:pt x="96" y="388"/>
                  </a:lnTo>
                  <a:lnTo>
                    <a:pt x="96" y="204"/>
                  </a:lnTo>
                  <a:lnTo>
                    <a:pt x="102" y="204"/>
                  </a:lnTo>
                  <a:lnTo>
                    <a:pt x="102" y="388"/>
                  </a:lnTo>
                  <a:lnTo>
                    <a:pt x="102" y="388"/>
                  </a:lnTo>
                  <a:lnTo>
                    <a:pt x="104" y="398"/>
                  </a:lnTo>
                  <a:lnTo>
                    <a:pt x="106" y="406"/>
                  </a:lnTo>
                  <a:lnTo>
                    <a:pt x="110" y="412"/>
                  </a:lnTo>
                  <a:lnTo>
                    <a:pt x="116" y="416"/>
                  </a:lnTo>
                  <a:lnTo>
                    <a:pt x="124" y="418"/>
                  </a:lnTo>
                  <a:lnTo>
                    <a:pt x="128" y="420"/>
                  </a:lnTo>
                  <a:lnTo>
                    <a:pt x="128" y="420"/>
                  </a:lnTo>
                  <a:lnTo>
                    <a:pt x="136" y="418"/>
                  </a:lnTo>
                  <a:lnTo>
                    <a:pt x="142" y="414"/>
                  </a:lnTo>
                  <a:lnTo>
                    <a:pt x="148" y="408"/>
                  </a:lnTo>
                  <a:lnTo>
                    <a:pt x="150" y="404"/>
                  </a:lnTo>
                  <a:lnTo>
                    <a:pt x="152" y="392"/>
                  </a:lnTo>
                  <a:lnTo>
                    <a:pt x="152" y="388"/>
                  </a:lnTo>
                  <a:lnTo>
                    <a:pt x="152" y="64"/>
                  </a:lnTo>
                  <a:lnTo>
                    <a:pt x="160" y="64"/>
                  </a:lnTo>
                  <a:lnTo>
                    <a:pt x="160" y="182"/>
                  </a:lnTo>
                  <a:lnTo>
                    <a:pt x="160" y="182"/>
                  </a:lnTo>
                  <a:lnTo>
                    <a:pt x="162" y="188"/>
                  </a:lnTo>
                  <a:lnTo>
                    <a:pt x="164" y="194"/>
                  </a:lnTo>
                  <a:lnTo>
                    <a:pt x="166" y="198"/>
                  </a:lnTo>
                  <a:lnTo>
                    <a:pt x="170" y="200"/>
                  </a:lnTo>
                  <a:lnTo>
                    <a:pt x="176" y="202"/>
                  </a:lnTo>
                  <a:lnTo>
                    <a:pt x="178" y="202"/>
                  </a:lnTo>
                  <a:lnTo>
                    <a:pt x="178" y="202"/>
                  </a:lnTo>
                  <a:lnTo>
                    <a:pt x="186" y="202"/>
                  </a:lnTo>
                  <a:lnTo>
                    <a:pt x="190" y="200"/>
                  </a:lnTo>
                  <a:lnTo>
                    <a:pt x="194" y="196"/>
                  </a:lnTo>
                  <a:lnTo>
                    <a:pt x="196" y="192"/>
                  </a:lnTo>
                  <a:lnTo>
                    <a:pt x="198" y="184"/>
                  </a:lnTo>
                  <a:lnTo>
                    <a:pt x="198" y="182"/>
                  </a:lnTo>
                  <a:lnTo>
                    <a:pt x="198" y="54"/>
                  </a:lnTo>
                  <a:lnTo>
                    <a:pt x="198" y="54"/>
                  </a:lnTo>
                  <a:lnTo>
                    <a:pt x="196" y="36"/>
                  </a:lnTo>
                  <a:lnTo>
                    <a:pt x="192" y="22"/>
                  </a:lnTo>
                  <a:lnTo>
                    <a:pt x="184" y="14"/>
                  </a:lnTo>
                  <a:lnTo>
                    <a:pt x="176" y="8"/>
                  </a:lnTo>
                  <a:lnTo>
                    <a:pt x="168" y="4"/>
                  </a:lnTo>
                  <a:lnTo>
                    <a:pt x="160" y="2"/>
                  </a:lnTo>
                  <a:lnTo>
                    <a:pt x="154" y="0"/>
                  </a:lnTo>
                  <a:lnTo>
                    <a:pt x="44" y="0"/>
                  </a:lnTo>
                  <a:lnTo>
                    <a:pt x="44" y="0"/>
                  </a:lnTo>
                  <a:lnTo>
                    <a:pt x="36" y="2"/>
                  </a:lnTo>
                  <a:lnTo>
                    <a:pt x="30" y="4"/>
                  </a:lnTo>
                  <a:lnTo>
                    <a:pt x="22" y="8"/>
                  </a:lnTo>
                  <a:lnTo>
                    <a:pt x="14" y="14"/>
                  </a:lnTo>
                  <a:lnTo>
                    <a:pt x="6" y="22"/>
                  </a:lnTo>
                  <a:lnTo>
                    <a:pt x="2" y="36"/>
                  </a:lnTo>
                  <a:lnTo>
                    <a:pt x="0" y="54"/>
                  </a:lnTo>
                  <a:lnTo>
                    <a:pt x="0" y="182"/>
                  </a:lnTo>
                  <a:lnTo>
                    <a:pt x="0" y="182"/>
                  </a:lnTo>
                  <a:lnTo>
                    <a:pt x="0" y="184"/>
                  </a:lnTo>
                  <a:lnTo>
                    <a:pt x="2" y="192"/>
                  </a:lnTo>
                  <a:lnTo>
                    <a:pt x="4" y="196"/>
                  </a:lnTo>
                  <a:lnTo>
                    <a:pt x="8" y="200"/>
                  </a:lnTo>
                  <a:lnTo>
                    <a:pt x="12" y="202"/>
                  </a:lnTo>
                  <a:lnTo>
                    <a:pt x="18" y="202"/>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sp>
          <p:nvSpPr>
            <p:cNvPr id="80" name="Google Shape;464;p5">
              <a:extLst>
                <a:ext uri="{FF2B5EF4-FFF2-40B4-BE49-F238E27FC236}">
                  <a16:creationId xmlns:a16="http://schemas.microsoft.com/office/drawing/2014/main" id="{6E4B60B7-7060-AD55-5A20-4551F7B47511}"/>
                </a:ext>
              </a:extLst>
            </p:cNvPr>
            <p:cNvSpPr/>
            <p:nvPr/>
          </p:nvSpPr>
          <p:spPr>
            <a:xfrm>
              <a:off x="4415987" y="4536410"/>
              <a:ext cx="135016" cy="115944"/>
            </a:xfrm>
            <a:custGeom>
              <a:avLst/>
              <a:gdLst/>
              <a:ahLst/>
              <a:cxnLst/>
              <a:rect l="l" t="t" r="r" b="b"/>
              <a:pathLst>
                <a:path w="84" h="86" extrusionOk="0">
                  <a:moveTo>
                    <a:pt x="0" y="44"/>
                  </a:moveTo>
                  <a:lnTo>
                    <a:pt x="0" y="44"/>
                  </a:lnTo>
                  <a:lnTo>
                    <a:pt x="0" y="52"/>
                  </a:lnTo>
                  <a:lnTo>
                    <a:pt x="2" y="60"/>
                  </a:lnTo>
                  <a:lnTo>
                    <a:pt x="6" y="66"/>
                  </a:lnTo>
                  <a:lnTo>
                    <a:pt x="12" y="74"/>
                  </a:lnTo>
                  <a:lnTo>
                    <a:pt x="18" y="78"/>
                  </a:lnTo>
                  <a:lnTo>
                    <a:pt x="26" y="82"/>
                  </a:lnTo>
                  <a:lnTo>
                    <a:pt x="34" y="84"/>
                  </a:lnTo>
                  <a:lnTo>
                    <a:pt x="42" y="86"/>
                  </a:lnTo>
                  <a:lnTo>
                    <a:pt x="42" y="86"/>
                  </a:lnTo>
                  <a:lnTo>
                    <a:pt x="50" y="84"/>
                  </a:lnTo>
                  <a:lnTo>
                    <a:pt x="58" y="82"/>
                  </a:lnTo>
                  <a:lnTo>
                    <a:pt x="66" y="78"/>
                  </a:lnTo>
                  <a:lnTo>
                    <a:pt x="72" y="74"/>
                  </a:lnTo>
                  <a:lnTo>
                    <a:pt x="76" y="66"/>
                  </a:lnTo>
                  <a:lnTo>
                    <a:pt x="80" y="60"/>
                  </a:lnTo>
                  <a:lnTo>
                    <a:pt x="84" y="52"/>
                  </a:lnTo>
                  <a:lnTo>
                    <a:pt x="84" y="44"/>
                  </a:lnTo>
                  <a:lnTo>
                    <a:pt x="84" y="44"/>
                  </a:lnTo>
                  <a:lnTo>
                    <a:pt x="84" y="34"/>
                  </a:lnTo>
                  <a:lnTo>
                    <a:pt x="80" y="26"/>
                  </a:lnTo>
                  <a:lnTo>
                    <a:pt x="76" y="20"/>
                  </a:lnTo>
                  <a:lnTo>
                    <a:pt x="72" y="14"/>
                  </a:lnTo>
                  <a:lnTo>
                    <a:pt x="66" y="8"/>
                  </a:lnTo>
                  <a:lnTo>
                    <a:pt x="58" y="4"/>
                  </a:lnTo>
                  <a:lnTo>
                    <a:pt x="50" y="2"/>
                  </a:lnTo>
                  <a:lnTo>
                    <a:pt x="42" y="0"/>
                  </a:lnTo>
                  <a:lnTo>
                    <a:pt x="42" y="0"/>
                  </a:lnTo>
                  <a:lnTo>
                    <a:pt x="34" y="2"/>
                  </a:lnTo>
                  <a:lnTo>
                    <a:pt x="26" y="4"/>
                  </a:lnTo>
                  <a:lnTo>
                    <a:pt x="18" y="8"/>
                  </a:lnTo>
                  <a:lnTo>
                    <a:pt x="12" y="14"/>
                  </a:lnTo>
                  <a:lnTo>
                    <a:pt x="6" y="20"/>
                  </a:lnTo>
                  <a:lnTo>
                    <a:pt x="2" y="26"/>
                  </a:lnTo>
                  <a:lnTo>
                    <a:pt x="0" y="34"/>
                  </a:lnTo>
                  <a:lnTo>
                    <a:pt x="0" y="44"/>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sp>
          <p:nvSpPr>
            <p:cNvPr id="81" name="Google Shape;465;p5">
              <a:extLst>
                <a:ext uri="{FF2B5EF4-FFF2-40B4-BE49-F238E27FC236}">
                  <a16:creationId xmlns:a16="http://schemas.microsoft.com/office/drawing/2014/main" id="{355163F4-E5C4-C2C5-3EA2-2E0EC190CCB8}"/>
                </a:ext>
              </a:extLst>
            </p:cNvPr>
            <p:cNvSpPr/>
            <p:nvPr/>
          </p:nvSpPr>
          <p:spPr>
            <a:xfrm>
              <a:off x="4275375" y="4693030"/>
              <a:ext cx="385760" cy="574325"/>
            </a:xfrm>
            <a:custGeom>
              <a:avLst/>
              <a:gdLst/>
              <a:ahLst/>
              <a:cxnLst/>
              <a:rect l="l" t="t" r="r" b="b"/>
              <a:pathLst>
                <a:path w="240" h="426" extrusionOk="0">
                  <a:moveTo>
                    <a:pt x="238" y="156"/>
                  </a:moveTo>
                  <a:lnTo>
                    <a:pt x="202" y="36"/>
                  </a:lnTo>
                  <a:lnTo>
                    <a:pt x="202" y="36"/>
                  </a:lnTo>
                  <a:lnTo>
                    <a:pt x="198" y="30"/>
                  </a:lnTo>
                  <a:lnTo>
                    <a:pt x="190" y="18"/>
                  </a:lnTo>
                  <a:lnTo>
                    <a:pt x="184" y="12"/>
                  </a:lnTo>
                  <a:lnTo>
                    <a:pt x="176" y="6"/>
                  </a:lnTo>
                  <a:lnTo>
                    <a:pt x="166" y="2"/>
                  </a:lnTo>
                  <a:lnTo>
                    <a:pt x="154" y="0"/>
                  </a:lnTo>
                  <a:lnTo>
                    <a:pt x="80" y="0"/>
                  </a:lnTo>
                  <a:lnTo>
                    <a:pt x="80" y="0"/>
                  </a:lnTo>
                  <a:lnTo>
                    <a:pt x="74" y="0"/>
                  </a:lnTo>
                  <a:lnTo>
                    <a:pt x="68" y="2"/>
                  </a:lnTo>
                  <a:lnTo>
                    <a:pt x="62" y="6"/>
                  </a:lnTo>
                  <a:lnTo>
                    <a:pt x="54" y="12"/>
                  </a:lnTo>
                  <a:lnTo>
                    <a:pt x="48" y="20"/>
                  </a:lnTo>
                  <a:lnTo>
                    <a:pt x="40" y="32"/>
                  </a:lnTo>
                  <a:lnTo>
                    <a:pt x="36" y="48"/>
                  </a:lnTo>
                  <a:lnTo>
                    <a:pt x="4" y="158"/>
                  </a:lnTo>
                  <a:lnTo>
                    <a:pt x="4" y="158"/>
                  </a:lnTo>
                  <a:lnTo>
                    <a:pt x="2" y="162"/>
                  </a:lnTo>
                  <a:lnTo>
                    <a:pt x="0" y="170"/>
                  </a:lnTo>
                  <a:lnTo>
                    <a:pt x="0" y="174"/>
                  </a:lnTo>
                  <a:lnTo>
                    <a:pt x="2" y="180"/>
                  </a:lnTo>
                  <a:lnTo>
                    <a:pt x="6" y="184"/>
                  </a:lnTo>
                  <a:lnTo>
                    <a:pt x="14" y="186"/>
                  </a:lnTo>
                  <a:lnTo>
                    <a:pt x="14" y="186"/>
                  </a:lnTo>
                  <a:lnTo>
                    <a:pt x="16" y="186"/>
                  </a:lnTo>
                  <a:lnTo>
                    <a:pt x="24" y="184"/>
                  </a:lnTo>
                  <a:lnTo>
                    <a:pt x="28" y="182"/>
                  </a:lnTo>
                  <a:lnTo>
                    <a:pt x="32" y="178"/>
                  </a:lnTo>
                  <a:lnTo>
                    <a:pt x="34" y="172"/>
                  </a:lnTo>
                  <a:lnTo>
                    <a:pt x="38" y="162"/>
                  </a:lnTo>
                  <a:lnTo>
                    <a:pt x="68" y="60"/>
                  </a:lnTo>
                  <a:lnTo>
                    <a:pt x="78" y="60"/>
                  </a:lnTo>
                  <a:lnTo>
                    <a:pt x="20" y="256"/>
                  </a:lnTo>
                  <a:lnTo>
                    <a:pt x="76" y="256"/>
                  </a:lnTo>
                  <a:lnTo>
                    <a:pt x="76" y="408"/>
                  </a:lnTo>
                  <a:lnTo>
                    <a:pt x="76" y="408"/>
                  </a:lnTo>
                  <a:lnTo>
                    <a:pt x="76" y="412"/>
                  </a:lnTo>
                  <a:lnTo>
                    <a:pt x="78" y="418"/>
                  </a:lnTo>
                  <a:lnTo>
                    <a:pt x="80" y="420"/>
                  </a:lnTo>
                  <a:lnTo>
                    <a:pt x="84" y="424"/>
                  </a:lnTo>
                  <a:lnTo>
                    <a:pt x="88" y="426"/>
                  </a:lnTo>
                  <a:lnTo>
                    <a:pt x="94" y="426"/>
                  </a:lnTo>
                  <a:lnTo>
                    <a:pt x="94" y="426"/>
                  </a:lnTo>
                  <a:lnTo>
                    <a:pt x="98" y="426"/>
                  </a:lnTo>
                  <a:lnTo>
                    <a:pt x="104" y="424"/>
                  </a:lnTo>
                  <a:lnTo>
                    <a:pt x="108" y="422"/>
                  </a:lnTo>
                  <a:lnTo>
                    <a:pt x="112" y="418"/>
                  </a:lnTo>
                  <a:lnTo>
                    <a:pt x="114" y="414"/>
                  </a:lnTo>
                  <a:lnTo>
                    <a:pt x="114" y="408"/>
                  </a:lnTo>
                  <a:lnTo>
                    <a:pt x="114" y="258"/>
                  </a:lnTo>
                  <a:lnTo>
                    <a:pt x="126" y="258"/>
                  </a:lnTo>
                  <a:lnTo>
                    <a:pt x="126" y="412"/>
                  </a:lnTo>
                  <a:lnTo>
                    <a:pt x="126" y="412"/>
                  </a:lnTo>
                  <a:lnTo>
                    <a:pt x="126" y="414"/>
                  </a:lnTo>
                  <a:lnTo>
                    <a:pt x="130" y="418"/>
                  </a:lnTo>
                  <a:lnTo>
                    <a:pt x="136" y="424"/>
                  </a:lnTo>
                  <a:lnTo>
                    <a:pt x="140" y="426"/>
                  </a:lnTo>
                  <a:lnTo>
                    <a:pt x="146" y="426"/>
                  </a:lnTo>
                  <a:lnTo>
                    <a:pt x="146" y="426"/>
                  </a:lnTo>
                  <a:lnTo>
                    <a:pt x="150" y="426"/>
                  </a:lnTo>
                  <a:lnTo>
                    <a:pt x="156" y="424"/>
                  </a:lnTo>
                  <a:lnTo>
                    <a:pt x="160" y="422"/>
                  </a:lnTo>
                  <a:lnTo>
                    <a:pt x="164" y="418"/>
                  </a:lnTo>
                  <a:lnTo>
                    <a:pt x="166" y="412"/>
                  </a:lnTo>
                  <a:lnTo>
                    <a:pt x="166" y="406"/>
                  </a:lnTo>
                  <a:lnTo>
                    <a:pt x="166" y="260"/>
                  </a:lnTo>
                  <a:lnTo>
                    <a:pt x="220" y="260"/>
                  </a:lnTo>
                  <a:lnTo>
                    <a:pt x="164" y="62"/>
                  </a:lnTo>
                  <a:lnTo>
                    <a:pt x="174" y="62"/>
                  </a:lnTo>
                  <a:lnTo>
                    <a:pt x="204" y="172"/>
                  </a:lnTo>
                  <a:lnTo>
                    <a:pt x="204" y="172"/>
                  </a:lnTo>
                  <a:lnTo>
                    <a:pt x="206" y="176"/>
                  </a:lnTo>
                  <a:lnTo>
                    <a:pt x="210" y="180"/>
                  </a:lnTo>
                  <a:lnTo>
                    <a:pt x="218" y="184"/>
                  </a:lnTo>
                  <a:lnTo>
                    <a:pt x="222" y="186"/>
                  </a:lnTo>
                  <a:lnTo>
                    <a:pt x="228" y="184"/>
                  </a:lnTo>
                  <a:lnTo>
                    <a:pt x="228" y="184"/>
                  </a:lnTo>
                  <a:lnTo>
                    <a:pt x="230" y="184"/>
                  </a:lnTo>
                  <a:lnTo>
                    <a:pt x="236" y="180"/>
                  </a:lnTo>
                  <a:lnTo>
                    <a:pt x="238" y="176"/>
                  </a:lnTo>
                  <a:lnTo>
                    <a:pt x="240" y="172"/>
                  </a:lnTo>
                  <a:lnTo>
                    <a:pt x="240" y="164"/>
                  </a:lnTo>
                  <a:lnTo>
                    <a:pt x="238" y="156"/>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800"/>
              </a:pPr>
              <a:endParaRPr sz="1400">
                <a:solidFill>
                  <a:schemeClr val="dk1"/>
                </a:solidFill>
              </a:endParaRPr>
            </a:p>
          </p:txBody>
        </p:sp>
      </p:grpSp>
      <p:sp>
        <p:nvSpPr>
          <p:cNvPr id="82" name="Google Shape;439;p5">
            <a:extLst>
              <a:ext uri="{FF2B5EF4-FFF2-40B4-BE49-F238E27FC236}">
                <a16:creationId xmlns:a16="http://schemas.microsoft.com/office/drawing/2014/main" id="{F11856C3-0882-B60C-8308-55534789E9C5}"/>
              </a:ext>
            </a:extLst>
          </p:cNvPr>
          <p:cNvSpPr/>
          <p:nvPr/>
        </p:nvSpPr>
        <p:spPr>
          <a:xfrm>
            <a:off x="977284" y="5115257"/>
            <a:ext cx="2742957" cy="637760"/>
          </a:xfrm>
          <a:prstGeom prst="roundRect">
            <a:avLst>
              <a:gd name="adj" fmla="val 50000"/>
            </a:avLst>
          </a:prstGeom>
          <a:solidFill>
            <a:schemeClr val="tx1">
              <a:lumMod val="50000"/>
              <a:lumOff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200"/>
            </a:pPr>
            <a:r>
              <a:rPr lang="el-GR" sz="1200" b="1">
                <a:solidFill>
                  <a:srgbClr val="FFFFFF"/>
                </a:solidFill>
              </a:rPr>
              <a:t>6.</a:t>
            </a:r>
            <a:r>
              <a:rPr lang="el-GR" sz="1200" b="1" spc="-55">
                <a:solidFill>
                  <a:srgbClr val="FFFFFF"/>
                </a:solidFill>
              </a:rPr>
              <a:t> </a:t>
            </a:r>
            <a:r>
              <a:rPr lang="el-GR" sz="1200" b="1" spc="-11">
                <a:solidFill>
                  <a:srgbClr val="FFFFFF"/>
                </a:solidFill>
              </a:rPr>
              <a:t>Τεχνική</a:t>
            </a:r>
            <a:r>
              <a:rPr lang="el-GR" sz="1200" b="1" spc="-20">
                <a:solidFill>
                  <a:srgbClr val="FFFFFF"/>
                </a:solidFill>
              </a:rPr>
              <a:t> </a:t>
            </a:r>
            <a:r>
              <a:rPr lang="el-GR" sz="1200" b="1" spc="-11">
                <a:solidFill>
                  <a:srgbClr val="FFFFFF"/>
                </a:solidFill>
              </a:rPr>
              <a:t>Βοήθεια</a:t>
            </a:r>
            <a:endParaRPr lang="el-GR" sz="1200"/>
          </a:p>
        </p:txBody>
      </p:sp>
      <p:sp>
        <p:nvSpPr>
          <p:cNvPr id="83" name="Google Shape;445;p5">
            <a:extLst>
              <a:ext uri="{FF2B5EF4-FFF2-40B4-BE49-F238E27FC236}">
                <a16:creationId xmlns:a16="http://schemas.microsoft.com/office/drawing/2014/main" id="{DAA82904-0BB6-5448-616F-FE4559874B7B}"/>
              </a:ext>
            </a:extLst>
          </p:cNvPr>
          <p:cNvSpPr/>
          <p:nvPr/>
        </p:nvSpPr>
        <p:spPr>
          <a:xfrm>
            <a:off x="168383" y="5121097"/>
            <a:ext cx="684000" cy="684000"/>
          </a:xfrm>
          <a:prstGeom prst="flowChartConnector">
            <a:avLst/>
          </a:prstGeom>
          <a:solidFill>
            <a:schemeClr val="tx1">
              <a:lumMod val="50000"/>
              <a:lumOff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rgbClr val="000000"/>
              </a:buClr>
              <a:buSzPts val="1400"/>
            </a:pPr>
            <a:endParaRPr sz="1400">
              <a:solidFill>
                <a:srgbClr val="FFFFFF"/>
              </a:solidFill>
              <a:latin typeface="Calibri"/>
              <a:ea typeface="Calibri"/>
              <a:cs typeface="Calibri"/>
              <a:sym typeface="Calibri"/>
            </a:endParaRPr>
          </a:p>
        </p:txBody>
      </p:sp>
      <p:sp>
        <p:nvSpPr>
          <p:cNvPr id="85" name="Freeform 5">
            <a:extLst>
              <a:ext uri="{FF2B5EF4-FFF2-40B4-BE49-F238E27FC236}">
                <a16:creationId xmlns:a16="http://schemas.microsoft.com/office/drawing/2014/main" id="{580E2CCB-802C-18C6-4057-8EF1127A37DB}"/>
              </a:ext>
            </a:extLst>
          </p:cNvPr>
          <p:cNvSpPr>
            <a:spLocks noChangeAspect="1" noEditPoints="1"/>
          </p:cNvSpPr>
          <p:nvPr/>
        </p:nvSpPr>
        <p:spPr bwMode="auto">
          <a:xfrm>
            <a:off x="264268" y="5227353"/>
            <a:ext cx="488949" cy="471488"/>
          </a:xfrm>
          <a:custGeom>
            <a:avLst/>
            <a:gdLst>
              <a:gd name="T0" fmla="*/ 124 w 200"/>
              <a:gd name="T1" fmla="*/ 2 h 194"/>
              <a:gd name="T2" fmla="*/ 100 w 200"/>
              <a:gd name="T3" fmla="*/ 15 h 194"/>
              <a:gd name="T4" fmla="*/ 76 w 200"/>
              <a:gd name="T5" fmla="*/ 2 h 194"/>
              <a:gd name="T6" fmla="*/ 66 w 200"/>
              <a:gd name="T7" fmla="*/ 1 h 194"/>
              <a:gd name="T8" fmla="*/ 30 w 200"/>
              <a:gd name="T9" fmla="*/ 29 h 194"/>
              <a:gd name="T10" fmla="*/ 25 w 200"/>
              <a:gd name="T11" fmla="*/ 65 h 194"/>
              <a:gd name="T12" fmla="*/ 0 w 200"/>
              <a:gd name="T13" fmla="*/ 78 h 194"/>
              <a:gd name="T14" fmla="*/ 6 w 200"/>
              <a:gd name="T15" fmla="*/ 123 h 194"/>
              <a:gd name="T16" fmla="*/ 35 w 200"/>
              <a:gd name="T17" fmla="*/ 146 h 194"/>
              <a:gd name="T18" fmla="*/ 34 w 200"/>
              <a:gd name="T19" fmla="*/ 174 h 194"/>
              <a:gd name="T20" fmla="*/ 70 w 200"/>
              <a:gd name="T21" fmla="*/ 194 h 194"/>
              <a:gd name="T22" fmla="*/ 90 w 200"/>
              <a:gd name="T23" fmla="*/ 177 h 194"/>
              <a:gd name="T24" fmla="*/ 110 w 200"/>
              <a:gd name="T25" fmla="*/ 177 h 194"/>
              <a:gd name="T26" fmla="*/ 130 w 200"/>
              <a:gd name="T27" fmla="*/ 194 h 194"/>
              <a:gd name="T28" fmla="*/ 166 w 200"/>
              <a:gd name="T29" fmla="*/ 174 h 194"/>
              <a:gd name="T30" fmla="*/ 165 w 200"/>
              <a:gd name="T31" fmla="*/ 146 h 194"/>
              <a:gd name="T32" fmla="*/ 194 w 200"/>
              <a:gd name="T33" fmla="*/ 123 h 194"/>
              <a:gd name="T34" fmla="*/ 200 w 200"/>
              <a:gd name="T35" fmla="*/ 78 h 194"/>
              <a:gd name="T36" fmla="*/ 175 w 200"/>
              <a:gd name="T37" fmla="*/ 65 h 194"/>
              <a:gd name="T38" fmla="*/ 170 w 200"/>
              <a:gd name="T39" fmla="*/ 29 h 194"/>
              <a:gd name="T40" fmla="*/ 134 w 200"/>
              <a:gd name="T41" fmla="*/ 1 h 194"/>
              <a:gd name="T42" fmla="*/ 131 w 200"/>
              <a:gd name="T43" fmla="*/ 13 h 194"/>
              <a:gd name="T44" fmla="*/ 152 w 200"/>
              <a:gd name="T45" fmla="*/ 44 h 194"/>
              <a:gd name="T46" fmla="*/ 155 w 200"/>
              <a:gd name="T47" fmla="*/ 55 h 194"/>
              <a:gd name="T48" fmla="*/ 166 w 200"/>
              <a:gd name="T49" fmla="*/ 76 h 194"/>
              <a:gd name="T50" fmla="*/ 188 w 200"/>
              <a:gd name="T51" fmla="*/ 81 h 194"/>
              <a:gd name="T52" fmla="*/ 172 w 200"/>
              <a:gd name="T53" fmla="*/ 116 h 194"/>
              <a:gd name="T54" fmla="*/ 163 w 200"/>
              <a:gd name="T55" fmla="*/ 123 h 194"/>
              <a:gd name="T56" fmla="*/ 151 w 200"/>
              <a:gd name="T57" fmla="*/ 143 h 194"/>
              <a:gd name="T58" fmla="*/ 157 w 200"/>
              <a:gd name="T59" fmla="*/ 165 h 194"/>
              <a:gd name="T60" fmla="*/ 119 w 200"/>
              <a:gd name="T61" fmla="*/ 168 h 194"/>
              <a:gd name="T62" fmla="*/ 109 w 200"/>
              <a:gd name="T63" fmla="*/ 165 h 194"/>
              <a:gd name="T64" fmla="*/ 91 w 200"/>
              <a:gd name="T65" fmla="*/ 165 h 194"/>
              <a:gd name="T66" fmla="*/ 81 w 200"/>
              <a:gd name="T67" fmla="*/ 168 h 194"/>
              <a:gd name="T68" fmla="*/ 43 w 200"/>
              <a:gd name="T69" fmla="*/ 165 h 194"/>
              <a:gd name="T70" fmla="*/ 49 w 200"/>
              <a:gd name="T71" fmla="*/ 143 h 194"/>
              <a:gd name="T72" fmla="*/ 37 w 200"/>
              <a:gd name="T73" fmla="*/ 123 h 194"/>
              <a:gd name="T74" fmla="*/ 28 w 200"/>
              <a:gd name="T75" fmla="*/ 116 h 194"/>
              <a:gd name="T76" fmla="*/ 12 w 200"/>
              <a:gd name="T77" fmla="*/ 81 h 194"/>
              <a:gd name="T78" fmla="*/ 34 w 200"/>
              <a:gd name="T79" fmla="*/ 76 h 194"/>
              <a:gd name="T80" fmla="*/ 45 w 200"/>
              <a:gd name="T81" fmla="*/ 55 h 194"/>
              <a:gd name="T82" fmla="*/ 47 w 200"/>
              <a:gd name="T83" fmla="*/ 44 h 194"/>
              <a:gd name="T84" fmla="*/ 69 w 200"/>
              <a:gd name="T85" fmla="*/ 13 h 194"/>
              <a:gd name="T86" fmla="*/ 85 w 200"/>
              <a:gd name="T87" fmla="*/ 29 h 194"/>
              <a:gd name="T88" fmla="*/ 100 w 200"/>
              <a:gd name="T89" fmla="*/ 28 h 194"/>
              <a:gd name="T90" fmla="*/ 115 w 200"/>
              <a:gd name="T91" fmla="*/ 29 h 194"/>
              <a:gd name="T92" fmla="*/ 131 w 200"/>
              <a:gd name="T93" fmla="*/ 13 h 194"/>
              <a:gd name="T94" fmla="*/ 69 w 200"/>
              <a:gd name="T95" fmla="*/ 97 h 194"/>
              <a:gd name="T96" fmla="*/ 131 w 200"/>
              <a:gd name="T97" fmla="*/ 97 h 194"/>
              <a:gd name="T98" fmla="*/ 100 w 200"/>
              <a:gd name="T99" fmla="*/ 78 h 194"/>
              <a:gd name="T100" fmla="*/ 100 w 200"/>
              <a:gd name="T101" fmla="*/ 115 h 194"/>
              <a:gd name="T102" fmla="*/ 100 w 200"/>
              <a:gd name="T103" fmla="*/ 7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 h="194">
                <a:moveTo>
                  <a:pt x="130" y="0"/>
                </a:moveTo>
                <a:cubicBezTo>
                  <a:pt x="128" y="0"/>
                  <a:pt x="125" y="0"/>
                  <a:pt x="124" y="2"/>
                </a:cubicBezTo>
                <a:cubicBezTo>
                  <a:pt x="110" y="16"/>
                  <a:pt x="110" y="16"/>
                  <a:pt x="110" y="16"/>
                </a:cubicBezTo>
                <a:cubicBezTo>
                  <a:pt x="107" y="16"/>
                  <a:pt x="104" y="15"/>
                  <a:pt x="100" y="15"/>
                </a:cubicBezTo>
                <a:cubicBezTo>
                  <a:pt x="96" y="15"/>
                  <a:pt x="93" y="16"/>
                  <a:pt x="90" y="16"/>
                </a:cubicBezTo>
                <a:cubicBezTo>
                  <a:pt x="76" y="2"/>
                  <a:pt x="76" y="2"/>
                  <a:pt x="76" y="2"/>
                </a:cubicBezTo>
                <a:cubicBezTo>
                  <a:pt x="75" y="0"/>
                  <a:pt x="72" y="0"/>
                  <a:pt x="70" y="0"/>
                </a:cubicBezTo>
                <a:cubicBezTo>
                  <a:pt x="69" y="0"/>
                  <a:pt x="67" y="0"/>
                  <a:pt x="66" y="1"/>
                </a:cubicBezTo>
                <a:cubicBezTo>
                  <a:pt x="34" y="19"/>
                  <a:pt x="34" y="19"/>
                  <a:pt x="34" y="19"/>
                </a:cubicBezTo>
                <a:cubicBezTo>
                  <a:pt x="31" y="21"/>
                  <a:pt x="29" y="25"/>
                  <a:pt x="30" y="29"/>
                </a:cubicBezTo>
                <a:cubicBezTo>
                  <a:pt x="35" y="47"/>
                  <a:pt x="35" y="47"/>
                  <a:pt x="35" y="47"/>
                </a:cubicBezTo>
                <a:cubicBezTo>
                  <a:pt x="31" y="53"/>
                  <a:pt x="28" y="59"/>
                  <a:pt x="25" y="65"/>
                </a:cubicBezTo>
                <a:cubicBezTo>
                  <a:pt x="6" y="70"/>
                  <a:pt x="6" y="70"/>
                  <a:pt x="6" y="70"/>
                </a:cubicBezTo>
                <a:cubicBezTo>
                  <a:pt x="3" y="71"/>
                  <a:pt x="0" y="74"/>
                  <a:pt x="0" y="78"/>
                </a:cubicBezTo>
                <a:cubicBezTo>
                  <a:pt x="0" y="115"/>
                  <a:pt x="0" y="115"/>
                  <a:pt x="0" y="115"/>
                </a:cubicBezTo>
                <a:cubicBezTo>
                  <a:pt x="0" y="119"/>
                  <a:pt x="3" y="122"/>
                  <a:pt x="6" y="123"/>
                </a:cubicBezTo>
                <a:cubicBezTo>
                  <a:pt x="25" y="128"/>
                  <a:pt x="25" y="128"/>
                  <a:pt x="25" y="128"/>
                </a:cubicBezTo>
                <a:cubicBezTo>
                  <a:pt x="28" y="134"/>
                  <a:pt x="31" y="140"/>
                  <a:pt x="35" y="146"/>
                </a:cubicBezTo>
                <a:cubicBezTo>
                  <a:pt x="30" y="164"/>
                  <a:pt x="30" y="164"/>
                  <a:pt x="30" y="164"/>
                </a:cubicBezTo>
                <a:cubicBezTo>
                  <a:pt x="29" y="168"/>
                  <a:pt x="31" y="172"/>
                  <a:pt x="34" y="174"/>
                </a:cubicBezTo>
                <a:cubicBezTo>
                  <a:pt x="66" y="192"/>
                  <a:pt x="66" y="192"/>
                  <a:pt x="66" y="192"/>
                </a:cubicBezTo>
                <a:cubicBezTo>
                  <a:pt x="67" y="193"/>
                  <a:pt x="69" y="194"/>
                  <a:pt x="70" y="194"/>
                </a:cubicBezTo>
                <a:cubicBezTo>
                  <a:pt x="72" y="194"/>
                  <a:pt x="75" y="193"/>
                  <a:pt x="76" y="191"/>
                </a:cubicBezTo>
                <a:cubicBezTo>
                  <a:pt x="90" y="177"/>
                  <a:pt x="90" y="177"/>
                  <a:pt x="90" y="177"/>
                </a:cubicBezTo>
                <a:cubicBezTo>
                  <a:pt x="93" y="177"/>
                  <a:pt x="96" y="178"/>
                  <a:pt x="100" y="178"/>
                </a:cubicBezTo>
                <a:cubicBezTo>
                  <a:pt x="104" y="178"/>
                  <a:pt x="107" y="177"/>
                  <a:pt x="110" y="177"/>
                </a:cubicBezTo>
                <a:cubicBezTo>
                  <a:pt x="124" y="191"/>
                  <a:pt x="124" y="191"/>
                  <a:pt x="124" y="191"/>
                </a:cubicBezTo>
                <a:cubicBezTo>
                  <a:pt x="125" y="193"/>
                  <a:pt x="128" y="194"/>
                  <a:pt x="130" y="194"/>
                </a:cubicBezTo>
                <a:cubicBezTo>
                  <a:pt x="131" y="194"/>
                  <a:pt x="133" y="193"/>
                  <a:pt x="134" y="192"/>
                </a:cubicBezTo>
                <a:cubicBezTo>
                  <a:pt x="166" y="174"/>
                  <a:pt x="166" y="174"/>
                  <a:pt x="166" y="174"/>
                </a:cubicBezTo>
                <a:cubicBezTo>
                  <a:pt x="169" y="172"/>
                  <a:pt x="171" y="168"/>
                  <a:pt x="170" y="164"/>
                </a:cubicBezTo>
                <a:cubicBezTo>
                  <a:pt x="165" y="146"/>
                  <a:pt x="165" y="146"/>
                  <a:pt x="165" y="146"/>
                </a:cubicBezTo>
                <a:cubicBezTo>
                  <a:pt x="169" y="140"/>
                  <a:pt x="172" y="134"/>
                  <a:pt x="175" y="128"/>
                </a:cubicBezTo>
                <a:cubicBezTo>
                  <a:pt x="194" y="123"/>
                  <a:pt x="194" y="123"/>
                  <a:pt x="194" y="123"/>
                </a:cubicBezTo>
                <a:cubicBezTo>
                  <a:pt x="197" y="122"/>
                  <a:pt x="200" y="119"/>
                  <a:pt x="200" y="115"/>
                </a:cubicBezTo>
                <a:cubicBezTo>
                  <a:pt x="200" y="78"/>
                  <a:pt x="200" y="78"/>
                  <a:pt x="200" y="78"/>
                </a:cubicBezTo>
                <a:cubicBezTo>
                  <a:pt x="200" y="74"/>
                  <a:pt x="197" y="71"/>
                  <a:pt x="194" y="70"/>
                </a:cubicBezTo>
                <a:cubicBezTo>
                  <a:pt x="175" y="65"/>
                  <a:pt x="175" y="65"/>
                  <a:pt x="175" y="65"/>
                </a:cubicBezTo>
                <a:cubicBezTo>
                  <a:pt x="172" y="59"/>
                  <a:pt x="169" y="53"/>
                  <a:pt x="165" y="47"/>
                </a:cubicBezTo>
                <a:cubicBezTo>
                  <a:pt x="170" y="29"/>
                  <a:pt x="170" y="29"/>
                  <a:pt x="170" y="29"/>
                </a:cubicBezTo>
                <a:cubicBezTo>
                  <a:pt x="171" y="25"/>
                  <a:pt x="169" y="21"/>
                  <a:pt x="166" y="19"/>
                </a:cubicBezTo>
                <a:cubicBezTo>
                  <a:pt x="134" y="1"/>
                  <a:pt x="134" y="1"/>
                  <a:pt x="134" y="1"/>
                </a:cubicBezTo>
                <a:cubicBezTo>
                  <a:pt x="133" y="0"/>
                  <a:pt x="131" y="0"/>
                  <a:pt x="130" y="0"/>
                </a:cubicBezTo>
                <a:close/>
                <a:moveTo>
                  <a:pt x="131" y="13"/>
                </a:moveTo>
                <a:cubicBezTo>
                  <a:pt x="157" y="28"/>
                  <a:pt x="157" y="28"/>
                  <a:pt x="157" y="28"/>
                </a:cubicBezTo>
                <a:cubicBezTo>
                  <a:pt x="152" y="44"/>
                  <a:pt x="152" y="44"/>
                  <a:pt x="152" y="44"/>
                </a:cubicBezTo>
                <a:cubicBezTo>
                  <a:pt x="151" y="50"/>
                  <a:pt x="151" y="50"/>
                  <a:pt x="151" y="50"/>
                </a:cubicBezTo>
                <a:cubicBezTo>
                  <a:pt x="155" y="55"/>
                  <a:pt x="155" y="55"/>
                  <a:pt x="155" y="55"/>
                </a:cubicBezTo>
                <a:cubicBezTo>
                  <a:pt x="158" y="60"/>
                  <a:pt x="161" y="65"/>
                  <a:pt x="163" y="70"/>
                </a:cubicBezTo>
                <a:cubicBezTo>
                  <a:pt x="166" y="76"/>
                  <a:pt x="166" y="76"/>
                  <a:pt x="166" y="76"/>
                </a:cubicBezTo>
                <a:cubicBezTo>
                  <a:pt x="172" y="77"/>
                  <a:pt x="172" y="77"/>
                  <a:pt x="172" y="77"/>
                </a:cubicBezTo>
                <a:cubicBezTo>
                  <a:pt x="188" y="81"/>
                  <a:pt x="188" y="81"/>
                  <a:pt x="188" y="81"/>
                </a:cubicBezTo>
                <a:cubicBezTo>
                  <a:pt x="188" y="112"/>
                  <a:pt x="188" y="112"/>
                  <a:pt x="188" y="112"/>
                </a:cubicBezTo>
                <a:cubicBezTo>
                  <a:pt x="172" y="116"/>
                  <a:pt x="172" y="116"/>
                  <a:pt x="172" y="116"/>
                </a:cubicBezTo>
                <a:cubicBezTo>
                  <a:pt x="166" y="117"/>
                  <a:pt x="166" y="117"/>
                  <a:pt x="166" y="117"/>
                </a:cubicBezTo>
                <a:cubicBezTo>
                  <a:pt x="163" y="123"/>
                  <a:pt x="163" y="123"/>
                  <a:pt x="163" y="123"/>
                </a:cubicBezTo>
                <a:cubicBezTo>
                  <a:pt x="161" y="128"/>
                  <a:pt x="158" y="133"/>
                  <a:pt x="155" y="138"/>
                </a:cubicBezTo>
                <a:cubicBezTo>
                  <a:pt x="151" y="143"/>
                  <a:pt x="151" y="143"/>
                  <a:pt x="151" y="143"/>
                </a:cubicBezTo>
                <a:cubicBezTo>
                  <a:pt x="152" y="149"/>
                  <a:pt x="152" y="149"/>
                  <a:pt x="152" y="149"/>
                </a:cubicBezTo>
                <a:cubicBezTo>
                  <a:pt x="157" y="165"/>
                  <a:pt x="157" y="165"/>
                  <a:pt x="157" y="165"/>
                </a:cubicBezTo>
                <a:cubicBezTo>
                  <a:pt x="131" y="180"/>
                  <a:pt x="131" y="180"/>
                  <a:pt x="131" y="180"/>
                </a:cubicBezTo>
                <a:cubicBezTo>
                  <a:pt x="119" y="168"/>
                  <a:pt x="119" y="168"/>
                  <a:pt x="119" y="168"/>
                </a:cubicBezTo>
                <a:cubicBezTo>
                  <a:pt x="115" y="164"/>
                  <a:pt x="115" y="164"/>
                  <a:pt x="115" y="164"/>
                </a:cubicBezTo>
                <a:cubicBezTo>
                  <a:pt x="109" y="165"/>
                  <a:pt x="109" y="165"/>
                  <a:pt x="109" y="165"/>
                </a:cubicBezTo>
                <a:cubicBezTo>
                  <a:pt x="105" y="165"/>
                  <a:pt x="103" y="165"/>
                  <a:pt x="100" y="165"/>
                </a:cubicBezTo>
                <a:cubicBezTo>
                  <a:pt x="97" y="165"/>
                  <a:pt x="95" y="165"/>
                  <a:pt x="91" y="165"/>
                </a:cubicBezTo>
                <a:cubicBezTo>
                  <a:pt x="85" y="164"/>
                  <a:pt x="85" y="164"/>
                  <a:pt x="85" y="164"/>
                </a:cubicBezTo>
                <a:cubicBezTo>
                  <a:pt x="81" y="168"/>
                  <a:pt x="81" y="168"/>
                  <a:pt x="81" y="168"/>
                </a:cubicBezTo>
                <a:cubicBezTo>
                  <a:pt x="69" y="180"/>
                  <a:pt x="69" y="180"/>
                  <a:pt x="69" y="180"/>
                </a:cubicBezTo>
                <a:cubicBezTo>
                  <a:pt x="43" y="165"/>
                  <a:pt x="43" y="165"/>
                  <a:pt x="43" y="165"/>
                </a:cubicBezTo>
                <a:cubicBezTo>
                  <a:pt x="47" y="149"/>
                  <a:pt x="47" y="149"/>
                  <a:pt x="47" y="149"/>
                </a:cubicBezTo>
                <a:cubicBezTo>
                  <a:pt x="49" y="143"/>
                  <a:pt x="49" y="143"/>
                  <a:pt x="49" y="143"/>
                </a:cubicBezTo>
                <a:cubicBezTo>
                  <a:pt x="45" y="138"/>
                  <a:pt x="45" y="138"/>
                  <a:pt x="45" y="138"/>
                </a:cubicBezTo>
                <a:cubicBezTo>
                  <a:pt x="42" y="133"/>
                  <a:pt x="39" y="128"/>
                  <a:pt x="37" y="123"/>
                </a:cubicBezTo>
                <a:cubicBezTo>
                  <a:pt x="34" y="117"/>
                  <a:pt x="34" y="117"/>
                  <a:pt x="34" y="117"/>
                </a:cubicBezTo>
                <a:cubicBezTo>
                  <a:pt x="28" y="116"/>
                  <a:pt x="28" y="116"/>
                  <a:pt x="28" y="116"/>
                </a:cubicBezTo>
                <a:cubicBezTo>
                  <a:pt x="12" y="112"/>
                  <a:pt x="12" y="112"/>
                  <a:pt x="12" y="112"/>
                </a:cubicBezTo>
                <a:cubicBezTo>
                  <a:pt x="12" y="81"/>
                  <a:pt x="12" y="81"/>
                  <a:pt x="12" y="81"/>
                </a:cubicBezTo>
                <a:cubicBezTo>
                  <a:pt x="28" y="77"/>
                  <a:pt x="28" y="77"/>
                  <a:pt x="28" y="77"/>
                </a:cubicBezTo>
                <a:cubicBezTo>
                  <a:pt x="34" y="76"/>
                  <a:pt x="34" y="76"/>
                  <a:pt x="34" y="76"/>
                </a:cubicBezTo>
                <a:cubicBezTo>
                  <a:pt x="37" y="70"/>
                  <a:pt x="37" y="70"/>
                  <a:pt x="37" y="70"/>
                </a:cubicBezTo>
                <a:cubicBezTo>
                  <a:pt x="39" y="65"/>
                  <a:pt x="42" y="60"/>
                  <a:pt x="45" y="55"/>
                </a:cubicBezTo>
                <a:cubicBezTo>
                  <a:pt x="49" y="50"/>
                  <a:pt x="49" y="50"/>
                  <a:pt x="49" y="50"/>
                </a:cubicBezTo>
                <a:cubicBezTo>
                  <a:pt x="47" y="44"/>
                  <a:pt x="47" y="44"/>
                  <a:pt x="47" y="44"/>
                </a:cubicBezTo>
                <a:cubicBezTo>
                  <a:pt x="43" y="28"/>
                  <a:pt x="43" y="28"/>
                  <a:pt x="43" y="28"/>
                </a:cubicBezTo>
                <a:cubicBezTo>
                  <a:pt x="69" y="13"/>
                  <a:pt x="69" y="13"/>
                  <a:pt x="69" y="13"/>
                </a:cubicBezTo>
                <a:cubicBezTo>
                  <a:pt x="81" y="25"/>
                  <a:pt x="81" y="25"/>
                  <a:pt x="81" y="25"/>
                </a:cubicBezTo>
                <a:cubicBezTo>
                  <a:pt x="85" y="29"/>
                  <a:pt x="85" y="29"/>
                  <a:pt x="85" y="29"/>
                </a:cubicBezTo>
                <a:cubicBezTo>
                  <a:pt x="91" y="28"/>
                  <a:pt x="91" y="28"/>
                  <a:pt x="91" y="28"/>
                </a:cubicBezTo>
                <a:cubicBezTo>
                  <a:pt x="95" y="28"/>
                  <a:pt x="97" y="28"/>
                  <a:pt x="100" y="28"/>
                </a:cubicBezTo>
                <a:cubicBezTo>
                  <a:pt x="103" y="28"/>
                  <a:pt x="105" y="28"/>
                  <a:pt x="109" y="28"/>
                </a:cubicBezTo>
                <a:cubicBezTo>
                  <a:pt x="115" y="29"/>
                  <a:pt x="115" y="29"/>
                  <a:pt x="115" y="29"/>
                </a:cubicBezTo>
                <a:cubicBezTo>
                  <a:pt x="119" y="25"/>
                  <a:pt x="119" y="25"/>
                  <a:pt x="119" y="25"/>
                </a:cubicBezTo>
                <a:lnTo>
                  <a:pt x="131" y="13"/>
                </a:lnTo>
                <a:close/>
                <a:moveTo>
                  <a:pt x="100" y="128"/>
                </a:moveTo>
                <a:cubicBezTo>
                  <a:pt x="83" y="128"/>
                  <a:pt x="69" y="114"/>
                  <a:pt x="69" y="97"/>
                </a:cubicBezTo>
                <a:cubicBezTo>
                  <a:pt x="69" y="79"/>
                  <a:pt x="83" y="65"/>
                  <a:pt x="100" y="65"/>
                </a:cubicBezTo>
                <a:cubicBezTo>
                  <a:pt x="117" y="65"/>
                  <a:pt x="131" y="79"/>
                  <a:pt x="131" y="97"/>
                </a:cubicBezTo>
                <a:cubicBezTo>
                  <a:pt x="131" y="114"/>
                  <a:pt x="117" y="128"/>
                  <a:pt x="100" y="128"/>
                </a:cubicBezTo>
                <a:close/>
                <a:moveTo>
                  <a:pt x="100" y="78"/>
                </a:moveTo>
                <a:cubicBezTo>
                  <a:pt x="90" y="78"/>
                  <a:pt x="81" y="86"/>
                  <a:pt x="81" y="97"/>
                </a:cubicBezTo>
                <a:cubicBezTo>
                  <a:pt x="81" y="107"/>
                  <a:pt x="90" y="115"/>
                  <a:pt x="100" y="115"/>
                </a:cubicBezTo>
                <a:cubicBezTo>
                  <a:pt x="110" y="115"/>
                  <a:pt x="119" y="107"/>
                  <a:pt x="119" y="97"/>
                </a:cubicBezTo>
                <a:cubicBezTo>
                  <a:pt x="119" y="86"/>
                  <a:pt x="110" y="78"/>
                  <a:pt x="100" y="78"/>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lang="en-US" sz="1400"/>
          </a:p>
        </p:txBody>
      </p:sp>
      <p:grpSp>
        <p:nvGrpSpPr>
          <p:cNvPr id="86" name="Group 85">
            <a:extLst>
              <a:ext uri="{FF2B5EF4-FFF2-40B4-BE49-F238E27FC236}">
                <a16:creationId xmlns:a16="http://schemas.microsoft.com/office/drawing/2014/main" id="{13C0EA14-078A-25E4-6AD9-B8860388D87B}"/>
              </a:ext>
            </a:extLst>
          </p:cNvPr>
          <p:cNvGrpSpPr/>
          <p:nvPr/>
        </p:nvGrpSpPr>
        <p:grpSpPr>
          <a:xfrm>
            <a:off x="8763000" y="2370851"/>
            <a:ext cx="3022397" cy="2270007"/>
            <a:chOff x="286719" y="1270603"/>
            <a:chExt cx="5387902" cy="4205030"/>
          </a:xfrm>
        </p:grpSpPr>
        <p:grpSp>
          <p:nvGrpSpPr>
            <p:cNvPr id="87" name="Group 86">
              <a:extLst>
                <a:ext uri="{FF2B5EF4-FFF2-40B4-BE49-F238E27FC236}">
                  <a16:creationId xmlns:a16="http://schemas.microsoft.com/office/drawing/2014/main" id="{4DDA43AC-CD80-5722-4ED1-FD47FCA021E8}"/>
                </a:ext>
              </a:extLst>
            </p:cNvPr>
            <p:cNvGrpSpPr/>
            <p:nvPr/>
          </p:nvGrpSpPr>
          <p:grpSpPr>
            <a:xfrm>
              <a:off x="286719" y="1270603"/>
              <a:ext cx="5387902" cy="4205030"/>
              <a:chOff x="2550378" y="1555312"/>
              <a:chExt cx="4495184" cy="3508301"/>
            </a:xfrm>
          </p:grpSpPr>
          <p:sp>
            <p:nvSpPr>
              <p:cNvPr id="91" name="Freeform: Shape 90">
                <a:extLst>
                  <a:ext uri="{FF2B5EF4-FFF2-40B4-BE49-F238E27FC236}">
                    <a16:creationId xmlns:a16="http://schemas.microsoft.com/office/drawing/2014/main" id="{19079578-2208-0F7C-4097-A720529866F0}"/>
                  </a:ext>
                </a:extLst>
              </p:cNvPr>
              <p:cNvSpPr/>
              <p:nvPr/>
            </p:nvSpPr>
            <p:spPr>
              <a:xfrm rot="20541684">
                <a:off x="2628153" y="2001666"/>
                <a:ext cx="2196942" cy="2717976"/>
              </a:xfrm>
              <a:custGeom>
                <a:avLst/>
                <a:gdLst>
                  <a:gd name="connsiteX0" fmla="*/ 432620 w 2094271"/>
                  <a:gd name="connsiteY0" fmla="*/ 3539613 h 3539613"/>
                  <a:gd name="connsiteX1" fmla="*/ 0 w 2094271"/>
                  <a:gd name="connsiteY1" fmla="*/ 2743200 h 3539613"/>
                  <a:gd name="connsiteX2" fmla="*/ 1681317 w 2094271"/>
                  <a:gd name="connsiteY2" fmla="*/ 0 h 3539613"/>
                  <a:gd name="connsiteX3" fmla="*/ 2094271 w 2094271"/>
                  <a:gd name="connsiteY3" fmla="*/ 766917 h 3539613"/>
                  <a:gd name="connsiteX4" fmla="*/ 432620 w 2094271"/>
                  <a:gd name="connsiteY4" fmla="*/ 3539613 h 3539613"/>
                  <a:gd name="connsiteX0" fmla="*/ 432620 w 2094271"/>
                  <a:gd name="connsiteY0" fmla="*/ 3598607 h 3598607"/>
                  <a:gd name="connsiteX1" fmla="*/ 0 w 2094271"/>
                  <a:gd name="connsiteY1" fmla="*/ 2802194 h 3598607"/>
                  <a:gd name="connsiteX2" fmla="*/ 1720646 w 2094271"/>
                  <a:gd name="connsiteY2" fmla="*/ 0 h 3598607"/>
                  <a:gd name="connsiteX3" fmla="*/ 2094271 w 2094271"/>
                  <a:gd name="connsiteY3" fmla="*/ 825911 h 3598607"/>
                  <a:gd name="connsiteX4" fmla="*/ 432620 w 2094271"/>
                  <a:gd name="connsiteY4" fmla="*/ 3598607 h 3598607"/>
                  <a:gd name="connsiteX0" fmla="*/ 432620 w 2104103"/>
                  <a:gd name="connsiteY0" fmla="*/ 3598607 h 3598607"/>
                  <a:gd name="connsiteX1" fmla="*/ 0 w 2104103"/>
                  <a:gd name="connsiteY1" fmla="*/ 2802194 h 3598607"/>
                  <a:gd name="connsiteX2" fmla="*/ 1720646 w 2104103"/>
                  <a:gd name="connsiteY2" fmla="*/ 0 h 3598607"/>
                  <a:gd name="connsiteX3" fmla="*/ 2104103 w 2104103"/>
                  <a:gd name="connsiteY3" fmla="*/ 796415 h 3598607"/>
                  <a:gd name="connsiteX4" fmla="*/ 432620 w 2104103"/>
                  <a:gd name="connsiteY4" fmla="*/ 3598607 h 3598607"/>
                  <a:gd name="connsiteX0" fmla="*/ 1121831 w 2104103"/>
                  <a:gd name="connsiteY0" fmla="*/ 2787965 h 2802194"/>
                  <a:gd name="connsiteX1" fmla="*/ 0 w 2104103"/>
                  <a:gd name="connsiteY1" fmla="*/ 2802194 h 2802194"/>
                  <a:gd name="connsiteX2" fmla="*/ 1720646 w 2104103"/>
                  <a:gd name="connsiteY2" fmla="*/ 0 h 2802194"/>
                  <a:gd name="connsiteX3" fmla="*/ 2104103 w 2104103"/>
                  <a:gd name="connsiteY3" fmla="*/ 796415 h 2802194"/>
                  <a:gd name="connsiteX4" fmla="*/ 1121831 w 2104103"/>
                  <a:gd name="connsiteY4" fmla="*/ 2787965 h 2802194"/>
                  <a:gd name="connsiteX0" fmla="*/ 1121831 w 2186652"/>
                  <a:gd name="connsiteY0" fmla="*/ 2787965 h 2802194"/>
                  <a:gd name="connsiteX1" fmla="*/ 0 w 2186652"/>
                  <a:gd name="connsiteY1" fmla="*/ 2802194 h 2802194"/>
                  <a:gd name="connsiteX2" fmla="*/ 1720646 w 2186652"/>
                  <a:gd name="connsiteY2" fmla="*/ 0 h 2802194"/>
                  <a:gd name="connsiteX3" fmla="*/ 2186652 w 2186652"/>
                  <a:gd name="connsiteY3" fmla="*/ 942688 h 2802194"/>
                  <a:gd name="connsiteX4" fmla="*/ 1121831 w 2186652"/>
                  <a:gd name="connsiteY4" fmla="*/ 2787965 h 2802194"/>
                  <a:gd name="connsiteX0" fmla="*/ 416791 w 1481612"/>
                  <a:gd name="connsiteY0" fmla="*/ 2787965 h 2787965"/>
                  <a:gd name="connsiteX1" fmla="*/ 0 w 1481612"/>
                  <a:gd name="connsiteY1" fmla="*/ 2038083 h 2787965"/>
                  <a:gd name="connsiteX2" fmla="*/ 1015606 w 1481612"/>
                  <a:gd name="connsiteY2" fmla="*/ 0 h 2787965"/>
                  <a:gd name="connsiteX3" fmla="*/ 1481612 w 1481612"/>
                  <a:gd name="connsiteY3" fmla="*/ 942688 h 2787965"/>
                  <a:gd name="connsiteX4" fmla="*/ 416791 w 1481612"/>
                  <a:gd name="connsiteY4" fmla="*/ 2787965 h 2787965"/>
                  <a:gd name="connsiteX0" fmla="*/ 416791 w 1481612"/>
                  <a:gd name="connsiteY0" fmla="*/ 2533284 h 2533284"/>
                  <a:gd name="connsiteX1" fmla="*/ 0 w 1481612"/>
                  <a:gd name="connsiteY1" fmla="*/ 1783402 h 2533284"/>
                  <a:gd name="connsiteX2" fmla="*/ 1308354 w 1481612"/>
                  <a:gd name="connsiteY2" fmla="*/ 0 h 2533284"/>
                  <a:gd name="connsiteX3" fmla="*/ 1481612 w 1481612"/>
                  <a:gd name="connsiteY3" fmla="*/ 688007 h 2533284"/>
                  <a:gd name="connsiteX4" fmla="*/ 416791 w 1481612"/>
                  <a:gd name="connsiteY4" fmla="*/ 2533284 h 2533284"/>
                  <a:gd name="connsiteX0" fmla="*/ 187746 w 1252567"/>
                  <a:gd name="connsiteY0" fmla="*/ 2533284 h 2533284"/>
                  <a:gd name="connsiteX1" fmla="*/ 0 w 1252567"/>
                  <a:gd name="connsiteY1" fmla="*/ 1685576 h 2533284"/>
                  <a:gd name="connsiteX2" fmla="*/ 1079309 w 1252567"/>
                  <a:gd name="connsiteY2" fmla="*/ 0 h 2533284"/>
                  <a:gd name="connsiteX3" fmla="*/ 1252567 w 1252567"/>
                  <a:gd name="connsiteY3" fmla="*/ 688007 h 2533284"/>
                  <a:gd name="connsiteX4" fmla="*/ 187746 w 1252567"/>
                  <a:gd name="connsiteY4" fmla="*/ 2533284 h 2533284"/>
                  <a:gd name="connsiteX0" fmla="*/ 272588 w 1252567"/>
                  <a:gd name="connsiteY0" fmla="*/ 2397123 h 2397123"/>
                  <a:gd name="connsiteX1" fmla="*/ 0 w 1252567"/>
                  <a:gd name="connsiteY1" fmla="*/ 1685576 h 2397123"/>
                  <a:gd name="connsiteX2" fmla="*/ 1079309 w 1252567"/>
                  <a:gd name="connsiteY2" fmla="*/ 0 h 2397123"/>
                  <a:gd name="connsiteX3" fmla="*/ 1252567 w 1252567"/>
                  <a:gd name="connsiteY3" fmla="*/ 688007 h 2397123"/>
                  <a:gd name="connsiteX4" fmla="*/ 272588 w 1252567"/>
                  <a:gd name="connsiteY4" fmla="*/ 2397123 h 2397123"/>
                  <a:gd name="connsiteX0" fmla="*/ 272588 w 1423023"/>
                  <a:gd name="connsiteY0" fmla="*/ 2397123 h 2397123"/>
                  <a:gd name="connsiteX1" fmla="*/ 0 w 1423023"/>
                  <a:gd name="connsiteY1" fmla="*/ 1685576 h 2397123"/>
                  <a:gd name="connsiteX2" fmla="*/ 1079309 w 1423023"/>
                  <a:gd name="connsiteY2" fmla="*/ 0 h 2397123"/>
                  <a:gd name="connsiteX3" fmla="*/ 1423023 w 1423023"/>
                  <a:gd name="connsiteY3" fmla="*/ 748436 h 2397123"/>
                  <a:gd name="connsiteX4" fmla="*/ 272588 w 1423023"/>
                  <a:gd name="connsiteY4" fmla="*/ 2397123 h 2397123"/>
                  <a:gd name="connsiteX0" fmla="*/ 272588 w 1423023"/>
                  <a:gd name="connsiteY0" fmla="*/ 2272125 h 2272125"/>
                  <a:gd name="connsiteX1" fmla="*/ 0 w 1423023"/>
                  <a:gd name="connsiteY1" fmla="*/ 1560578 h 2272125"/>
                  <a:gd name="connsiteX2" fmla="*/ 1262361 w 1423023"/>
                  <a:gd name="connsiteY2" fmla="*/ 0 h 2272125"/>
                  <a:gd name="connsiteX3" fmla="*/ 1423023 w 1423023"/>
                  <a:gd name="connsiteY3" fmla="*/ 623438 h 2272125"/>
                  <a:gd name="connsiteX4" fmla="*/ 272588 w 1423023"/>
                  <a:gd name="connsiteY4" fmla="*/ 2272125 h 2272125"/>
                  <a:gd name="connsiteX0" fmla="*/ 217016 w 1367451"/>
                  <a:gd name="connsiteY0" fmla="*/ 2272125 h 2272125"/>
                  <a:gd name="connsiteX1" fmla="*/ 0 w 1367451"/>
                  <a:gd name="connsiteY1" fmla="*/ 1655087 h 2272125"/>
                  <a:gd name="connsiteX2" fmla="*/ 1206789 w 1367451"/>
                  <a:gd name="connsiteY2" fmla="*/ 0 h 2272125"/>
                  <a:gd name="connsiteX3" fmla="*/ 1367451 w 1367451"/>
                  <a:gd name="connsiteY3" fmla="*/ 623438 h 2272125"/>
                  <a:gd name="connsiteX4" fmla="*/ 217016 w 1367451"/>
                  <a:gd name="connsiteY4" fmla="*/ 2272125 h 2272125"/>
                  <a:gd name="connsiteX0" fmla="*/ 217015 w 1367450"/>
                  <a:gd name="connsiteY0" fmla="*/ 2272125 h 2272125"/>
                  <a:gd name="connsiteX1" fmla="*/ 0 w 1367450"/>
                  <a:gd name="connsiteY1" fmla="*/ 1655087 h 2272125"/>
                  <a:gd name="connsiteX2" fmla="*/ 1206788 w 1367450"/>
                  <a:gd name="connsiteY2" fmla="*/ 0 h 2272125"/>
                  <a:gd name="connsiteX3" fmla="*/ 1367450 w 1367450"/>
                  <a:gd name="connsiteY3" fmla="*/ 623438 h 2272125"/>
                  <a:gd name="connsiteX4" fmla="*/ 217015 w 1367450"/>
                  <a:gd name="connsiteY4" fmla="*/ 2272125 h 2272125"/>
                  <a:gd name="connsiteX0" fmla="*/ 388195 w 1367450"/>
                  <a:gd name="connsiteY0" fmla="*/ 2362224 h 2362224"/>
                  <a:gd name="connsiteX1" fmla="*/ 0 w 1367450"/>
                  <a:gd name="connsiteY1" fmla="*/ 1655087 h 2362224"/>
                  <a:gd name="connsiteX2" fmla="*/ 1206788 w 1367450"/>
                  <a:gd name="connsiteY2" fmla="*/ 0 h 2362224"/>
                  <a:gd name="connsiteX3" fmla="*/ 1367450 w 1367450"/>
                  <a:gd name="connsiteY3" fmla="*/ 623438 h 2362224"/>
                  <a:gd name="connsiteX4" fmla="*/ 388195 w 1367450"/>
                  <a:gd name="connsiteY4" fmla="*/ 2362224 h 2362224"/>
                  <a:gd name="connsiteX0" fmla="*/ 388195 w 1422129"/>
                  <a:gd name="connsiteY0" fmla="*/ 2362224 h 2362224"/>
                  <a:gd name="connsiteX1" fmla="*/ 0 w 1422129"/>
                  <a:gd name="connsiteY1" fmla="*/ 1655087 h 2362224"/>
                  <a:gd name="connsiteX2" fmla="*/ 1206788 w 1422129"/>
                  <a:gd name="connsiteY2" fmla="*/ 0 h 2362224"/>
                  <a:gd name="connsiteX3" fmla="*/ 1422129 w 1422129"/>
                  <a:gd name="connsiteY3" fmla="*/ 756632 h 2362224"/>
                  <a:gd name="connsiteX4" fmla="*/ 388195 w 1422129"/>
                  <a:gd name="connsiteY4" fmla="*/ 2362224 h 2362224"/>
                  <a:gd name="connsiteX0" fmla="*/ 335688 w 1369622"/>
                  <a:gd name="connsiteY0" fmla="*/ 2362224 h 2362224"/>
                  <a:gd name="connsiteX1" fmla="*/ 0 w 1369622"/>
                  <a:gd name="connsiteY1" fmla="*/ 1699278 h 2362224"/>
                  <a:gd name="connsiteX2" fmla="*/ 1154281 w 1369622"/>
                  <a:gd name="connsiteY2" fmla="*/ 0 h 2362224"/>
                  <a:gd name="connsiteX3" fmla="*/ 1369622 w 1369622"/>
                  <a:gd name="connsiteY3" fmla="*/ 756632 h 2362224"/>
                  <a:gd name="connsiteX4" fmla="*/ 335688 w 1369622"/>
                  <a:gd name="connsiteY4" fmla="*/ 2362224 h 2362224"/>
                  <a:gd name="connsiteX0" fmla="*/ 335688 w 1369622"/>
                  <a:gd name="connsiteY0" fmla="*/ 2376198 h 2376198"/>
                  <a:gd name="connsiteX1" fmla="*/ 0 w 1369622"/>
                  <a:gd name="connsiteY1" fmla="*/ 1713252 h 2376198"/>
                  <a:gd name="connsiteX2" fmla="*/ 1187001 w 1369622"/>
                  <a:gd name="connsiteY2" fmla="*/ 0 h 2376198"/>
                  <a:gd name="connsiteX3" fmla="*/ 1369622 w 1369622"/>
                  <a:gd name="connsiteY3" fmla="*/ 770606 h 2376198"/>
                  <a:gd name="connsiteX4" fmla="*/ 335688 w 1369622"/>
                  <a:gd name="connsiteY4" fmla="*/ 2376198 h 2376198"/>
                  <a:gd name="connsiteX0" fmla="*/ 295776 w 1329710"/>
                  <a:gd name="connsiteY0" fmla="*/ 2376198 h 2376198"/>
                  <a:gd name="connsiteX1" fmla="*/ 0 w 1329710"/>
                  <a:gd name="connsiteY1" fmla="*/ 1692875 h 2376198"/>
                  <a:gd name="connsiteX2" fmla="*/ 1147089 w 1329710"/>
                  <a:gd name="connsiteY2" fmla="*/ 0 h 2376198"/>
                  <a:gd name="connsiteX3" fmla="*/ 1329710 w 1329710"/>
                  <a:gd name="connsiteY3" fmla="*/ 770606 h 2376198"/>
                  <a:gd name="connsiteX4" fmla="*/ 295776 w 1329710"/>
                  <a:gd name="connsiteY4" fmla="*/ 2376198 h 2376198"/>
                  <a:gd name="connsiteX0" fmla="*/ 331730 w 1329710"/>
                  <a:gd name="connsiteY0" fmla="*/ 2344189 h 2344189"/>
                  <a:gd name="connsiteX1" fmla="*/ 0 w 1329710"/>
                  <a:gd name="connsiteY1" fmla="*/ 1692875 h 2344189"/>
                  <a:gd name="connsiteX2" fmla="*/ 1147089 w 1329710"/>
                  <a:gd name="connsiteY2" fmla="*/ 0 h 2344189"/>
                  <a:gd name="connsiteX3" fmla="*/ 1329710 w 1329710"/>
                  <a:gd name="connsiteY3" fmla="*/ 770606 h 2344189"/>
                  <a:gd name="connsiteX4" fmla="*/ 331730 w 1329710"/>
                  <a:gd name="connsiteY4" fmla="*/ 2344189 h 2344189"/>
                  <a:gd name="connsiteX0" fmla="*/ 298116 w 1296096"/>
                  <a:gd name="connsiteY0" fmla="*/ 2344189 h 2344189"/>
                  <a:gd name="connsiteX1" fmla="*/ 0 w 1296096"/>
                  <a:gd name="connsiteY1" fmla="*/ 1640213 h 2344189"/>
                  <a:gd name="connsiteX2" fmla="*/ 1113475 w 1296096"/>
                  <a:gd name="connsiteY2" fmla="*/ 0 h 2344189"/>
                  <a:gd name="connsiteX3" fmla="*/ 1296096 w 1296096"/>
                  <a:gd name="connsiteY3" fmla="*/ 770606 h 2344189"/>
                  <a:gd name="connsiteX4" fmla="*/ 298116 w 1296096"/>
                  <a:gd name="connsiteY4" fmla="*/ 2344189 h 2344189"/>
                  <a:gd name="connsiteX0" fmla="*/ 280669 w 1278649"/>
                  <a:gd name="connsiteY0" fmla="*/ 2344189 h 2344189"/>
                  <a:gd name="connsiteX1" fmla="*/ 0 w 1278649"/>
                  <a:gd name="connsiteY1" fmla="*/ 1677727 h 2344189"/>
                  <a:gd name="connsiteX2" fmla="*/ 1096028 w 1278649"/>
                  <a:gd name="connsiteY2" fmla="*/ 0 h 2344189"/>
                  <a:gd name="connsiteX3" fmla="*/ 1278649 w 1278649"/>
                  <a:gd name="connsiteY3" fmla="*/ 770606 h 2344189"/>
                  <a:gd name="connsiteX4" fmla="*/ 280669 w 1278649"/>
                  <a:gd name="connsiteY4" fmla="*/ 2344189 h 2344189"/>
                  <a:gd name="connsiteX0" fmla="*/ 268073 w 1278649"/>
                  <a:gd name="connsiteY0" fmla="*/ 2279622 h 2279622"/>
                  <a:gd name="connsiteX1" fmla="*/ 0 w 1278649"/>
                  <a:gd name="connsiteY1" fmla="*/ 1677727 h 2279622"/>
                  <a:gd name="connsiteX2" fmla="*/ 1096028 w 1278649"/>
                  <a:gd name="connsiteY2" fmla="*/ 0 h 2279622"/>
                  <a:gd name="connsiteX3" fmla="*/ 1278649 w 1278649"/>
                  <a:gd name="connsiteY3" fmla="*/ 770606 h 2279622"/>
                  <a:gd name="connsiteX4" fmla="*/ 268073 w 1278649"/>
                  <a:gd name="connsiteY4" fmla="*/ 2279622 h 2279622"/>
                  <a:gd name="connsiteX0" fmla="*/ 248841 w 1278649"/>
                  <a:gd name="connsiteY0" fmla="*/ 2319479 h 2319479"/>
                  <a:gd name="connsiteX1" fmla="*/ 0 w 1278649"/>
                  <a:gd name="connsiteY1" fmla="*/ 1677727 h 2319479"/>
                  <a:gd name="connsiteX2" fmla="*/ 1096028 w 1278649"/>
                  <a:gd name="connsiteY2" fmla="*/ 0 h 2319479"/>
                  <a:gd name="connsiteX3" fmla="*/ 1278649 w 1278649"/>
                  <a:gd name="connsiteY3" fmla="*/ 770606 h 2319479"/>
                  <a:gd name="connsiteX4" fmla="*/ 248841 w 1278649"/>
                  <a:gd name="connsiteY4" fmla="*/ 2319479 h 2319479"/>
                  <a:gd name="connsiteX0" fmla="*/ 248841 w 1278649"/>
                  <a:gd name="connsiteY0" fmla="*/ 2290982 h 2290982"/>
                  <a:gd name="connsiteX1" fmla="*/ 0 w 1278649"/>
                  <a:gd name="connsiteY1" fmla="*/ 1649230 h 2290982"/>
                  <a:gd name="connsiteX2" fmla="*/ 1115092 w 1278649"/>
                  <a:gd name="connsiteY2" fmla="*/ 0 h 2290982"/>
                  <a:gd name="connsiteX3" fmla="*/ 1278649 w 1278649"/>
                  <a:gd name="connsiteY3" fmla="*/ 742109 h 2290982"/>
                  <a:gd name="connsiteX4" fmla="*/ 248841 w 1278649"/>
                  <a:gd name="connsiteY4" fmla="*/ 2290982 h 2290982"/>
                  <a:gd name="connsiteX0" fmla="*/ 248841 w 1278649"/>
                  <a:gd name="connsiteY0" fmla="*/ 2266544 h 2266544"/>
                  <a:gd name="connsiteX1" fmla="*/ 0 w 1278649"/>
                  <a:gd name="connsiteY1" fmla="*/ 1624792 h 2266544"/>
                  <a:gd name="connsiteX2" fmla="*/ 1104668 w 1278649"/>
                  <a:gd name="connsiteY2" fmla="*/ 0 h 2266544"/>
                  <a:gd name="connsiteX3" fmla="*/ 1278649 w 1278649"/>
                  <a:gd name="connsiteY3" fmla="*/ 717671 h 2266544"/>
                  <a:gd name="connsiteX4" fmla="*/ 248841 w 1278649"/>
                  <a:gd name="connsiteY4" fmla="*/ 2266544 h 2266544"/>
                  <a:gd name="connsiteX0" fmla="*/ 271138 w 1278649"/>
                  <a:gd name="connsiteY0" fmla="*/ 2277005 h 2277005"/>
                  <a:gd name="connsiteX1" fmla="*/ 0 w 1278649"/>
                  <a:gd name="connsiteY1" fmla="*/ 1624792 h 2277005"/>
                  <a:gd name="connsiteX2" fmla="*/ 1104668 w 1278649"/>
                  <a:gd name="connsiteY2" fmla="*/ 0 h 2277005"/>
                  <a:gd name="connsiteX3" fmla="*/ 1278649 w 1278649"/>
                  <a:gd name="connsiteY3" fmla="*/ 717671 h 2277005"/>
                  <a:gd name="connsiteX4" fmla="*/ 271138 w 1278649"/>
                  <a:gd name="connsiteY4" fmla="*/ 2277005 h 2277005"/>
                  <a:gd name="connsiteX0" fmla="*/ 261607 w 1269118"/>
                  <a:gd name="connsiteY0" fmla="*/ 2277005 h 2277005"/>
                  <a:gd name="connsiteX1" fmla="*/ 0 w 1269118"/>
                  <a:gd name="connsiteY1" fmla="*/ 1639040 h 2277005"/>
                  <a:gd name="connsiteX2" fmla="*/ 1095137 w 1269118"/>
                  <a:gd name="connsiteY2" fmla="*/ 0 h 2277005"/>
                  <a:gd name="connsiteX3" fmla="*/ 1269118 w 1269118"/>
                  <a:gd name="connsiteY3" fmla="*/ 717671 h 2277005"/>
                  <a:gd name="connsiteX4" fmla="*/ 261607 w 1269118"/>
                  <a:gd name="connsiteY4" fmla="*/ 2277005 h 2277005"/>
                  <a:gd name="connsiteX0" fmla="*/ 229610 w 1237121"/>
                  <a:gd name="connsiteY0" fmla="*/ 2277005 h 2277005"/>
                  <a:gd name="connsiteX1" fmla="*/ 0 w 1237121"/>
                  <a:gd name="connsiteY1" fmla="*/ 1595396 h 2277005"/>
                  <a:gd name="connsiteX2" fmla="*/ 1063140 w 1237121"/>
                  <a:gd name="connsiteY2" fmla="*/ 0 h 2277005"/>
                  <a:gd name="connsiteX3" fmla="*/ 1237121 w 1237121"/>
                  <a:gd name="connsiteY3" fmla="*/ 717671 h 2277005"/>
                  <a:gd name="connsiteX4" fmla="*/ 229610 w 1237121"/>
                  <a:gd name="connsiteY4" fmla="*/ 2277005 h 2277005"/>
                  <a:gd name="connsiteX0" fmla="*/ 227269 w 1237121"/>
                  <a:gd name="connsiteY0" fmla="*/ 2256355 h 2256355"/>
                  <a:gd name="connsiteX1" fmla="*/ 0 w 1237121"/>
                  <a:gd name="connsiteY1" fmla="*/ 1595396 h 2256355"/>
                  <a:gd name="connsiteX2" fmla="*/ 1063140 w 1237121"/>
                  <a:gd name="connsiteY2" fmla="*/ 0 h 2256355"/>
                  <a:gd name="connsiteX3" fmla="*/ 1237121 w 1237121"/>
                  <a:gd name="connsiteY3" fmla="*/ 717671 h 2256355"/>
                  <a:gd name="connsiteX4" fmla="*/ 227269 w 1237121"/>
                  <a:gd name="connsiteY4" fmla="*/ 2256355 h 2256355"/>
                  <a:gd name="connsiteX0" fmla="*/ 227269 w 1260310"/>
                  <a:gd name="connsiteY0" fmla="*/ 2256355 h 2256355"/>
                  <a:gd name="connsiteX1" fmla="*/ 0 w 1260310"/>
                  <a:gd name="connsiteY1" fmla="*/ 1595396 h 2256355"/>
                  <a:gd name="connsiteX2" fmla="*/ 1063140 w 1260310"/>
                  <a:gd name="connsiteY2" fmla="*/ 0 h 2256355"/>
                  <a:gd name="connsiteX3" fmla="*/ 1260310 w 1260310"/>
                  <a:gd name="connsiteY3" fmla="*/ 689447 h 2256355"/>
                  <a:gd name="connsiteX4" fmla="*/ 227269 w 1260310"/>
                  <a:gd name="connsiteY4" fmla="*/ 2256355 h 2256355"/>
                  <a:gd name="connsiteX0" fmla="*/ 227269 w 1260310"/>
                  <a:gd name="connsiteY0" fmla="*/ 2261313 h 2261313"/>
                  <a:gd name="connsiteX1" fmla="*/ 0 w 1260310"/>
                  <a:gd name="connsiteY1" fmla="*/ 1600354 h 2261313"/>
                  <a:gd name="connsiteX2" fmla="*/ 1094244 w 1260310"/>
                  <a:gd name="connsiteY2" fmla="*/ 0 h 2261313"/>
                  <a:gd name="connsiteX3" fmla="*/ 1260310 w 1260310"/>
                  <a:gd name="connsiteY3" fmla="*/ 694405 h 2261313"/>
                  <a:gd name="connsiteX4" fmla="*/ 227269 w 1260310"/>
                  <a:gd name="connsiteY4" fmla="*/ 2261313 h 2261313"/>
                  <a:gd name="connsiteX0" fmla="*/ 227269 w 1245928"/>
                  <a:gd name="connsiteY0" fmla="*/ 2261313 h 2261313"/>
                  <a:gd name="connsiteX1" fmla="*/ 0 w 1245928"/>
                  <a:gd name="connsiteY1" fmla="*/ 1600354 h 2261313"/>
                  <a:gd name="connsiteX2" fmla="*/ 1094244 w 1245928"/>
                  <a:gd name="connsiteY2" fmla="*/ 0 h 2261313"/>
                  <a:gd name="connsiteX3" fmla="*/ 1245928 w 1245928"/>
                  <a:gd name="connsiteY3" fmla="*/ 707209 h 2261313"/>
                  <a:gd name="connsiteX4" fmla="*/ 227269 w 1245928"/>
                  <a:gd name="connsiteY4" fmla="*/ 2261313 h 2261313"/>
                  <a:gd name="connsiteX0" fmla="*/ 227269 w 1245928"/>
                  <a:gd name="connsiteY0" fmla="*/ 2236876 h 2236876"/>
                  <a:gd name="connsiteX1" fmla="*/ 0 w 1245928"/>
                  <a:gd name="connsiteY1" fmla="*/ 1575917 h 2236876"/>
                  <a:gd name="connsiteX2" fmla="*/ 1083820 w 1245928"/>
                  <a:gd name="connsiteY2" fmla="*/ 0 h 2236876"/>
                  <a:gd name="connsiteX3" fmla="*/ 1245928 w 1245928"/>
                  <a:gd name="connsiteY3" fmla="*/ 682772 h 2236876"/>
                  <a:gd name="connsiteX4" fmla="*/ 227269 w 1245928"/>
                  <a:gd name="connsiteY4" fmla="*/ 2236876 h 2236876"/>
                  <a:gd name="connsiteX0" fmla="*/ 227269 w 1245928"/>
                  <a:gd name="connsiteY0" fmla="*/ 2418672 h 2418672"/>
                  <a:gd name="connsiteX1" fmla="*/ 0 w 1245928"/>
                  <a:gd name="connsiteY1" fmla="*/ 1757713 h 2418672"/>
                  <a:gd name="connsiteX2" fmla="*/ 1092242 w 1245928"/>
                  <a:gd name="connsiteY2" fmla="*/ 0 h 2418672"/>
                  <a:gd name="connsiteX3" fmla="*/ 1245928 w 1245928"/>
                  <a:gd name="connsiteY3" fmla="*/ 864568 h 2418672"/>
                  <a:gd name="connsiteX4" fmla="*/ 227269 w 1245928"/>
                  <a:gd name="connsiteY4" fmla="*/ 2418672 h 2418672"/>
                  <a:gd name="connsiteX0" fmla="*/ 227269 w 1248437"/>
                  <a:gd name="connsiteY0" fmla="*/ 2418672 h 2418672"/>
                  <a:gd name="connsiteX1" fmla="*/ 0 w 1248437"/>
                  <a:gd name="connsiteY1" fmla="*/ 1757713 h 2418672"/>
                  <a:gd name="connsiteX2" fmla="*/ 1092242 w 1248437"/>
                  <a:gd name="connsiteY2" fmla="*/ 0 h 2418672"/>
                  <a:gd name="connsiteX3" fmla="*/ 1248437 w 1248437"/>
                  <a:gd name="connsiteY3" fmla="*/ 816864 h 2418672"/>
                  <a:gd name="connsiteX4" fmla="*/ 227269 w 1248437"/>
                  <a:gd name="connsiteY4" fmla="*/ 2418672 h 2418672"/>
                  <a:gd name="connsiteX0" fmla="*/ 225653 w 1248437"/>
                  <a:gd name="connsiteY0" fmla="*/ 2427689 h 2427689"/>
                  <a:gd name="connsiteX1" fmla="*/ 0 w 1248437"/>
                  <a:gd name="connsiteY1" fmla="*/ 1757713 h 2427689"/>
                  <a:gd name="connsiteX2" fmla="*/ 1092242 w 1248437"/>
                  <a:gd name="connsiteY2" fmla="*/ 0 h 2427689"/>
                  <a:gd name="connsiteX3" fmla="*/ 1248437 w 1248437"/>
                  <a:gd name="connsiteY3" fmla="*/ 816864 h 2427689"/>
                  <a:gd name="connsiteX4" fmla="*/ 225653 w 1248437"/>
                  <a:gd name="connsiteY4" fmla="*/ 2427689 h 2427689"/>
                  <a:gd name="connsiteX0" fmla="*/ 238249 w 1261033"/>
                  <a:gd name="connsiteY0" fmla="*/ 2427689 h 2427689"/>
                  <a:gd name="connsiteX1" fmla="*/ 0 w 1261033"/>
                  <a:gd name="connsiteY1" fmla="*/ 1693146 h 2427689"/>
                  <a:gd name="connsiteX2" fmla="*/ 1104838 w 1261033"/>
                  <a:gd name="connsiteY2" fmla="*/ 0 h 2427689"/>
                  <a:gd name="connsiteX3" fmla="*/ 1261033 w 1261033"/>
                  <a:gd name="connsiteY3" fmla="*/ 816864 h 2427689"/>
                  <a:gd name="connsiteX4" fmla="*/ 238249 w 1261033"/>
                  <a:gd name="connsiteY4" fmla="*/ 2427689 h 2427689"/>
                  <a:gd name="connsiteX0" fmla="*/ 238249 w 1248437"/>
                  <a:gd name="connsiteY0" fmla="*/ 2427689 h 2427689"/>
                  <a:gd name="connsiteX1" fmla="*/ 0 w 1248437"/>
                  <a:gd name="connsiteY1" fmla="*/ 1693146 h 2427689"/>
                  <a:gd name="connsiteX2" fmla="*/ 1104838 w 1248437"/>
                  <a:gd name="connsiteY2" fmla="*/ 0 h 2427689"/>
                  <a:gd name="connsiteX3" fmla="*/ 1248437 w 1248437"/>
                  <a:gd name="connsiteY3" fmla="*/ 752296 h 2427689"/>
                  <a:gd name="connsiteX4" fmla="*/ 238249 w 1248437"/>
                  <a:gd name="connsiteY4" fmla="*/ 2427689 h 2427689"/>
                  <a:gd name="connsiteX0" fmla="*/ 238249 w 1248437"/>
                  <a:gd name="connsiteY0" fmla="*/ 2601913 h 2601913"/>
                  <a:gd name="connsiteX1" fmla="*/ 0 w 1248437"/>
                  <a:gd name="connsiteY1" fmla="*/ 1867370 h 2601913"/>
                  <a:gd name="connsiteX2" fmla="*/ 1087731 w 1248437"/>
                  <a:gd name="connsiteY2" fmla="*/ 0 h 2601913"/>
                  <a:gd name="connsiteX3" fmla="*/ 1248437 w 1248437"/>
                  <a:gd name="connsiteY3" fmla="*/ 926520 h 2601913"/>
                  <a:gd name="connsiteX4" fmla="*/ 238249 w 1248437"/>
                  <a:gd name="connsiteY4" fmla="*/ 2601913 h 2601913"/>
                  <a:gd name="connsiteX0" fmla="*/ 284289 w 1294477"/>
                  <a:gd name="connsiteY0" fmla="*/ 2601913 h 2601913"/>
                  <a:gd name="connsiteX1" fmla="*/ 0 w 1294477"/>
                  <a:gd name="connsiteY1" fmla="*/ 1787109 h 2601913"/>
                  <a:gd name="connsiteX2" fmla="*/ 1133771 w 1294477"/>
                  <a:gd name="connsiteY2" fmla="*/ 0 h 2601913"/>
                  <a:gd name="connsiteX3" fmla="*/ 1294477 w 1294477"/>
                  <a:gd name="connsiteY3" fmla="*/ 926520 h 2601913"/>
                  <a:gd name="connsiteX4" fmla="*/ 284289 w 1294477"/>
                  <a:gd name="connsiteY4" fmla="*/ 2601913 h 2601913"/>
                  <a:gd name="connsiteX0" fmla="*/ 286630 w 1296818"/>
                  <a:gd name="connsiteY0" fmla="*/ 2601913 h 2601913"/>
                  <a:gd name="connsiteX1" fmla="*/ 0 w 1296818"/>
                  <a:gd name="connsiteY1" fmla="*/ 1766459 h 2601913"/>
                  <a:gd name="connsiteX2" fmla="*/ 1136112 w 1296818"/>
                  <a:gd name="connsiteY2" fmla="*/ 0 h 2601913"/>
                  <a:gd name="connsiteX3" fmla="*/ 1296818 w 1296818"/>
                  <a:gd name="connsiteY3" fmla="*/ 926520 h 2601913"/>
                  <a:gd name="connsiteX4" fmla="*/ 286630 w 1296818"/>
                  <a:gd name="connsiteY4" fmla="*/ 2601913 h 2601913"/>
                  <a:gd name="connsiteX0" fmla="*/ 286630 w 1296818"/>
                  <a:gd name="connsiteY0" fmla="*/ 2595512 h 2595512"/>
                  <a:gd name="connsiteX1" fmla="*/ 0 w 1296818"/>
                  <a:gd name="connsiteY1" fmla="*/ 1760058 h 2595512"/>
                  <a:gd name="connsiteX2" fmla="*/ 1128921 w 1296818"/>
                  <a:gd name="connsiteY2" fmla="*/ 0 h 2595512"/>
                  <a:gd name="connsiteX3" fmla="*/ 1296818 w 1296818"/>
                  <a:gd name="connsiteY3" fmla="*/ 920119 h 2595512"/>
                  <a:gd name="connsiteX4" fmla="*/ 286630 w 1296818"/>
                  <a:gd name="connsiteY4" fmla="*/ 2595512 h 2595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6818" h="2595512">
                    <a:moveTo>
                      <a:pt x="286630" y="2595512"/>
                    </a:moveTo>
                    <a:lnTo>
                      <a:pt x="0" y="1760058"/>
                    </a:lnTo>
                    <a:lnTo>
                      <a:pt x="1128921" y="0"/>
                    </a:lnTo>
                    <a:lnTo>
                      <a:pt x="1296818" y="920119"/>
                    </a:lnTo>
                    <a:lnTo>
                      <a:pt x="286630" y="2595512"/>
                    </a:lnTo>
                    <a:close/>
                  </a:path>
                </a:pathLst>
              </a:custGeom>
              <a:solidFill>
                <a:srgbClr val="97CA3F"/>
              </a:solidFill>
              <a:ln>
                <a:solidFill>
                  <a:srgbClr val="104D8C"/>
                </a:solidFill>
              </a:ln>
            </p:spPr>
            <p:style>
              <a:lnRef idx="0">
                <a:schemeClr val="accent1"/>
              </a:lnRef>
              <a:fillRef idx="1">
                <a:schemeClr val="accent1"/>
              </a:fillRef>
              <a:effectRef idx="0">
                <a:schemeClr val="dk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lnSpc>
                    <a:spcPct val="100000"/>
                  </a:lnSpc>
                </a:pPr>
                <a:endParaRPr lang="el-GR" sz="1600"/>
              </a:p>
            </p:txBody>
          </p:sp>
          <p:grpSp>
            <p:nvGrpSpPr>
              <p:cNvPr id="92" name="Group 91">
                <a:extLst>
                  <a:ext uri="{FF2B5EF4-FFF2-40B4-BE49-F238E27FC236}">
                    <a16:creationId xmlns:a16="http://schemas.microsoft.com/office/drawing/2014/main" id="{4A7432CF-44FF-B2D5-0159-EAC7E57F6398}"/>
                  </a:ext>
                </a:extLst>
              </p:cNvPr>
              <p:cNvGrpSpPr/>
              <p:nvPr/>
            </p:nvGrpSpPr>
            <p:grpSpPr>
              <a:xfrm>
                <a:off x="2550378" y="1555312"/>
                <a:ext cx="4495184" cy="3508301"/>
                <a:chOff x="2550378" y="1555312"/>
                <a:chExt cx="4495184" cy="3508301"/>
              </a:xfrm>
            </p:grpSpPr>
            <p:sp>
              <p:nvSpPr>
                <p:cNvPr id="93" name="Freeform: Shape 92">
                  <a:extLst>
                    <a:ext uri="{FF2B5EF4-FFF2-40B4-BE49-F238E27FC236}">
                      <a16:creationId xmlns:a16="http://schemas.microsoft.com/office/drawing/2014/main" id="{8E879CBA-19BE-78A3-8D95-F85FD2889A9C}"/>
                    </a:ext>
                  </a:extLst>
                </p:cNvPr>
                <p:cNvSpPr/>
                <p:nvPr/>
              </p:nvSpPr>
              <p:spPr>
                <a:xfrm>
                  <a:off x="2550378" y="1555312"/>
                  <a:ext cx="4495184" cy="3508301"/>
                </a:xfrm>
                <a:custGeom>
                  <a:avLst/>
                  <a:gdLst>
                    <a:gd name="connsiteX0" fmla="*/ 737420 w 4267200"/>
                    <a:gd name="connsiteY0" fmla="*/ 3234813 h 3234813"/>
                    <a:gd name="connsiteX1" fmla="*/ 3844413 w 4267200"/>
                    <a:gd name="connsiteY1" fmla="*/ 3224980 h 3234813"/>
                    <a:gd name="connsiteX2" fmla="*/ 4267200 w 4267200"/>
                    <a:gd name="connsiteY2" fmla="*/ 2281083 h 3234813"/>
                    <a:gd name="connsiteX3" fmla="*/ 2723536 w 4267200"/>
                    <a:gd name="connsiteY3" fmla="*/ 0 h 3234813"/>
                    <a:gd name="connsiteX4" fmla="*/ 1396181 w 4267200"/>
                    <a:gd name="connsiteY4" fmla="*/ 19664 h 3234813"/>
                    <a:gd name="connsiteX5" fmla="*/ 0 w 4267200"/>
                    <a:gd name="connsiteY5" fmla="*/ 2399071 h 3234813"/>
                    <a:gd name="connsiteX6" fmla="*/ 737420 w 4267200"/>
                    <a:gd name="connsiteY6" fmla="*/ 3234813 h 3234813"/>
                    <a:gd name="connsiteX0" fmla="*/ 737420 w 4267200"/>
                    <a:gd name="connsiteY0" fmla="*/ 3234813 h 3234813"/>
                    <a:gd name="connsiteX1" fmla="*/ 3844413 w 4267200"/>
                    <a:gd name="connsiteY1" fmla="*/ 3224980 h 3234813"/>
                    <a:gd name="connsiteX2" fmla="*/ 4267200 w 4267200"/>
                    <a:gd name="connsiteY2" fmla="*/ 2281083 h 3234813"/>
                    <a:gd name="connsiteX3" fmla="*/ 2723536 w 4267200"/>
                    <a:gd name="connsiteY3" fmla="*/ 0 h 3234813"/>
                    <a:gd name="connsiteX4" fmla="*/ 1386348 w 4267200"/>
                    <a:gd name="connsiteY4" fmla="*/ 9832 h 3234813"/>
                    <a:gd name="connsiteX5" fmla="*/ 0 w 4267200"/>
                    <a:gd name="connsiteY5" fmla="*/ 2399071 h 3234813"/>
                    <a:gd name="connsiteX6" fmla="*/ 737420 w 4267200"/>
                    <a:gd name="connsiteY6" fmla="*/ 3234813 h 3234813"/>
                    <a:gd name="connsiteX0" fmla="*/ 766917 w 4296697"/>
                    <a:gd name="connsiteY0" fmla="*/ 3234813 h 3234813"/>
                    <a:gd name="connsiteX1" fmla="*/ 3873910 w 4296697"/>
                    <a:gd name="connsiteY1" fmla="*/ 3224980 h 3234813"/>
                    <a:gd name="connsiteX2" fmla="*/ 4296697 w 4296697"/>
                    <a:gd name="connsiteY2" fmla="*/ 2281083 h 3234813"/>
                    <a:gd name="connsiteX3" fmla="*/ 2753033 w 4296697"/>
                    <a:gd name="connsiteY3" fmla="*/ 0 h 3234813"/>
                    <a:gd name="connsiteX4" fmla="*/ 1415845 w 4296697"/>
                    <a:gd name="connsiteY4" fmla="*/ 9832 h 3234813"/>
                    <a:gd name="connsiteX5" fmla="*/ 0 w 4296697"/>
                    <a:gd name="connsiteY5" fmla="*/ 2428568 h 3234813"/>
                    <a:gd name="connsiteX6" fmla="*/ 766917 w 4296697"/>
                    <a:gd name="connsiteY6" fmla="*/ 3234813 h 3234813"/>
                    <a:gd name="connsiteX0" fmla="*/ 717756 w 4247536"/>
                    <a:gd name="connsiteY0" fmla="*/ 3234813 h 3234813"/>
                    <a:gd name="connsiteX1" fmla="*/ 3824749 w 4247536"/>
                    <a:gd name="connsiteY1" fmla="*/ 3224980 h 3234813"/>
                    <a:gd name="connsiteX2" fmla="*/ 4247536 w 4247536"/>
                    <a:gd name="connsiteY2" fmla="*/ 2281083 h 3234813"/>
                    <a:gd name="connsiteX3" fmla="*/ 2703872 w 4247536"/>
                    <a:gd name="connsiteY3" fmla="*/ 0 h 3234813"/>
                    <a:gd name="connsiteX4" fmla="*/ 1366684 w 4247536"/>
                    <a:gd name="connsiteY4" fmla="*/ 9832 h 3234813"/>
                    <a:gd name="connsiteX5" fmla="*/ 0 w 4247536"/>
                    <a:gd name="connsiteY5" fmla="*/ 2428568 h 3234813"/>
                    <a:gd name="connsiteX6" fmla="*/ 717756 w 4247536"/>
                    <a:gd name="connsiteY6" fmla="*/ 3234813 h 3234813"/>
                    <a:gd name="connsiteX0" fmla="*/ 747253 w 4277033"/>
                    <a:gd name="connsiteY0" fmla="*/ 3234813 h 3234813"/>
                    <a:gd name="connsiteX1" fmla="*/ 3854246 w 4277033"/>
                    <a:gd name="connsiteY1" fmla="*/ 3224980 h 3234813"/>
                    <a:gd name="connsiteX2" fmla="*/ 4277033 w 4277033"/>
                    <a:gd name="connsiteY2" fmla="*/ 2281083 h 3234813"/>
                    <a:gd name="connsiteX3" fmla="*/ 2733369 w 4277033"/>
                    <a:gd name="connsiteY3" fmla="*/ 0 h 3234813"/>
                    <a:gd name="connsiteX4" fmla="*/ 1396181 w 4277033"/>
                    <a:gd name="connsiteY4" fmla="*/ 9832 h 3234813"/>
                    <a:gd name="connsiteX5" fmla="*/ 0 w 4277033"/>
                    <a:gd name="connsiteY5" fmla="*/ 2458065 h 3234813"/>
                    <a:gd name="connsiteX6" fmla="*/ 747253 w 4277033"/>
                    <a:gd name="connsiteY6" fmla="*/ 3234813 h 3234813"/>
                    <a:gd name="connsiteX0" fmla="*/ 835743 w 4277033"/>
                    <a:gd name="connsiteY0" fmla="*/ 3234813 h 3234813"/>
                    <a:gd name="connsiteX1" fmla="*/ 3854246 w 4277033"/>
                    <a:gd name="connsiteY1" fmla="*/ 3224980 h 3234813"/>
                    <a:gd name="connsiteX2" fmla="*/ 4277033 w 4277033"/>
                    <a:gd name="connsiteY2" fmla="*/ 2281083 h 3234813"/>
                    <a:gd name="connsiteX3" fmla="*/ 2733369 w 4277033"/>
                    <a:gd name="connsiteY3" fmla="*/ 0 h 3234813"/>
                    <a:gd name="connsiteX4" fmla="*/ 1396181 w 4277033"/>
                    <a:gd name="connsiteY4" fmla="*/ 9832 h 3234813"/>
                    <a:gd name="connsiteX5" fmla="*/ 0 w 4277033"/>
                    <a:gd name="connsiteY5" fmla="*/ 2458065 h 3234813"/>
                    <a:gd name="connsiteX6" fmla="*/ 835743 w 4277033"/>
                    <a:gd name="connsiteY6" fmla="*/ 3234813 h 3234813"/>
                    <a:gd name="connsiteX0" fmla="*/ 796414 w 4237704"/>
                    <a:gd name="connsiteY0" fmla="*/ 3234813 h 3234813"/>
                    <a:gd name="connsiteX1" fmla="*/ 3814917 w 4237704"/>
                    <a:gd name="connsiteY1" fmla="*/ 3224980 h 3234813"/>
                    <a:gd name="connsiteX2" fmla="*/ 4237704 w 4237704"/>
                    <a:gd name="connsiteY2" fmla="*/ 2281083 h 3234813"/>
                    <a:gd name="connsiteX3" fmla="*/ 2694040 w 4237704"/>
                    <a:gd name="connsiteY3" fmla="*/ 0 h 3234813"/>
                    <a:gd name="connsiteX4" fmla="*/ 1356852 w 4237704"/>
                    <a:gd name="connsiteY4" fmla="*/ 9832 h 3234813"/>
                    <a:gd name="connsiteX5" fmla="*/ 0 w 4237704"/>
                    <a:gd name="connsiteY5" fmla="*/ 2418736 h 3234813"/>
                    <a:gd name="connsiteX6" fmla="*/ 796414 w 4237704"/>
                    <a:gd name="connsiteY6" fmla="*/ 3234813 h 3234813"/>
                    <a:gd name="connsiteX0" fmla="*/ 796414 w 4227872"/>
                    <a:gd name="connsiteY0" fmla="*/ 3234813 h 3234813"/>
                    <a:gd name="connsiteX1" fmla="*/ 3814917 w 4227872"/>
                    <a:gd name="connsiteY1" fmla="*/ 3224980 h 3234813"/>
                    <a:gd name="connsiteX2" fmla="*/ 4227872 w 4227872"/>
                    <a:gd name="connsiteY2" fmla="*/ 2281083 h 3234813"/>
                    <a:gd name="connsiteX3" fmla="*/ 2694040 w 4227872"/>
                    <a:gd name="connsiteY3" fmla="*/ 0 h 3234813"/>
                    <a:gd name="connsiteX4" fmla="*/ 1356852 w 4227872"/>
                    <a:gd name="connsiteY4" fmla="*/ 9832 h 3234813"/>
                    <a:gd name="connsiteX5" fmla="*/ 0 w 4227872"/>
                    <a:gd name="connsiteY5" fmla="*/ 2418736 h 3234813"/>
                    <a:gd name="connsiteX6" fmla="*/ 796414 w 4227872"/>
                    <a:gd name="connsiteY6" fmla="*/ 3234813 h 3234813"/>
                    <a:gd name="connsiteX0" fmla="*/ 796414 w 4198375"/>
                    <a:gd name="connsiteY0" fmla="*/ 3234813 h 3234813"/>
                    <a:gd name="connsiteX1" fmla="*/ 3814917 w 4198375"/>
                    <a:gd name="connsiteY1" fmla="*/ 3224980 h 3234813"/>
                    <a:gd name="connsiteX2" fmla="*/ 4198375 w 4198375"/>
                    <a:gd name="connsiteY2" fmla="*/ 2290915 h 3234813"/>
                    <a:gd name="connsiteX3" fmla="*/ 2694040 w 4198375"/>
                    <a:gd name="connsiteY3" fmla="*/ 0 h 3234813"/>
                    <a:gd name="connsiteX4" fmla="*/ 1356852 w 4198375"/>
                    <a:gd name="connsiteY4" fmla="*/ 9832 h 3234813"/>
                    <a:gd name="connsiteX5" fmla="*/ 0 w 4198375"/>
                    <a:gd name="connsiteY5" fmla="*/ 2418736 h 3234813"/>
                    <a:gd name="connsiteX6" fmla="*/ 796414 w 4198375"/>
                    <a:gd name="connsiteY6" fmla="*/ 3234813 h 3234813"/>
                    <a:gd name="connsiteX0" fmla="*/ 796414 w 4237704"/>
                    <a:gd name="connsiteY0" fmla="*/ 3234813 h 3234813"/>
                    <a:gd name="connsiteX1" fmla="*/ 3814917 w 4237704"/>
                    <a:gd name="connsiteY1" fmla="*/ 3224980 h 3234813"/>
                    <a:gd name="connsiteX2" fmla="*/ 4237704 w 4237704"/>
                    <a:gd name="connsiteY2" fmla="*/ 2369573 h 3234813"/>
                    <a:gd name="connsiteX3" fmla="*/ 2694040 w 4237704"/>
                    <a:gd name="connsiteY3" fmla="*/ 0 h 3234813"/>
                    <a:gd name="connsiteX4" fmla="*/ 1356852 w 4237704"/>
                    <a:gd name="connsiteY4" fmla="*/ 9832 h 3234813"/>
                    <a:gd name="connsiteX5" fmla="*/ 0 w 4237704"/>
                    <a:gd name="connsiteY5" fmla="*/ 2418736 h 3234813"/>
                    <a:gd name="connsiteX6" fmla="*/ 796414 w 4237704"/>
                    <a:gd name="connsiteY6" fmla="*/ 3234813 h 3234813"/>
                    <a:gd name="connsiteX0" fmla="*/ 796414 w 4247537"/>
                    <a:gd name="connsiteY0" fmla="*/ 3234813 h 3234813"/>
                    <a:gd name="connsiteX1" fmla="*/ 3814917 w 4247537"/>
                    <a:gd name="connsiteY1" fmla="*/ 3224980 h 3234813"/>
                    <a:gd name="connsiteX2" fmla="*/ 4247537 w 4247537"/>
                    <a:gd name="connsiteY2" fmla="*/ 2349909 h 3234813"/>
                    <a:gd name="connsiteX3" fmla="*/ 2694040 w 4247537"/>
                    <a:gd name="connsiteY3" fmla="*/ 0 h 3234813"/>
                    <a:gd name="connsiteX4" fmla="*/ 1356852 w 4247537"/>
                    <a:gd name="connsiteY4" fmla="*/ 9832 h 3234813"/>
                    <a:gd name="connsiteX5" fmla="*/ 0 w 4247537"/>
                    <a:gd name="connsiteY5" fmla="*/ 2418736 h 3234813"/>
                    <a:gd name="connsiteX6" fmla="*/ 796414 w 4247537"/>
                    <a:gd name="connsiteY6" fmla="*/ 3234813 h 3234813"/>
                    <a:gd name="connsiteX0" fmla="*/ 796414 w 4256536"/>
                    <a:gd name="connsiteY0" fmla="*/ 3234813 h 3234813"/>
                    <a:gd name="connsiteX1" fmla="*/ 3814917 w 4256536"/>
                    <a:gd name="connsiteY1" fmla="*/ 3224980 h 3234813"/>
                    <a:gd name="connsiteX2" fmla="*/ 4256536 w 4256536"/>
                    <a:gd name="connsiteY2" fmla="*/ 2322952 h 3234813"/>
                    <a:gd name="connsiteX3" fmla="*/ 2694040 w 4256536"/>
                    <a:gd name="connsiteY3" fmla="*/ 0 h 3234813"/>
                    <a:gd name="connsiteX4" fmla="*/ 1356852 w 4256536"/>
                    <a:gd name="connsiteY4" fmla="*/ 9832 h 3234813"/>
                    <a:gd name="connsiteX5" fmla="*/ 0 w 4256536"/>
                    <a:gd name="connsiteY5" fmla="*/ 2418736 h 3234813"/>
                    <a:gd name="connsiteX6" fmla="*/ 796414 w 4256536"/>
                    <a:gd name="connsiteY6" fmla="*/ 3234813 h 3234813"/>
                    <a:gd name="connsiteX0" fmla="*/ 796414 w 4238536"/>
                    <a:gd name="connsiteY0" fmla="*/ 3234813 h 3234813"/>
                    <a:gd name="connsiteX1" fmla="*/ 3814917 w 4238536"/>
                    <a:gd name="connsiteY1" fmla="*/ 3224980 h 3234813"/>
                    <a:gd name="connsiteX2" fmla="*/ 4238536 w 4238536"/>
                    <a:gd name="connsiteY2" fmla="*/ 2313967 h 3234813"/>
                    <a:gd name="connsiteX3" fmla="*/ 2694040 w 4238536"/>
                    <a:gd name="connsiteY3" fmla="*/ 0 h 3234813"/>
                    <a:gd name="connsiteX4" fmla="*/ 1356852 w 4238536"/>
                    <a:gd name="connsiteY4" fmla="*/ 9832 h 3234813"/>
                    <a:gd name="connsiteX5" fmla="*/ 0 w 4238536"/>
                    <a:gd name="connsiteY5" fmla="*/ 2418736 h 3234813"/>
                    <a:gd name="connsiteX6" fmla="*/ 796414 w 4238536"/>
                    <a:gd name="connsiteY6" fmla="*/ 3234813 h 3234813"/>
                    <a:gd name="connsiteX0" fmla="*/ 796414 w 4238536"/>
                    <a:gd name="connsiteY0" fmla="*/ 3234813 h 3234813"/>
                    <a:gd name="connsiteX1" fmla="*/ 3814917 w 4238536"/>
                    <a:gd name="connsiteY1" fmla="*/ 3224980 h 3234813"/>
                    <a:gd name="connsiteX2" fmla="*/ 4238536 w 4238536"/>
                    <a:gd name="connsiteY2" fmla="*/ 2313967 h 3234813"/>
                    <a:gd name="connsiteX3" fmla="*/ 2694040 w 4238536"/>
                    <a:gd name="connsiteY3" fmla="*/ 0 h 3234813"/>
                    <a:gd name="connsiteX4" fmla="*/ 1356852 w 4238536"/>
                    <a:gd name="connsiteY4" fmla="*/ 9832 h 3234813"/>
                    <a:gd name="connsiteX5" fmla="*/ 0 w 4238536"/>
                    <a:gd name="connsiteY5" fmla="*/ 2418736 h 3234813"/>
                    <a:gd name="connsiteX6" fmla="*/ 796414 w 4238536"/>
                    <a:gd name="connsiteY6" fmla="*/ 3234813 h 3234813"/>
                    <a:gd name="connsiteX0" fmla="*/ 796414 w 4238536"/>
                    <a:gd name="connsiteY0" fmla="*/ 3234813 h 3234813"/>
                    <a:gd name="connsiteX1" fmla="*/ 3724921 w 4238536"/>
                    <a:gd name="connsiteY1" fmla="*/ 3224980 h 3234813"/>
                    <a:gd name="connsiteX2" fmla="*/ 4238536 w 4238536"/>
                    <a:gd name="connsiteY2" fmla="*/ 2313967 h 3234813"/>
                    <a:gd name="connsiteX3" fmla="*/ 2694040 w 4238536"/>
                    <a:gd name="connsiteY3" fmla="*/ 0 h 3234813"/>
                    <a:gd name="connsiteX4" fmla="*/ 1356852 w 4238536"/>
                    <a:gd name="connsiteY4" fmla="*/ 9832 h 3234813"/>
                    <a:gd name="connsiteX5" fmla="*/ 0 w 4238536"/>
                    <a:gd name="connsiteY5" fmla="*/ 2418736 h 3234813"/>
                    <a:gd name="connsiteX6" fmla="*/ 796414 w 4238536"/>
                    <a:gd name="connsiteY6" fmla="*/ 3234813 h 3234813"/>
                    <a:gd name="connsiteX0" fmla="*/ 796414 w 4238536"/>
                    <a:gd name="connsiteY0" fmla="*/ 3234813 h 3234813"/>
                    <a:gd name="connsiteX1" fmla="*/ 3778918 w 4238536"/>
                    <a:gd name="connsiteY1" fmla="*/ 3215994 h 3234813"/>
                    <a:gd name="connsiteX2" fmla="*/ 4238536 w 4238536"/>
                    <a:gd name="connsiteY2" fmla="*/ 2313967 h 3234813"/>
                    <a:gd name="connsiteX3" fmla="*/ 2694040 w 4238536"/>
                    <a:gd name="connsiteY3" fmla="*/ 0 h 3234813"/>
                    <a:gd name="connsiteX4" fmla="*/ 1356852 w 4238536"/>
                    <a:gd name="connsiteY4" fmla="*/ 9832 h 3234813"/>
                    <a:gd name="connsiteX5" fmla="*/ 0 w 4238536"/>
                    <a:gd name="connsiteY5" fmla="*/ 2418736 h 3234813"/>
                    <a:gd name="connsiteX6" fmla="*/ 796414 w 4238536"/>
                    <a:gd name="connsiteY6" fmla="*/ 3234813 h 323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8536" h="3234813">
                      <a:moveTo>
                        <a:pt x="796414" y="3234813"/>
                      </a:moveTo>
                      <a:lnTo>
                        <a:pt x="3778918" y="3215994"/>
                      </a:lnTo>
                      <a:lnTo>
                        <a:pt x="4238536" y="2313967"/>
                      </a:lnTo>
                      <a:lnTo>
                        <a:pt x="2694040" y="0"/>
                      </a:lnTo>
                      <a:lnTo>
                        <a:pt x="1356852" y="9832"/>
                      </a:lnTo>
                      <a:lnTo>
                        <a:pt x="0" y="2418736"/>
                      </a:lnTo>
                      <a:lnTo>
                        <a:pt x="796414" y="3234813"/>
                      </a:lnTo>
                      <a:close/>
                    </a:path>
                  </a:pathLst>
                </a:custGeom>
                <a:noFill/>
                <a:ln w="76200">
                  <a:solidFill>
                    <a:srgbClr val="104D8C"/>
                  </a:solidFill>
                </a:ln>
              </p:spPr>
              <p:style>
                <a:lnRef idx="0">
                  <a:schemeClr val="accent1"/>
                </a:lnRef>
                <a:fillRef idx="1">
                  <a:schemeClr val="accent1"/>
                </a:fillRef>
                <a:effectRef idx="0">
                  <a:schemeClr val="dk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lnSpc>
                      <a:spcPct val="100000"/>
                    </a:lnSpc>
                  </a:pPr>
                  <a:endParaRPr lang="el-GR" sz="1600"/>
                </a:p>
              </p:txBody>
            </p:sp>
            <p:grpSp>
              <p:nvGrpSpPr>
                <p:cNvPr id="94" name="Group 93">
                  <a:extLst>
                    <a:ext uri="{FF2B5EF4-FFF2-40B4-BE49-F238E27FC236}">
                      <a16:creationId xmlns:a16="http://schemas.microsoft.com/office/drawing/2014/main" id="{9240D6F0-73DC-DC4A-B234-F72D146A5D0E}"/>
                    </a:ext>
                  </a:extLst>
                </p:cNvPr>
                <p:cNvGrpSpPr/>
                <p:nvPr/>
              </p:nvGrpSpPr>
              <p:grpSpPr>
                <a:xfrm>
                  <a:off x="3593873" y="1788014"/>
                  <a:ext cx="3162428" cy="3059060"/>
                  <a:chOff x="3593873" y="1788014"/>
                  <a:chExt cx="3162428" cy="3059060"/>
                </a:xfrm>
              </p:grpSpPr>
              <p:sp>
                <p:nvSpPr>
                  <p:cNvPr id="95" name="Freeform: Shape 94">
                    <a:extLst>
                      <a:ext uri="{FF2B5EF4-FFF2-40B4-BE49-F238E27FC236}">
                        <a16:creationId xmlns:a16="http://schemas.microsoft.com/office/drawing/2014/main" id="{AD1998B4-1485-3920-AE19-66DB74FE4956}"/>
                      </a:ext>
                    </a:extLst>
                  </p:cNvPr>
                  <p:cNvSpPr/>
                  <p:nvPr/>
                </p:nvSpPr>
                <p:spPr>
                  <a:xfrm>
                    <a:off x="5388077" y="3451123"/>
                    <a:ext cx="491613" cy="550606"/>
                  </a:xfrm>
                  <a:custGeom>
                    <a:avLst/>
                    <a:gdLst>
                      <a:gd name="connsiteX0" fmla="*/ 0 w 491613"/>
                      <a:gd name="connsiteY0" fmla="*/ 0 h 550606"/>
                      <a:gd name="connsiteX1" fmla="*/ 0 w 491613"/>
                      <a:gd name="connsiteY1" fmla="*/ 0 h 550606"/>
                      <a:gd name="connsiteX2" fmla="*/ 58994 w 491613"/>
                      <a:gd name="connsiteY2" fmla="*/ 68825 h 550606"/>
                      <a:gd name="connsiteX3" fmla="*/ 88491 w 491613"/>
                      <a:gd name="connsiteY3" fmla="*/ 88490 h 550606"/>
                      <a:gd name="connsiteX4" fmla="*/ 157317 w 491613"/>
                      <a:gd name="connsiteY4" fmla="*/ 127819 h 550606"/>
                      <a:gd name="connsiteX5" fmla="*/ 245807 w 491613"/>
                      <a:gd name="connsiteY5" fmla="*/ 235974 h 550606"/>
                      <a:gd name="connsiteX6" fmla="*/ 314633 w 491613"/>
                      <a:gd name="connsiteY6" fmla="*/ 304800 h 550606"/>
                      <a:gd name="connsiteX7" fmla="*/ 353962 w 491613"/>
                      <a:gd name="connsiteY7" fmla="*/ 363793 h 550606"/>
                      <a:gd name="connsiteX8" fmla="*/ 393291 w 491613"/>
                      <a:gd name="connsiteY8" fmla="*/ 412954 h 550606"/>
                      <a:gd name="connsiteX9" fmla="*/ 442452 w 491613"/>
                      <a:gd name="connsiteY9" fmla="*/ 481780 h 550606"/>
                      <a:gd name="connsiteX10" fmla="*/ 452284 w 491613"/>
                      <a:gd name="connsiteY10" fmla="*/ 511277 h 550606"/>
                      <a:gd name="connsiteX11" fmla="*/ 491613 w 491613"/>
                      <a:gd name="connsiteY11" fmla="*/ 550606 h 55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1613" h="550606">
                        <a:moveTo>
                          <a:pt x="0" y="0"/>
                        </a:moveTo>
                        <a:lnTo>
                          <a:pt x="0" y="0"/>
                        </a:lnTo>
                        <a:cubicBezTo>
                          <a:pt x="19665" y="22942"/>
                          <a:pt x="37628" y="47459"/>
                          <a:pt x="58994" y="68825"/>
                        </a:cubicBezTo>
                        <a:cubicBezTo>
                          <a:pt x="67350" y="77181"/>
                          <a:pt x="78358" y="82410"/>
                          <a:pt x="88491" y="88490"/>
                        </a:cubicBezTo>
                        <a:cubicBezTo>
                          <a:pt x="111149" y="102085"/>
                          <a:pt x="134375" y="114709"/>
                          <a:pt x="157317" y="127819"/>
                        </a:cubicBezTo>
                        <a:cubicBezTo>
                          <a:pt x="186814" y="163871"/>
                          <a:pt x="212869" y="203036"/>
                          <a:pt x="245807" y="235974"/>
                        </a:cubicBezTo>
                        <a:cubicBezTo>
                          <a:pt x="268749" y="258916"/>
                          <a:pt x="296636" y="277804"/>
                          <a:pt x="314633" y="304800"/>
                        </a:cubicBezTo>
                        <a:cubicBezTo>
                          <a:pt x="327743" y="324464"/>
                          <a:pt x="340061" y="344680"/>
                          <a:pt x="353962" y="363793"/>
                        </a:cubicBezTo>
                        <a:cubicBezTo>
                          <a:pt x="366305" y="380765"/>
                          <a:pt x="380700" y="396165"/>
                          <a:pt x="393291" y="412954"/>
                        </a:cubicBezTo>
                        <a:cubicBezTo>
                          <a:pt x="410207" y="435509"/>
                          <a:pt x="426065" y="458838"/>
                          <a:pt x="442452" y="481780"/>
                        </a:cubicBezTo>
                        <a:cubicBezTo>
                          <a:pt x="445729" y="491612"/>
                          <a:pt x="446260" y="502843"/>
                          <a:pt x="452284" y="511277"/>
                        </a:cubicBezTo>
                        <a:cubicBezTo>
                          <a:pt x="463060" y="526364"/>
                          <a:pt x="491613" y="550606"/>
                          <a:pt x="491613" y="550606"/>
                        </a:cubicBezTo>
                      </a:path>
                    </a:pathLst>
                  </a:custGeom>
                  <a:noFill/>
                  <a:ln>
                    <a:solidFill>
                      <a:srgbClr val="104D8C"/>
                    </a:solidFill>
                  </a:ln>
                </p:spPr>
                <p:style>
                  <a:lnRef idx="0">
                    <a:schemeClr val="accent1"/>
                  </a:lnRef>
                  <a:fillRef idx="1">
                    <a:schemeClr val="accent1"/>
                  </a:fillRef>
                  <a:effectRef idx="0">
                    <a:schemeClr val="dk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96" name="Freeform: Shape 95">
                    <a:extLst>
                      <a:ext uri="{FF2B5EF4-FFF2-40B4-BE49-F238E27FC236}">
                        <a16:creationId xmlns:a16="http://schemas.microsoft.com/office/drawing/2014/main" id="{8F907EE2-5C04-1FA3-0508-539140B85838}"/>
                      </a:ext>
                    </a:extLst>
                  </p:cNvPr>
                  <p:cNvSpPr/>
                  <p:nvPr/>
                </p:nvSpPr>
                <p:spPr>
                  <a:xfrm>
                    <a:off x="4205013" y="1788014"/>
                    <a:ext cx="2526889" cy="2209620"/>
                  </a:xfrm>
                  <a:custGeom>
                    <a:avLst/>
                    <a:gdLst>
                      <a:gd name="connsiteX0" fmla="*/ 2546555 w 2546555"/>
                      <a:gd name="connsiteY0" fmla="*/ 2841522 h 2851355"/>
                      <a:gd name="connsiteX1" fmla="*/ 1533832 w 2546555"/>
                      <a:gd name="connsiteY1" fmla="*/ 2851355 h 2851355"/>
                      <a:gd name="connsiteX2" fmla="*/ 0 w 2546555"/>
                      <a:gd name="connsiteY2" fmla="*/ 0 h 2851355"/>
                      <a:gd name="connsiteX3" fmla="*/ 1061884 w 2546555"/>
                      <a:gd name="connsiteY3" fmla="*/ 0 h 2851355"/>
                      <a:gd name="connsiteX4" fmla="*/ 2546555 w 2546555"/>
                      <a:gd name="connsiteY4" fmla="*/ 2841522 h 2851355"/>
                      <a:gd name="connsiteX0" fmla="*/ 2546555 w 2546555"/>
                      <a:gd name="connsiteY0" fmla="*/ 2841522 h 2851355"/>
                      <a:gd name="connsiteX1" fmla="*/ 1533832 w 2546555"/>
                      <a:gd name="connsiteY1" fmla="*/ 2851355 h 2851355"/>
                      <a:gd name="connsiteX2" fmla="*/ 0 w 2546555"/>
                      <a:gd name="connsiteY2" fmla="*/ 0 h 2851355"/>
                      <a:gd name="connsiteX3" fmla="*/ 1353989 w 2546555"/>
                      <a:gd name="connsiteY3" fmla="*/ 0 h 2851355"/>
                      <a:gd name="connsiteX4" fmla="*/ 2546555 w 2546555"/>
                      <a:gd name="connsiteY4" fmla="*/ 2841522 h 2851355"/>
                      <a:gd name="connsiteX0" fmla="*/ 2261940 w 2261940"/>
                      <a:gd name="connsiteY0" fmla="*/ 2841522 h 2851355"/>
                      <a:gd name="connsiteX1" fmla="*/ 1249217 w 2261940"/>
                      <a:gd name="connsiteY1" fmla="*/ 2851355 h 2851355"/>
                      <a:gd name="connsiteX2" fmla="*/ 0 w 2261940"/>
                      <a:gd name="connsiteY2" fmla="*/ 13543 h 2851355"/>
                      <a:gd name="connsiteX3" fmla="*/ 1069374 w 2261940"/>
                      <a:gd name="connsiteY3" fmla="*/ 0 h 2851355"/>
                      <a:gd name="connsiteX4" fmla="*/ 2261940 w 2261940"/>
                      <a:gd name="connsiteY4" fmla="*/ 2841522 h 2851355"/>
                      <a:gd name="connsiteX0" fmla="*/ 1992305 w 1992305"/>
                      <a:gd name="connsiteY0" fmla="*/ 2841522 h 2851355"/>
                      <a:gd name="connsiteX1" fmla="*/ 979582 w 1992305"/>
                      <a:gd name="connsiteY1" fmla="*/ 2851355 h 2851355"/>
                      <a:gd name="connsiteX2" fmla="*/ 0 w 1992305"/>
                      <a:gd name="connsiteY2" fmla="*/ 40630 h 2851355"/>
                      <a:gd name="connsiteX3" fmla="*/ 799739 w 1992305"/>
                      <a:gd name="connsiteY3" fmla="*/ 0 h 2851355"/>
                      <a:gd name="connsiteX4" fmla="*/ 1992305 w 1992305"/>
                      <a:gd name="connsiteY4" fmla="*/ 2841522 h 2851355"/>
                      <a:gd name="connsiteX0" fmla="*/ 1992305 w 1992305"/>
                      <a:gd name="connsiteY0" fmla="*/ 2841522 h 2851355"/>
                      <a:gd name="connsiteX1" fmla="*/ 1211768 w 1992305"/>
                      <a:gd name="connsiteY1" fmla="*/ 2851355 h 2851355"/>
                      <a:gd name="connsiteX2" fmla="*/ 0 w 1992305"/>
                      <a:gd name="connsiteY2" fmla="*/ 40630 h 2851355"/>
                      <a:gd name="connsiteX3" fmla="*/ 799739 w 1992305"/>
                      <a:gd name="connsiteY3" fmla="*/ 0 h 2851355"/>
                      <a:gd name="connsiteX4" fmla="*/ 1992305 w 1992305"/>
                      <a:gd name="connsiteY4" fmla="*/ 2841522 h 2851355"/>
                      <a:gd name="connsiteX0" fmla="*/ 1992305 w 1992305"/>
                      <a:gd name="connsiteY0" fmla="*/ 2841522 h 2864899"/>
                      <a:gd name="connsiteX1" fmla="*/ 1189298 w 1992305"/>
                      <a:gd name="connsiteY1" fmla="*/ 2864899 h 2864899"/>
                      <a:gd name="connsiteX2" fmla="*/ 0 w 1992305"/>
                      <a:gd name="connsiteY2" fmla="*/ 40630 h 2864899"/>
                      <a:gd name="connsiteX3" fmla="*/ 799739 w 1992305"/>
                      <a:gd name="connsiteY3" fmla="*/ 0 h 2864899"/>
                      <a:gd name="connsiteX4" fmla="*/ 1992305 w 1992305"/>
                      <a:gd name="connsiteY4" fmla="*/ 2841522 h 2864899"/>
                      <a:gd name="connsiteX0" fmla="*/ 1992305 w 1992305"/>
                      <a:gd name="connsiteY0" fmla="*/ 2841522 h 2841522"/>
                      <a:gd name="connsiteX1" fmla="*/ 1159338 w 1992305"/>
                      <a:gd name="connsiteY1" fmla="*/ 2810726 h 2841522"/>
                      <a:gd name="connsiteX2" fmla="*/ 0 w 1992305"/>
                      <a:gd name="connsiteY2" fmla="*/ 40630 h 2841522"/>
                      <a:gd name="connsiteX3" fmla="*/ 799739 w 1992305"/>
                      <a:gd name="connsiteY3" fmla="*/ 0 h 2841522"/>
                      <a:gd name="connsiteX4" fmla="*/ 1992305 w 1992305"/>
                      <a:gd name="connsiteY4" fmla="*/ 2841522 h 2841522"/>
                      <a:gd name="connsiteX0" fmla="*/ 1969836 w 1969836"/>
                      <a:gd name="connsiteY0" fmla="*/ 2773806 h 2810727"/>
                      <a:gd name="connsiteX1" fmla="*/ 1159338 w 1969836"/>
                      <a:gd name="connsiteY1" fmla="*/ 2810726 h 2810727"/>
                      <a:gd name="connsiteX2" fmla="*/ 0 w 1969836"/>
                      <a:gd name="connsiteY2" fmla="*/ 40630 h 2810727"/>
                      <a:gd name="connsiteX3" fmla="*/ 799739 w 1969836"/>
                      <a:gd name="connsiteY3" fmla="*/ 0 h 2810727"/>
                      <a:gd name="connsiteX4" fmla="*/ 1969836 w 1969836"/>
                      <a:gd name="connsiteY4" fmla="*/ 2773806 h 2810727"/>
                      <a:gd name="connsiteX0" fmla="*/ 1969836 w 1969836"/>
                      <a:gd name="connsiteY0" fmla="*/ 2773806 h 2773806"/>
                      <a:gd name="connsiteX1" fmla="*/ 1151848 w 1969836"/>
                      <a:gd name="connsiteY1" fmla="*/ 2770095 h 2773806"/>
                      <a:gd name="connsiteX2" fmla="*/ 0 w 1969836"/>
                      <a:gd name="connsiteY2" fmla="*/ 40630 h 2773806"/>
                      <a:gd name="connsiteX3" fmla="*/ 799739 w 1969836"/>
                      <a:gd name="connsiteY3" fmla="*/ 0 h 2773806"/>
                      <a:gd name="connsiteX4" fmla="*/ 1969836 w 1969836"/>
                      <a:gd name="connsiteY4" fmla="*/ 2773806 h 2773806"/>
                      <a:gd name="connsiteX0" fmla="*/ 1887447 w 1887447"/>
                      <a:gd name="connsiteY0" fmla="*/ 2760263 h 2770095"/>
                      <a:gd name="connsiteX1" fmla="*/ 1151848 w 1887447"/>
                      <a:gd name="connsiteY1" fmla="*/ 2770095 h 2770095"/>
                      <a:gd name="connsiteX2" fmla="*/ 0 w 1887447"/>
                      <a:gd name="connsiteY2" fmla="*/ 40630 h 2770095"/>
                      <a:gd name="connsiteX3" fmla="*/ 799739 w 1887447"/>
                      <a:gd name="connsiteY3" fmla="*/ 0 h 2770095"/>
                      <a:gd name="connsiteX4" fmla="*/ 1887447 w 1887447"/>
                      <a:gd name="connsiteY4" fmla="*/ 2760263 h 2770095"/>
                      <a:gd name="connsiteX0" fmla="*/ 1887447 w 1887447"/>
                      <a:gd name="connsiteY0" fmla="*/ 2773806 h 2783638"/>
                      <a:gd name="connsiteX1" fmla="*/ 1151848 w 1887447"/>
                      <a:gd name="connsiteY1" fmla="*/ 2783638 h 2783638"/>
                      <a:gd name="connsiteX2" fmla="*/ 0 w 1887447"/>
                      <a:gd name="connsiteY2" fmla="*/ 54173 h 2783638"/>
                      <a:gd name="connsiteX3" fmla="*/ 732331 w 1887447"/>
                      <a:gd name="connsiteY3" fmla="*/ 0 h 2783638"/>
                      <a:gd name="connsiteX4" fmla="*/ 1887447 w 1887447"/>
                      <a:gd name="connsiteY4" fmla="*/ 2773806 h 2783638"/>
                      <a:gd name="connsiteX0" fmla="*/ 1842507 w 1842507"/>
                      <a:gd name="connsiteY0" fmla="*/ 2773806 h 2783638"/>
                      <a:gd name="connsiteX1" fmla="*/ 1106908 w 1842507"/>
                      <a:gd name="connsiteY1" fmla="*/ 2783638 h 2783638"/>
                      <a:gd name="connsiteX2" fmla="*/ 0 w 1842507"/>
                      <a:gd name="connsiteY2" fmla="*/ 67718 h 2783638"/>
                      <a:gd name="connsiteX3" fmla="*/ 687391 w 1842507"/>
                      <a:gd name="connsiteY3" fmla="*/ 0 h 2783638"/>
                      <a:gd name="connsiteX4" fmla="*/ 1842507 w 1842507"/>
                      <a:gd name="connsiteY4" fmla="*/ 2773806 h 2783638"/>
                      <a:gd name="connsiteX0" fmla="*/ 1842507 w 1842507"/>
                      <a:gd name="connsiteY0" fmla="*/ 2773806 h 2773806"/>
                      <a:gd name="connsiteX1" fmla="*/ 1136868 w 1842507"/>
                      <a:gd name="connsiteY1" fmla="*/ 2756551 h 2773806"/>
                      <a:gd name="connsiteX2" fmla="*/ 0 w 1842507"/>
                      <a:gd name="connsiteY2" fmla="*/ 67718 h 2773806"/>
                      <a:gd name="connsiteX3" fmla="*/ 687391 w 1842507"/>
                      <a:gd name="connsiteY3" fmla="*/ 0 h 2773806"/>
                      <a:gd name="connsiteX4" fmla="*/ 1842507 w 1842507"/>
                      <a:gd name="connsiteY4" fmla="*/ 2773806 h 2773806"/>
                      <a:gd name="connsiteX0" fmla="*/ 1820037 w 1820037"/>
                      <a:gd name="connsiteY0" fmla="*/ 2733176 h 2756551"/>
                      <a:gd name="connsiteX1" fmla="*/ 1136868 w 1820037"/>
                      <a:gd name="connsiteY1" fmla="*/ 2756551 h 2756551"/>
                      <a:gd name="connsiteX2" fmla="*/ 0 w 1820037"/>
                      <a:gd name="connsiteY2" fmla="*/ 67718 h 2756551"/>
                      <a:gd name="connsiteX3" fmla="*/ 687391 w 1820037"/>
                      <a:gd name="connsiteY3" fmla="*/ 0 h 2756551"/>
                      <a:gd name="connsiteX4" fmla="*/ 1820037 w 1820037"/>
                      <a:gd name="connsiteY4" fmla="*/ 2733176 h 2756551"/>
                      <a:gd name="connsiteX0" fmla="*/ 1827527 w 1827527"/>
                      <a:gd name="connsiteY0" fmla="*/ 2760262 h 2760262"/>
                      <a:gd name="connsiteX1" fmla="*/ 1136868 w 1827527"/>
                      <a:gd name="connsiteY1" fmla="*/ 2756551 h 2760262"/>
                      <a:gd name="connsiteX2" fmla="*/ 0 w 1827527"/>
                      <a:gd name="connsiteY2" fmla="*/ 67718 h 2760262"/>
                      <a:gd name="connsiteX3" fmla="*/ 687391 w 1827527"/>
                      <a:gd name="connsiteY3" fmla="*/ 0 h 2760262"/>
                      <a:gd name="connsiteX4" fmla="*/ 1827527 w 1827527"/>
                      <a:gd name="connsiteY4" fmla="*/ 2760262 h 2760262"/>
                      <a:gd name="connsiteX0" fmla="*/ 1827527 w 1827527"/>
                      <a:gd name="connsiteY0" fmla="*/ 2760262 h 2760262"/>
                      <a:gd name="connsiteX1" fmla="*/ 1017031 w 1827527"/>
                      <a:gd name="connsiteY1" fmla="*/ 2756551 h 2760262"/>
                      <a:gd name="connsiteX2" fmla="*/ 0 w 1827527"/>
                      <a:gd name="connsiteY2" fmla="*/ 67718 h 2760262"/>
                      <a:gd name="connsiteX3" fmla="*/ 687391 w 1827527"/>
                      <a:gd name="connsiteY3" fmla="*/ 0 h 2760262"/>
                      <a:gd name="connsiteX4" fmla="*/ 1827527 w 1827527"/>
                      <a:gd name="connsiteY4" fmla="*/ 2760262 h 2760262"/>
                      <a:gd name="connsiteX0" fmla="*/ 1939875 w 1939875"/>
                      <a:gd name="connsiteY0" fmla="*/ 2760262 h 2760262"/>
                      <a:gd name="connsiteX1" fmla="*/ 1129379 w 1939875"/>
                      <a:gd name="connsiteY1" fmla="*/ 2756551 h 2760262"/>
                      <a:gd name="connsiteX2" fmla="*/ 0 w 1939875"/>
                      <a:gd name="connsiteY2" fmla="*/ 102726 h 2760262"/>
                      <a:gd name="connsiteX3" fmla="*/ 799739 w 1939875"/>
                      <a:gd name="connsiteY3" fmla="*/ 0 h 2760262"/>
                      <a:gd name="connsiteX4" fmla="*/ 1939875 w 1939875"/>
                      <a:gd name="connsiteY4" fmla="*/ 2760262 h 2760262"/>
                      <a:gd name="connsiteX0" fmla="*/ 1864976 w 1864976"/>
                      <a:gd name="connsiteY0" fmla="*/ 2760262 h 2760262"/>
                      <a:gd name="connsiteX1" fmla="*/ 1054480 w 1864976"/>
                      <a:gd name="connsiteY1" fmla="*/ 2756551 h 2760262"/>
                      <a:gd name="connsiteX2" fmla="*/ 0 w 1864976"/>
                      <a:gd name="connsiteY2" fmla="*/ 277770 h 2760262"/>
                      <a:gd name="connsiteX3" fmla="*/ 724840 w 1864976"/>
                      <a:gd name="connsiteY3" fmla="*/ 0 h 2760262"/>
                      <a:gd name="connsiteX4" fmla="*/ 1864976 w 1864976"/>
                      <a:gd name="connsiteY4" fmla="*/ 2760262 h 2760262"/>
                      <a:gd name="connsiteX0" fmla="*/ 1864976 w 1864976"/>
                      <a:gd name="connsiteY0" fmla="*/ 2482492 h 2482492"/>
                      <a:gd name="connsiteX1" fmla="*/ 1054480 w 1864976"/>
                      <a:gd name="connsiteY1" fmla="*/ 2478781 h 2482492"/>
                      <a:gd name="connsiteX2" fmla="*/ 0 w 1864976"/>
                      <a:gd name="connsiteY2" fmla="*/ 0 h 2482492"/>
                      <a:gd name="connsiteX3" fmla="*/ 889616 w 1864976"/>
                      <a:gd name="connsiteY3" fmla="*/ 118996 h 2482492"/>
                      <a:gd name="connsiteX4" fmla="*/ 1864976 w 1864976"/>
                      <a:gd name="connsiteY4" fmla="*/ 2482492 h 2482492"/>
                      <a:gd name="connsiteX0" fmla="*/ 1924895 w 1924895"/>
                      <a:gd name="connsiteY0" fmla="*/ 2610858 h 2610858"/>
                      <a:gd name="connsiteX1" fmla="*/ 1114399 w 1924895"/>
                      <a:gd name="connsiteY1" fmla="*/ 2607147 h 2610858"/>
                      <a:gd name="connsiteX2" fmla="*/ 0 w 1924895"/>
                      <a:gd name="connsiteY2" fmla="*/ 0 h 2610858"/>
                      <a:gd name="connsiteX3" fmla="*/ 949535 w 1924895"/>
                      <a:gd name="connsiteY3" fmla="*/ 247362 h 2610858"/>
                      <a:gd name="connsiteX4" fmla="*/ 1924895 w 1924895"/>
                      <a:gd name="connsiteY4" fmla="*/ 2610858 h 2610858"/>
                      <a:gd name="connsiteX0" fmla="*/ 1924895 w 1924895"/>
                      <a:gd name="connsiteY0" fmla="*/ 2610858 h 2610858"/>
                      <a:gd name="connsiteX1" fmla="*/ 1114399 w 1924895"/>
                      <a:gd name="connsiteY1" fmla="*/ 2607147 h 2610858"/>
                      <a:gd name="connsiteX2" fmla="*/ 0 w 1924895"/>
                      <a:gd name="connsiteY2" fmla="*/ 0 h 2610858"/>
                      <a:gd name="connsiteX3" fmla="*/ 837187 w 1924895"/>
                      <a:gd name="connsiteY3" fmla="*/ 25640 h 2610858"/>
                      <a:gd name="connsiteX4" fmla="*/ 1924895 w 1924895"/>
                      <a:gd name="connsiteY4" fmla="*/ 2610858 h 2610858"/>
                      <a:gd name="connsiteX0" fmla="*/ 1924895 w 1924895"/>
                      <a:gd name="connsiteY0" fmla="*/ 2620227 h 2620227"/>
                      <a:gd name="connsiteX1" fmla="*/ 1114399 w 1924895"/>
                      <a:gd name="connsiteY1" fmla="*/ 2616516 h 2620227"/>
                      <a:gd name="connsiteX2" fmla="*/ 0 w 1924895"/>
                      <a:gd name="connsiteY2" fmla="*/ 9369 h 2620227"/>
                      <a:gd name="connsiteX3" fmla="*/ 829697 w 1924895"/>
                      <a:gd name="connsiteY3" fmla="*/ 0 h 2620227"/>
                      <a:gd name="connsiteX4" fmla="*/ 1924895 w 1924895"/>
                      <a:gd name="connsiteY4" fmla="*/ 2620227 h 2620227"/>
                      <a:gd name="connsiteX0" fmla="*/ 1924895 w 1924895"/>
                      <a:gd name="connsiteY0" fmla="*/ 2622528 h 2622528"/>
                      <a:gd name="connsiteX1" fmla="*/ 1114399 w 1924895"/>
                      <a:gd name="connsiteY1" fmla="*/ 2618817 h 2622528"/>
                      <a:gd name="connsiteX2" fmla="*/ 0 w 1924895"/>
                      <a:gd name="connsiteY2" fmla="*/ 0 h 2622528"/>
                      <a:gd name="connsiteX3" fmla="*/ 829697 w 1924895"/>
                      <a:gd name="connsiteY3" fmla="*/ 2301 h 2622528"/>
                      <a:gd name="connsiteX4" fmla="*/ 1924895 w 1924895"/>
                      <a:gd name="connsiteY4" fmla="*/ 2622528 h 2622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895" h="2622528">
                        <a:moveTo>
                          <a:pt x="1924895" y="2622528"/>
                        </a:moveTo>
                        <a:lnTo>
                          <a:pt x="1114399" y="2618817"/>
                        </a:lnTo>
                        <a:lnTo>
                          <a:pt x="0" y="0"/>
                        </a:lnTo>
                        <a:lnTo>
                          <a:pt x="829697" y="2301"/>
                        </a:lnTo>
                        <a:lnTo>
                          <a:pt x="1924895" y="2622528"/>
                        </a:lnTo>
                        <a:close/>
                      </a:path>
                    </a:pathLst>
                  </a:custGeom>
                  <a:solidFill>
                    <a:srgbClr val="0CACDC"/>
                  </a:solidFill>
                  <a:ln>
                    <a:solidFill>
                      <a:srgbClr val="104D8C"/>
                    </a:solidFill>
                  </a:ln>
                </p:spPr>
                <p:style>
                  <a:lnRef idx="0">
                    <a:schemeClr val="accent1"/>
                  </a:lnRef>
                  <a:fillRef idx="1">
                    <a:schemeClr val="accent1"/>
                  </a:fillRef>
                  <a:effectRef idx="0">
                    <a:schemeClr val="dk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lnSpc>
                        <a:spcPct val="100000"/>
                      </a:lnSpc>
                    </a:pPr>
                    <a:endParaRPr lang="el-GR" sz="1600"/>
                  </a:p>
                </p:txBody>
              </p:sp>
              <p:sp>
                <p:nvSpPr>
                  <p:cNvPr id="97" name="Freeform: Shape 96">
                    <a:extLst>
                      <a:ext uri="{FF2B5EF4-FFF2-40B4-BE49-F238E27FC236}">
                        <a16:creationId xmlns:a16="http://schemas.microsoft.com/office/drawing/2014/main" id="{A11A9DDE-C747-6F87-CDB1-168B1291C565}"/>
                      </a:ext>
                    </a:extLst>
                  </p:cNvPr>
                  <p:cNvSpPr/>
                  <p:nvPr/>
                </p:nvSpPr>
                <p:spPr>
                  <a:xfrm>
                    <a:off x="5673213" y="4090219"/>
                    <a:ext cx="226142" cy="403123"/>
                  </a:xfrm>
                  <a:custGeom>
                    <a:avLst/>
                    <a:gdLst>
                      <a:gd name="connsiteX0" fmla="*/ 226142 w 226142"/>
                      <a:gd name="connsiteY0" fmla="*/ 403123 h 403123"/>
                      <a:gd name="connsiteX1" fmla="*/ 0 w 226142"/>
                      <a:gd name="connsiteY1" fmla="*/ 0 h 403123"/>
                    </a:gdLst>
                    <a:ahLst/>
                    <a:cxnLst>
                      <a:cxn ang="0">
                        <a:pos x="connsiteX0" y="connsiteY0"/>
                      </a:cxn>
                      <a:cxn ang="0">
                        <a:pos x="connsiteX1" y="connsiteY1"/>
                      </a:cxn>
                    </a:cxnLst>
                    <a:rect l="l" t="t" r="r" b="b"/>
                    <a:pathLst>
                      <a:path w="226142" h="403123">
                        <a:moveTo>
                          <a:pt x="226142" y="403123"/>
                        </a:moveTo>
                        <a:lnTo>
                          <a:pt x="0" y="0"/>
                        </a:lnTo>
                      </a:path>
                    </a:pathLst>
                  </a:custGeom>
                  <a:noFill/>
                  <a:ln>
                    <a:solidFill>
                      <a:srgbClr val="104D8C"/>
                    </a:solidFill>
                  </a:ln>
                </p:spPr>
                <p:style>
                  <a:lnRef idx="0">
                    <a:schemeClr val="accent1"/>
                  </a:lnRef>
                  <a:fillRef idx="1">
                    <a:schemeClr val="accent1"/>
                  </a:fillRef>
                  <a:effectRef idx="0">
                    <a:schemeClr val="dk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98" name="Freeform: Shape 97">
                    <a:extLst>
                      <a:ext uri="{FF2B5EF4-FFF2-40B4-BE49-F238E27FC236}">
                        <a16:creationId xmlns:a16="http://schemas.microsoft.com/office/drawing/2014/main" id="{5EB63714-0FD6-623D-8272-BAD4E10D1A8D}"/>
                      </a:ext>
                    </a:extLst>
                  </p:cNvPr>
                  <p:cNvSpPr/>
                  <p:nvPr/>
                </p:nvSpPr>
                <p:spPr>
                  <a:xfrm>
                    <a:off x="3593873" y="4055074"/>
                    <a:ext cx="3162428" cy="792000"/>
                  </a:xfrm>
                  <a:custGeom>
                    <a:avLst/>
                    <a:gdLst>
                      <a:gd name="connsiteX0" fmla="*/ 3657600 w 3657600"/>
                      <a:gd name="connsiteY0" fmla="*/ 0 h 737419"/>
                      <a:gd name="connsiteX1" fmla="*/ 422787 w 3657600"/>
                      <a:gd name="connsiteY1" fmla="*/ 19664 h 737419"/>
                      <a:gd name="connsiteX2" fmla="*/ 0 w 3657600"/>
                      <a:gd name="connsiteY2" fmla="*/ 737419 h 737419"/>
                      <a:gd name="connsiteX3" fmla="*/ 3283974 w 3657600"/>
                      <a:gd name="connsiteY3" fmla="*/ 717755 h 737419"/>
                      <a:gd name="connsiteX4" fmla="*/ 3657600 w 3657600"/>
                      <a:gd name="connsiteY4" fmla="*/ 0 h 737419"/>
                      <a:gd name="connsiteX0" fmla="*/ 3657600 w 3657600"/>
                      <a:gd name="connsiteY0" fmla="*/ 0 h 737419"/>
                      <a:gd name="connsiteX1" fmla="*/ 456902 w 3657600"/>
                      <a:gd name="connsiteY1" fmla="*/ 9412 h 737419"/>
                      <a:gd name="connsiteX2" fmla="*/ 0 w 3657600"/>
                      <a:gd name="connsiteY2" fmla="*/ 737419 h 737419"/>
                      <a:gd name="connsiteX3" fmla="*/ 3283974 w 3657600"/>
                      <a:gd name="connsiteY3" fmla="*/ 717755 h 737419"/>
                      <a:gd name="connsiteX4" fmla="*/ 3657600 w 3657600"/>
                      <a:gd name="connsiteY4" fmla="*/ 0 h 737419"/>
                      <a:gd name="connsiteX0" fmla="*/ 3657600 w 3657600"/>
                      <a:gd name="connsiteY0" fmla="*/ 0 h 737419"/>
                      <a:gd name="connsiteX1" fmla="*/ 456902 w 3657600"/>
                      <a:gd name="connsiteY1" fmla="*/ 9412 h 737419"/>
                      <a:gd name="connsiteX2" fmla="*/ 0 w 3657600"/>
                      <a:gd name="connsiteY2" fmla="*/ 737419 h 737419"/>
                      <a:gd name="connsiteX3" fmla="*/ 3238486 w 3657600"/>
                      <a:gd name="connsiteY3" fmla="*/ 717755 h 737419"/>
                      <a:gd name="connsiteX4" fmla="*/ 3657600 w 3657600"/>
                      <a:gd name="connsiteY4" fmla="*/ 0 h 737419"/>
                      <a:gd name="connsiteX0" fmla="*/ 3680344 w 3680344"/>
                      <a:gd name="connsiteY0" fmla="*/ 0 h 737419"/>
                      <a:gd name="connsiteX1" fmla="*/ 479646 w 3680344"/>
                      <a:gd name="connsiteY1" fmla="*/ 9412 h 737419"/>
                      <a:gd name="connsiteX2" fmla="*/ 0 w 3680344"/>
                      <a:gd name="connsiteY2" fmla="*/ 737419 h 737419"/>
                      <a:gd name="connsiteX3" fmla="*/ 3261230 w 3680344"/>
                      <a:gd name="connsiteY3" fmla="*/ 717755 h 737419"/>
                      <a:gd name="connsiteX4" fmla="*/ 3680344 w 3680344"/>
                      <a:gd name="connsiteY4" fmla="*/ 0 h 737419"/>
                      <a:gd name="connsiteX0" fmla="*/ 3680344 w 3680344"/>
                      <a:gd name="connsiteY0" fmla="*/ 0 h 737419"/>
                      <a:gd name="connsiteX1" fmla="*/ 479646 w 3680344"/>
                      <a:gd name="connsiteY1" fmla="*/ 9412 h 737419"/>
                      <a:gd name="connsiteX2" fmla="*/ 0 w 3680344"/>
                      <a:gd name="connsiteY2" fmla="*/ 737419 h 737419"/>
                      <a:gd name="connsiteX3" fmla="*/ 3261231 w 3680344"/>
                      <a:gd name="connsiteY3" fmla="*/ 717755 h 737419"/>
                      <a:gd name="connsiteX4" fmla="*/ 3680344 w 3680344"/>
                      <a:gd name="connsiteY4" fmla="*/ 0 h 737419"/>
                      <a:gd name="connsiteX0" fmla="*/ 3691717 w 3691717"/>
                      <a:gd name="connsiteY0" fmla="*/ 0 h 717755"/>
                      <a:gd name="connsiteX1" fmla="*/ 491019 w 3691717"/>
                      <a:gd name="connsiteY1" fmla="*/ 9412 h 717755"/>
                      <a:gd name="connsiteX2" fmla="*/ 0 w 3691717"/>
                      <a:gd name="connsiteY2" fmla="*/ 716917 h 717755"/>
                      <a:gd name="connsiteX3" fmla="*/ 3272604 w 3691717"/>
                      <a:gd name="connsiteY3" fmla="*/ 717755 h 717755"/>
                      <a:gd name="connsiteX4" fmla="*/ 3691717 w 3691717"/>
                      <a:gd name="connsiteY4" fmla="*/ 0 h 717755"/>
                      <a:gd name="connsiteX0" fmla="*/ 3691717 w 3691717"/>
                      <a:gd name="connsiteY0" fmla="*/ 0 h 717755"/>
                      <a:gd name="connsiteX1" fmla="*/ 491019 w 3691717"/>
                      <a:gd name="connsiteY1" fmla="*/ 9412 h 717755"/>
                      <a:gd name="connsiteX2" fmla="*/ 0 w 3691717"/>
                      <a:gd name="connsiteY2" fmla="*/ 716917 h 717755"/>
                      <a:gd name="connsiteX3" fmla="*/ 3272605 w 3691717"/>
                      <a:gd name="connsiteY3" fmla="*/ 717755 h 717755"/>
                      <a:gd name="connsiteX4" fmla="*/ 3691717 w 3691717"/>
                      <a:gd name="connsiteY4" fmla="*/ 0 h 717755"/>
                      <a:gd name="connsiteX0" fmla="*/ 3657603 w 3657603"/>
                      <a:gd name="connsiteY0" fmla="*/ 0 h 717755"/>
                      <a:gd name="connsiteX1" fmla="*/ 456905 w 3657603"/>
                      <a:gd name="connsiteY1" fmla="*/ 9412 h 717755"/>
                      <a:gd name="connsiteX2" fmla="*/ 0 w 3657603"/>
                      <a:gd name="connsiteY2" fmla="*/ 716917 h 717755"/>
                      <a:gd name="connsiteX3" fmla="*/ 3238491 w 3657603"/>
                      <a:gd name="connsiteY3" fmla="*/ 717755 h 717755"/>
                      <a:gd name="connsiteX4" fmla="*/ 3657603 w 3657603"/>
                      <a:gd name="connsiteY4" fmla="*/ 0 h 717755"/>
                      <a:gd name="connsiteX0" fmla="*/ 3657603 w 3657603"/>
                      <a:gd name="connsiteY0" fmla="*/ 0 h 738257"/>
                      <a:gd name="connsiteX1" fmla="*/ 456905 w 3657603"/>
                      <a:gd name="connsiteY1" fmla="*/ 29914 h 738257"/>
                      <a:gd name="connsiteX2" fmla="*/ 0 w 3657603"/>
                      <a:gd name="connsiteY2" fmla="*/ 737419 h 738257"/>
                      <a:gd name="connsiteX3" fmla="*/ 3238491 w 3657603"/>
                      <a:gd name="connsiteY3" fmla="*/ 738257 h 738257"/>
                      <a:gd name="connsiteX4" fmla="*/ 3657603 w 3657603"/>
                      <a:gd name="connsiteY4" fmla="*/ 0 h 738257"/>
                      <a:gd name="connsiteX0" fmla="*/ 3657603 w 3657603"/>
                      <a:gd name="connsiteY0" fmla="*/ 0 h 738257"/>
                      <a:gd name="connsiteX1" fmla="*/ 468276 w 3657603"/>
                      <a:gd name="connsiteY1" fmla="*/ 9411 h 738257"/>
                      <a:gd name="connsiteX2" fmla="*/ 0 w 3657603"/>
                      <a:gd name="connsiteY2" fmla="*/ 737419 h 738257"/>
                      <a:gd name="connsiteX3" fmla="*/ 3238491 w 3657603"/>
                      <a:gd name="connsiteY3" fmla="*/ 738257 h 738257"/>
                      <a:gd name="connsiteX4" fmla="*/ 3657603 w 3657603"/>
                      <a:gd name="connsiteY4" fmla="*/ 0 h 738257"/>
                      <a:gd name="connsiteX0" fmla="*/ 3657603 w 3657603"/>
                      <a:gd name="connsiteY0" fmla="*/ 21344 h 759601"/>
                      <a:gd name="connsiteX1" fmla="*/ 468276 w 3657603"/>
                      <a:gd name="connsiteY1" fmla="*/ 0 h 759601"/>
                      <a:gd name="connsiteX2" fmla="*/ 0 w 3657603"/>
                      <a:gd name="connsiteY2" fmla="*/ 758763 h 759601"/>
                      <a:gd name="connsiteX3" fmla="*/ 3238491 w 3657603"/>
                      <a:gd name="connsiteY3" fmla="*/ 759601 h 759601"/>
                      <a:gd name="connsiteX4" fmla="*/ 3657603 w 3657603"/>
                      <a:gd name="connsiteY4" fmla="*/ 21344 h 759601"/>
                      <a:gd name="connsiteX0" fmla="*/ 3657603 w 3657603"/>
                      <a:gd name="connsiteY0" fmla="*/ 11093 h 749350"/>
                      <a:gd name="connsiteX1" fmla="*/ 468276 w 3657603"/>
                      <a:gd name="connsiteY1" fmla="*/ 0 h 749350"/>
                      <a:gd name="connsiteX2" fmla="*/ 0 w 3657603"/>
                      <a:gd name="connsiteY2" fmla="*/ 748512 h 749350"/>
                      <a:gd name="connsiteX3" fmla="*/ 3238491 w 3657603"/>
                      <a:gd name="connsiteY3" fmla="*/ 749350 h 749350"/>
                      <a:gd name="connsiteX4" fmla="*/ 3657603 w 3657603"/>
                      <a:gd name="connsiteY4" fmla="*/ 11093 h 749350"/>
                      <a:gd name="connsiteX0" fmla="*/ 3657603 w 3657603"/>
                      <a:gd name="connsiteY0" fmla="*/ 842 h 749350"/>
                      <a:gd name="connsiteX1" fmla="*/ 468276 w 3657603"/>
                      <a:gd name="connsiteY1" fmla="*/ 0 h 749350"/>
                      <a:gd name="connsiteX2" fmla="*/ 0 w 3657603"/>
                      <a:gd name="connsiteY2" fmla="*/ 748512 h 749350"/>
                      <a:gd name="connsiteX3" fmla="*/ 3238491 w 3657603"/>
                      <a:gd name="connsiteY3" fmla="*/ 749350 h 749350"/>
                      <a:gd name="connsiteX4" fmla="*/ 3657603 w 3657603"/>
                      <a:gd name="connsiteY4" fmla="*/ 842 h 749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3" h="749350">
                        <a:moveTo>
                          <a:pt x="3657603" y="842"/>
                        </a:moveTo>
                        <a:lnTo>
                          <a:pt x="468276" y="0"/>
                        </a:lnTo>
                        <a:lnTo>
                          <a:pt x="0" y="748512"/>
                        </a:lnTo>
                        <a:lnTo>
                          <a:pt x="3238491" y="749350"/>
                        </a:lnTo>
                        <a:lnTo>
                          <a:pt x="3657603" y="842"/>
                        </a:lnTo>
                        <a:close/>
                      </a:path>
                    </a:pathLst>
                  </a:custGeom>
                  <a:solidFill>
                    <a:srgbClr val="F4B183"/>
                  </a:solidFill>
                  <a:ln>
                    <a:solidFill>
                      <a:srgbClr val="104D8C"/>
                    </a:solidFill>
                  </a:ln>
                </p:spPr>
                <p:style>
                  <a:lnRef idx="0">
                    <a:schemeClr val="accent1"/>
                  </a:lnRef>
                  <a:fillRef idx="1">
                    <a:schemeClr val="accent1"/>
                  </a:fillRef>
                  <a:effectRef idx="0">
                    <a:schemeClr val="dk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lnSpc>
                        <a:spcPct val="100000"/>
                      </a:lnSpc>
                    </a:pPr>
                    <a:endParaRPr lang="el-GR" sz="1600"/>
                  </a:p>
                </p:txBody>
              </p:sp>
            </p:grpSp>
          </p:grpSp>
        </p:grpSp>
        <p:sp>
          <p:nvSpPr>
            <p:cNvPr id="88" name="TextBox 87">
              <a:extLst>
                <a:ext uri="{FF2B5EF4-FFF2-40B4-BE49-F238E27FC236}">
                  <a16:creationId xmlns:a16="http://schemas.microsoft.com/office/drawing/2014/main" id="{3C8F316F-3BA7-5A53-D316-6C28603AEDA1}"/>
                </a:ext>
              </a:extLst>
            </p:cNvPr>
            <p:cNvSpPr txBox="1"/>
            <p:nvPr/>
          </p:nvSpPr>
          <p:spPr>
            <a:xfrm>
              <a:off x="1873939" y="2184032"/>
              <a:ext cx="827662" cy="473772"/>
            </a:xfrm>
            <a:prstGeom prst="rect">
              <a:avLst/>
            </a:prstGeom>
            <a:noFill/>
            <a:ln>
              <a:noFill/>
            </a:ln>
          </p:spPr>
          <p:txBody>
            <a:bodyPr wrap="none" lIns="0" tIns="0" rIns="0" bIns="0" rtlCol="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r">
                <a:spcAft>
                  <a:spcPts val="771"/>
                </a:spcAft>
              </a:pPr>
              <a:r>
                <a:rPr lang="en-US" sz="2000" b="1">
                  <a:solidFill>
                    <a:schemeClr val="bg1"/>
                  </a:solidFill>
                  <a:latin typeface="Arial" panose="020B0604020202020204" pitchFamily="34" charset="0"/>
                  <a:cs typeface="Arial" panose="020B0604020202020204" pitchFamily="34" charset="0"/>
                </a:rPr>
                <a:t>69</a:t>
              </a:r>
              <a:r>
                <a:rPr lang="el-GR" sz="2000" b="1">
                  <a:solidFill>
                    <a:schemeClr val="bg1"/>
                  </a:solidFill>
                  <a:latin typeface="Arial" panose="020B0604020202020204" pitchFamily="34" charset="0"/>
                  <a:cs typeface="Arial" panose="020B0604020202020204" pitchFamily="34" charset="0"/>
                </a:rPr>
                <a:t>%</a:t>
              </a:r>
              <a:endParaRPr lang="en-GB" sz="1400" b="1">
                <a:solidFill>
                  <a:schemeClr val="bg1"/>
                </a:solidFill>
                <a:latin typeface="Arial" panose="020B0604020202020204" pitchFamily="34" charset="0"/>
                <a:cs typeface="Arial" panose="020B0604020202020204" pitchFamily="34" charset="0"/>
              </a:endParaRPr>
            </a:p>
          </p:txBody>
        </p:sp>
        <p:sp>
          <p:nvSpPr>
            <p:cNvPr id="89" name="TextBox 88">
              <a:extLst>
                <a:ext uri="{FF2B5EF4-FFF2-40B4-BE49-F238E27FC236}">
                  <a16:creationId xmlns:a16="http://schemas.microsoft.com/office/drawing/2014/main" id="{20C9B4D0-ECA2-7F3C-32F6-187D64578B46}"/>
                </a:ext>
              </a:extLst>
            </p:cNvPr>
            <p:cNvSpPr txBox="1"/>
            <p:nvPr/>
          </p:nvSpPr>
          <p:spPr>
            <a:xfrm>
              <a:off x="3208264" y="2157713"/>
              <a:ext cx="827662" cy="473771"/>
            </a:xfrm>
            <a:prstGeom prst="rect">
              <a:avLst/>
            </a:prstGeom>
            <a:noFill/>
            <a:ln>
              <a:noFill/>
            </a:ln>
          </p:spPr>
          <p:txBody>
            <a:bodyPr wrap="none" lIns="0" tIns="0" rIns="0" bIns="0" rtlCol="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r">
                <a:spcAft>
                  <a:spcPts val="771"/>
                </a:spcAft>
              </a:pPr>
              <a:r>
                <a:rPr lang="el-GR" sz="2000" b="1">
                  <a:solidFill>
                    <a:schemeClr val="bg1"/>
                  </a:solidFill>
                  <a:latin typeface="Arial" panose="020B0604020202020204" pitchFamily="34" charset="0"/>
                  <a:cs typeface="Arial" panose="020B0604020202020204" pitchFamily="34" charset="0"/>
                </a:rPr>
                <a:t>4</a:t>
              </a:r>
              <a:r>
                <a:rPr lang="en-US" sz="2000" b="1">
                  <a:solidFill>
                    <a:schemeClr val="bg1"/>
                  </a:solidFill>
                  <a:latin typeface="Arial" panose="020B0604020202020204" pitchFamily="34" charset="0"/>
                  <a:cs typeface="Arial" panose="020B0604020202020204" pitchFamily="34" charset="0"/>
                </a:rPr>
                <a:t>9</a:t>
              </a:r>
              <a:r>
                <a:rPr lang="el-GR" sz="2000" b="1">
                  <a:solidFill>
                    <a:schemeClr val="bg1"/>
                  </a:solidFill>
                  <a:latin typeface="Arial" panose="020B0604020202020204" pitchFamily="34" charset="0"/>
                  <a:cs typeface="Arial" panose="020B0604020202020204" pitchFamily="34" charset="0"/>
                </a:rPr>
                <a:t>%</a:t>
              </a:r>
              <a:endParaRPr lang="en-GB" sz="1400" b="1">
                <a:solidFill>
                  <a:schemeClr val="bg1"/>
                </a:solidFill>
                <a:latin typeface="Arial" panose="020B0604020202020204" pitchFamily="34" charset="0"/>
                <a:cs typeface="Arial" panose="020B0604020202020204" pitchFamily="34" charset="0"/>
              </a:endParaRPr>
            </a:p>
          </p:txBody>
        </p:sp>
      </p:grpSp>
      <p:sp>
        <p:nvSpPr>
          <p:cNvPr id="99" name="TextBox 98">
            <a:extLst>
              <a:ext uri="{FF2B5EF4-FFF2-40B4-BE49-F238E27FC236}">
                <a16:creationId xmlns:a16="http://schemas.microsoft.com/office/drawing/2014/main" id="{DAA88F55-EB86-BD1A-07E3-313BFA28ADB7}"/>
              </a:ext>
            </a:extLst>
          </p:cNvPr>
          <p:cNvSpPr txBox="1"/>
          <p:nvPr/>
        </p:nvSpPr>
        <p:spPr>
          <a:xfrm>
            <a:off x="9746269" y="4121331"/>
            <a:ext cx="464531" cy="246203"/>
          </a:xfrm>
          <a:prstGeom prst="rect">
            <a:avLst/>
          </a:prstGeom>
          <a:noFill/>
          <a:ln>
            <a:noFill/>
          </a:ln>
        </p:spPr>
        <p:txBody>
          <a:bodyPr wrap="none" lIns="0" tIns="0" rIns="0" bIns="0" rtlCol="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r">
              <a:spcAft>
                <a:spcPts val="771"/>
              </a:spcAft>
            </a:pPr>
            <a:r>
              <a:rPr lang="en-US" sz="2000" b="1">
                <a:solidFill>
                  <a:schemeClr val="bg1"/>
                </a:solidFill>
                <a:latin typeface="Arial" panose="020B0604020202020204" pitchFamily="34" charset="0"/>
                <a:cs typeface="Arial" panose="020B0604020202020204" pitchFamily="34" charset="0"/>
              </a:rPr>
              <a:t>3</a:t>
            </a:r>
            <a:r>
              <a:rPr lang="el-GR" sz="2000" b="1">
                <a:solidFill>
                  <a:schemeClr val="bg1"/>
                </a:solidFill>
                <a:latin typeface="Arial" panose="020B0604020202020204" pitchFamily="34" charset="0"/>
                <a:cs typeface="Arial" panose="020B0604020202020204" pitchFamily="34" charset="0"/>
              </a:rPr>
              <a:t>4</a:t>
            </a:r>
            <a:r>
              <a:rPr lang="en-US" sz="2000" b="1">
                <a:solidFill>
                  <a:schemeClr val="bg1"/>
                </a:solidFill>
                <a:latin typeface="Arial" panose="020B0604020202020204" pitchFamily="34" charset="0"/>
                <a:cs typeface="Arial" panose="020B0604020202020204" pitchFamily="34" charset="0"/>
              </a:rPr>
              <a:t> </a:t>
            </a:r>
            <a:r>
              <a:rPr lang="el-GR" sz="2000" b="1">
                <a:solidFill>
                  <a:schemeClr val="bg1"/>
                </a:solidFill>
              </a:rPr>
              <a:t>%</a:t>
            </a:r>
            <a:endParaRPr lang="en-GB" sz="1400" b="1">
              <a:solidFill>
                <a:schemeClr val="bg1"/>
              </a:solidFill>
            </a:endParaRPr>
          </a:p>
        </p:txBody>
      </p:sp>
      <p:sp>
        <p:nvSpPr>
          <p:cNvPr id="100" name="TextBox 99">
            <a:extLst>
              <a:ext uri="{FF2B5EF4-FFF2-40B4-BE49-F238E27FC236}">
                <a16:creationId xmlns:a16="http://schemas.microsoft.com/office/drawing/2014/main" id="{3817F8EE-463A-2656-4662-95CDB4C16290}"/>
              </a:ext>
            </a:extLst>
          </p:cNvPr>
          <p:cNvSpPr txBox="1"/>
          <p:nvPr/>
        </p:nvSpPr>
        <p:spPr>
          <a:xfrm>
            <a:off x="9705330" y="3257208"/>
            <a:ext cx="1080977" cy="738664"/>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n-US" sz="1400" b="1">
                <a:solidFill>
                  <a:srgbClr val="104D8C"/>
                </a:solidFill>
                <a:latin typeface="Arial" panose="020B0604020202020204" pitchFamily="34" charset="0"/>
                <a:cs typeface="Arial" panose="020B0604020202020204" pitchFamily="34" charset="0"/>
              </a:rPr>
              <a:t>%</a:t>
            </a:r>
          </a:p>
          <a:p>
            <a:pPr algn="ctr"/>
            <a:r>
              <a:rPr lang="en-US" sz="1400" b="1">
                <a:solidFill>
                  <a:srgbClr val="104D8C"/>
                </a:solidFill>
                <a:latin typeface="Arial" panose="020B0604020202020204" pitchFamily="34" charset="0"/>
                <a:cs typeface="Arial" panose="020B0604020202020204" pitchFamily="34" charset="0"/>
              </a:rPr>
              <a:t> </a:t>
            </a:r>
            <a:r>
              <a:rPr lang="el-GR" sz="1400" b="1">
                <a:solidFill>
                  <a:srgbClr val="104D8C"/>
                </a:solidFill>
                <a:latin typeface="Arial" panose="020B0604020202020204" pitchFamily="34" charset="0"/>
                <a:cs typeface="Arial" panose="020B0604020202020204" pitchFamily="34" charset="0"/>
              </a:rPr>
              <a:t>επί του </a:t>
            </a:r>
          </a:p>
          <a:p>
            <a:pPr algn="ctr"/>
            <a:r>
              <a:rPr lang="el-GR" sz="1400" b="1">
                <a:solidFill>
                  <a:srgbClr val="104D8C"/>
                </a:solidFill>
                <a:latin typeface="Arial" panose="020B0604020202020204" pitchFamily="34" charset="0"/>
                <a:cs typeface="Arial" panose="020B0604020202020204" pitchFamily="34" charset="0"/>
              </a:rPr>
              <a:t>π/υ</a:t>
            </a:r>
            <a:endParaRPr lang="en-US" sz="1400" b="1">
              <a:solidFill>
                <a:srgbClr val="104D8C"/>
              </a:solidFill>
              <a:latin typeface="Arial" panose="020B0604020202020204" pitchFamily="34" charset="0"/>
              <a:cs typeface="Arial" panose="020B0604020202020204" pitchFamily="34" charset="0"/>
            </a:endParaRPr>
          </a:p>
        </p:txBody>
      </p:sp>
      <p:sp>
        <p:nvSpPr>
          <p:cNvPr id="101" name="TextBox 100">
            <a:extLst>
              <a:ext uri="{FF2B5EF4-FFF2-40B4-BE49-F238E27FC236}">
                <a16:creationId xmlns:a16="http://schemas.microsoft.com/office/drawing/2014/main" id="{FFCD3503-DCBF-6AB7-8086-DD246A9A0F46}"/>
              </a:ext>
            </a:extLst>
          </p:cNvPr>
          <p:cNvSpPr txBox="1"/>
          <p:nvPr/>
        </p:nvSpPr>
        <p:spPr>
          <a:xfrm rot="17986231">
            <a:off x="8854985" y="3618735"/>
            <a:ext cx="1268775" cy="215444"/>
          </a:xfrm>
          <a:prstGeom prst="rect">
            <a:avLst/>
          </a:prstGeom>
          <a:noFill/>
          <a:ln>
            <a:noFill/>
          </a:ln>
        </p:spPr>
        <p:txBody>
          <a:bodyPr wrap="square" lIns="0" tIns="0" rIns="0" b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spcAft>
                <a:spcPts val="600"/>
              </a:spcAft>
              <a:buSzPct val="100000"/>
            </a:pPr>
            <a:r>
              <a:rPr lang="el-GR" sz="1400" b="1">
                <a:solidFill>
                  <a:schemeClr val="bg1"/>
                </a:solidFill>
                <a:latin typeface="Arial" panose="020B0604020202020204" pitchFamily="34" charset="0"/>
                <a:cs typeface="Arial" panose="020B0604020202020204" pitchFamily="34" charset="0"/>
              </a:rPr>
              <a:t>Προσκλήσεις</a:t>
            </a:r>
          </a:p>
        </p:txBody>
      </p:sp>
      <p:sp>
        <p:nvSpPr>
          <p:cNvPr id="102" name="Rectangle 101">
            <a:extLst>
              <a:ext uri="{FF2B5EF4-FFF2-40B4-BE49-F238E27FC236}">
                <a16:creationId xmlns:a16="http://schemas.microsoft.com/office/drawing/2014/main" id="{61186D09-B25C-23AE-9EA4-16C840EBF19B}"/>
              </a:ext>
            </a:extLst>
          </p:cNvPr>
          <p:cNvSpPr/>
          <p:nvPr>
            <p:custDataLst>
              <p:tags r:id="rId3"/>
            </p:custDataLst>
          </p:nvPr>
        </p:nvSpPr>
        <p:spPr bwMode="auto">
          <a:xfrm>
            <a:off x="8413105" y="1301357"/>
            <a:ext cx="216000" cy="180000"/>
          </a:xfrm>
          <a:prstGeom prst="rect">
            <a:avLst/>
          </a:prstGeom>
          <a:solidFill>
            <a:srgbClr val="104D8C"/>
          </a:solidFill>
          <a:ln w="9525"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103" name="Text Placeholder 2">
            <a:extLst>
              <a:ext uri="{FF2B5EF4-FFF2-40B4-BE49-F238E27FC236}">
                <a16:creationId xmlns:a16="http://schemas.microsoft.com/office/drawing/2014/main" id="{3D74ACD8-5F5E-5EF1-A384-CC0EB1036DAC}"/>
              </a:ext>
            </a:extLst>
          </p:cNvPr>
          <p:cNvSpPr>
            <a:spLocks noGrp="1"/>
          </p:cNvSpPr>
          <p:nvPr>
            <p:custDataLst>
              <p:tags r:id="rId4"/>
            </p:custDataLst>
          </p:nvPr>
        </p:nvSpPr>
        <p:spPr bwMode="auto">
          <a:xfrm>
            <a:off x="8703523" y="1281999"/>
            <a:ext cx="3314581" cy="24622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indent="0">
              <a:spcBef>
                <a:spcPct val="0"/>
              </a:spcBef>
              <a:spcAft>
                <a:spcPct val="0"/>
              </a:spcAft>
              <a:buNone/>
            </a:pPr>
            <a:r>
              <a:rPr lang="el-GR" altLang="en-US" sz="1600" b="1">
                <a:solidFill>
                  <a:srgbClr val="155596"/>
                </a:solidFill>
                <a:latin typeface="Arial"/>
                <a:cs typeface="Arial"/>
              </a:rPr>
              <a:t>Προγραμματικοί Πόροι</a:t>
            </a:r>
            <a:r>
              <a:rPr lang="en-US" altLang="en-US" sz="1600" b="1">
                <a:solidFill>
                  <a:srgbClr val="155596"/>
                </a:solidFill>
                <a:latin typeface="Arial"/>
                <a:cs typeface="Arial"/>
              </a:rPr>
              <a:t> </a:t>
            </a:r>
            <a:r>
              <a:rPr lang="el-GR" altLang="en-US" sz="1600" b="1">
                <a:solidFill>
                  <a:srgbClr val="104D8C"/>
                </a:solidFill>
                <a:latin typeface="Arial" panose="020B0604020202020204" pitchFamily="34" charset="0"/>
                <a:cs typeface="Arial" panose="020B0604020202020204" pitchFamily="34" charset="0"/>
              </a:rPr>
              <a:t>1.629 εκ. €</a:t>
            </a:r>
            <a:endParaRPr lang="el-GR" sz="1400" b="1">
              <a:solidFill>
                <a:srgbClr val="104D8C"/>
              </a:solidFill>
              <a:latin typeface="Arial" panose="020B0604020202020204" pitchFamily="34" charset="0"/>
              <a:cs typeface="Arial" panose="020B0604020202020204" pitchFamily="34" charset="0"/>
            </a:endParaRPr>
          </a:p>
        </p:txBody>
      </p:sp>
      <p:sp>
        <p:nvSpPr>
          <p:cNvPr id="104" name="Text Placeholder 2">
            <a:extLst>
              <a:ext uri="{FF2B5EF4-FFF2-40B4-BE49-F238E27FC236}">
                <a16:creationId xmlns:a16="http://schemas.microsoft.com/office/drawing/2014/main" id="{38AAC2D7-BC9A-4B6F-8CDF-5B0348095DE6}"/>
              </a:ext>
            </a:extLst>
          </p:cNvPr>
          <p:cNvSpPr>
            <a:spLocks noGrp="1"/>
          </p:cNvSpPr>
          <p:nvPr>
            <p:custDataLst>
              <p:tags r:id="rId5"/>
            </p:custDataLst>
          </p:nvPr>
        </p:nvSpPr>
        <p:spPr bwMode="auto">
          <a:xfrm>
            <a:off x="8629106" y="1647737"/>
            <a:ext cx="3780337" cy="46769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indent="0">
              <a:spcBef>
                <a:spcPct val="0"/>
              </a:spcBef>
              <a:spcAft>
                <a:spcPts val="300"/>
              </a:spcAft>
              <a:buNone/>
            </a:pPr>
            <a:r>
              <a:rPr lang="el-GR" altLang="en-US" sz="1800" dirty="0">
                <a:solidFill>
                  <a:schemeClr val="bg1">
                    <a:lumMod val="50000"/>
                  </a:schemeClr>
                </a:solidFill>
                <a:latin typeface="Arial" panose="020B0604020202020204" pitchFamily="34" charset="0"/>
                <a:cs typeface="Arial" panose="020B0604020202020204" pitchFamily="34" charset="0"/>
              </a:rPr>
              <a:t>Εξειδικεύσεις </a:t>
            </a:r>
            <a:r>
              <a:rPr lang="el-GR" altLang="en-US" sz="1800" b="1" dirty="0">
                <a:solidFill>
                  <a:schemeClr val="bg1">
                    <a:lumMod val="50000"/>
                  </a:schemeClr>
                </a:solidFill>
                <a:latin typeface="Arial" panose="020B0604020202020204" pitchFamily="34" charset="0"/>
                <a:cs typeface="Arial" panose="020B0604020202020204" pitchFamily="34" charset="0"/>
              </a:rPr>
              <a:t>1.</a:t>
            </a:r>
            <a:r>
              <a:rPr lang="en-US" altLang="en-US" sz="1800" b="1" dirty="0">
                <a:solidFill>
                  <a:schemeClr val="bg1">
                    <a:lumMod val="50000"/>
                  </a:schemeClr>
                </a:solidFill>
                <a:latin typeface="Arial" panose="020B0604020202020204" pitchFamily="34" charset="0"/>
                <a:cs typeface="Arial" panose="020B0604020202020204" pitchFamily="34" charset="0"/>
              </a:rPr>
              <a:t>117 </a:t>
            </a:r>
            <a:r>
              <a:rPr lang="el-GR" altLang="en-US" sz="1800" b="1" dirty="0">
                <a:solidFill>
                  <a:schemeClr val="bg1">
                    <a:lumMod val="50000"/>
                  </a:schemeClr>
                </a:solidFill>
                <a:latin typeface="Arial" panose="020B0604020202020204" pitchFamily="34" charset="0"/>
                <a:cs typeface="Arial" panose="020B0604020202020204" pitchFamily="34" charset="0"/>
              </a:rPr>
              <a:t>εκ. € (6</a:t>
            </a:r>
            <a:r>
              <a:rPr lang="en-US" altLang="en-US" sz="1800" b="1" dirty="0">
                <a:solidFill>
                  <a:schemeClr val="bg1">
                    <a:lumMod val="50000"/>
                  </a:schemeClr>
                </a:solidFill>
                <a:latin typeface="Arial" panose="020B0604020202020204" pitchFamily="34" charset="0"/>
                <a:cs typeface="Arial" panose="020B0604020202020204" pitchFamily="34" charset="0"/>
              </a:rPr>
              <a:t>9</a:t>
            </a:r>
            <a:r>
              <a:rPr lang="el-GR" altLang="en-US" sz="1800" b="1" dirty="0">
                <a:solidFill>
                  <a:schemeClr val="bg1">
                    <a:lumMod val="50000"/>
                  </a:schemeClr>
                </a:solidFill>
                <a:latin typeface="Arial" panose="020B0604020202020204" pitchFamily="34" charset="0"/>
                <a:cs typeface="Arial" panose="020B0604020202020204" pitchFamily="34" charset="0"/>
              </a:rPr>
              <a:t>%)</a:t>
            </a:r>
            <a:endParaRPr lang="el-GR" sz="2000" b="1" dirty="0">
              <a:solidFill>
                <a:schemeClr val="bg1">
                  <a:lumMod val="50000"/>
                </a:schemeClr>
              </a:solidFill>
              <a:latin typeface="Arial" panose="020B0604020202020204" pitchFamily="34" charset="0"/>
              <a:cs typeface="Arial" panose="020B0604020202020204" pitchFamily="34" charset="0"/>
            </a:endParaRPr>
          </a:p>
        </p:txBody>
      </p:sp>
      <p:graphicFrame>
        <p:nvGraphicFramePr>
          <p:cNvPr id="105" name="Chart 104">
            <a:extLst>
              <a:ext uri="{FF2B5EF4-FFF2-40B4-BE49-F238E27FC236}">
                <a16:creationId xmlns:a16="http://schemas.microsoft.com/office/drawing/2014/main" id="{655F73C6-7D44-C8AE-378A-148FD79E8B4E}"/>
              </a:ext>
            </a:extLst>
          </p:cNvPr>
          <p:cNvGraphicFramePr/>
          <p:nvPr/>
        </p:nvGraphicFramePr>
        <p:xfrm>
          <a:off x="3807954" y="1884695"/>
          <a:ext cx="5216311" cy="874264"/>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06" name="Chart 105">
            <a:extLst>
              <a:ext uri="{FF2B5EF4-FFF2-40B4-BE49-F238E27FC236}">
                <a16:creationId xmlns:a16="http://schemas.microsoft.com/office/drawing/2014/main" id="{B1679EB5-DDD3-2269-E219-33420017876B}"/>
              </a:ext>
            </a:extLst>
          </p:cNvPr>
          <p:cNvGraphicFramePr/>
          <p:nvPr/>
        </p:nvGraphicFramePr>
        <p:xfrm>
          <a:off x="3818749" y="3415831"/>
          <a:ext cx="4778588" cy="874264"/>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107" name="Chart 106">
            <a:extLst>
              <a:ext uri="{FF2B5EF4-FFF2-40B4-BE49-F238E27FC236}">
                <a16:creationId xmlns:a16="http://schemas.microsoft.com/office/drawing/2014/main" id="{03332A2B-6614-0A53-2358-518E58C76FA9}"/>
              </a:ext>
            </a:extLst>
          </p:cNvPr>
          <p:cNvGraphicFramePr/>
          <p:nvPr/>
        </p:nvGraphicFramePr>
        <p:xfrm>
          <a:off x="3818749" y="1103159"/>
          <a:ext cx="7173455" cy="874264"/>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108" name="Chart 107">
            <a:extLst>
              <a:ext uri="{FF2B5EF4-FFF2-40B4-BE49-F238E27FC236}">
                <a16:creationId xmlns:a16="http://schemas.microsoft.com/office/drawing/2014/main" id="{5F9EA230-C255-CE1D-0056-38B63A8512E1}"/>
              </a:ext>
            </a:extLst>
          </p:cNvPr>
          <p:cNvGraphicFramePr/>
          <p:nvPr/>
        </p:nvGraphicFramePr>
        <p:xfrm>
          <a:off x="3807953" y="2662347"/>
          <a:ext cx="3447921" cy="874264"/>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109" name="Chart 108">
            <a:extLst>
              <a:ext uri="{FF2B5EF4-FFF2-40B4-BE49-F238E27FC236}">
                <a16:creationId xmlns:a16="http://schemas.microsoft.com/office/drawing/2014/main" id="{6E0A06AE-DEA1-83A2-F181-3379ACDD6690}"/>
              </a:ext>
            </a:extLst>
          </p:cNvPr>
          <p:cNvGraphicFramePr/>
          <p:nvPr/>
        </p:nvGraphicFramePr>
        <p:xfrm>
          <a:off x="3818749" y="4215917"/>
          <a:ext cx="3358305" cy="874264"/>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110" name="Chart 109">
            <a:extLst>
              <a:ext uri="{FF2B5EF4-FFF2-40B4-BE49-F238E27FC236}">
                <a16:creationId xmlns:a16="http://schemas.microsoft.com/office/drawing/2014/main" id="{8A86FD6E-7463-5778-7E7F-71AB4FB6F0C2}"/>
              </a:ext>
            </a:extLst>
          </p:cNvPr>
          <p:cNvGraphicFramePr/>
          <p:nvPr/>
        </p:nvGraphicFramePr>
        <p:xfrm>
          <a:off x="3812557" y="5025965"/>
          <a:ext cx="3443315" cy="874264"/>
        </p:xfrm>
        <a:graphic>
          <a:graphicData uri="http://schemas.openxmlformats.org/drawingml/2006/chart">
            <c:chart xmlns:c="http://schemas.openxmlformats.org/drawingml/2006/chart" xmlns:r="http://schemas.openxmlformats.org/officeDocument/2006/relationships" r:id="rId24"/>
          </a:graphicData>
        </a:graphic>
      </p:graphicFrame>
      <p:sp>
        <p:nvSpPr>
          <p:cNvPr id="111" name="Rectangle 110">
            <a:extLst>
              <a:ext uri="{FF2B5EF4-FFF2-40B4-BE49-F238E27FC236}">
                <a16:creationId xmlns:a16="http://schemas.microsoft.com/office/drawing/2014/main" id="{47D4AAB0-DE28-7E89-6A65-5EB760F256EC}"/>
              </a:ext>
            </a:extLst>
          </p:cNvPr>
          <p:cNvSpPr/>
          <p:nvPr>
            <p:custDataLst>
              <p:tags r:id="rId6"/>
            </p:custDataLst>
          </p:nvPr>
        </p:nvSpPr>
        <p:spPr bwMode="auto">
          <a:xfrm>
            <a:off x="10970371" y="4940028"/>
            <a:ext cx="216000" cy="180000"/>
          </a:xfrm>
          <a:prstGeom prst="rect">
            <a:avLst/>
          </a:prstGeom>
          <a:solidFill>
            <a:srgbClr val="F4B183"/>
          </a:solidFill>
          <a:ln w="9525"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112" name="Text Placeholder 2">
            <a:extLst>
              <a:ext uri="{FF2B5EF4-FFF2-40B4-BE49-F238E27FC236}">
                <a16:creationId xmlns:a16="http://schemas.microsoft.com/office/drawing/2014/main" id="{5C2C073A-0FB1-8591-FAA6-00766C72BB52}"/>
              </a:ext>
            </a:extLst>
          </p:cNvPr>
          <p:cNvSpPr>
            <a:spLocks noGrp="1"/>
          </p:cNvSpPr>
          <p:nvPr>
            <p:custDataLst>
              <p:tags r:id="rId7"/>
            </p:custDataLst>
          </p:nvPr>
        </p:nvSpPr>
        <p:spPr bwMode="auto">
          <a:xfrm>
            <a:off x="8757461" y="4962204"/>
            <a:ext cx="676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indent="0">
              <a:spcBef>
                <a:spcPct val="0"/>
              </a:spcBef>
              <a:spcAft>
                <a:spcPct val="0"/>
              </a:spcAft>
              <a:buNone/>
            </a:pPr>
            <a:r>
              <a:rPr lang="el-GR" altLang="en-US" sz="1100">
                <a:solidFill>
                  <a:srgbClr val="104D8C"/>
                </a:solidFill>
                <a:latin typeface="Arial" panose="020B0604020202020204" pitchFamily="34" charset="0"/>
                <a:cs typeface="Arial" panose="020B0604020202020204" pitchFamily="34" charset="0"/>
              </a:rPr>
              <a:t>Προσκλήσεις</a:t>
            </a:r>
            <a:endParaRPr lang="el-GR" sz="1000">
              <a:solidFill>
                <a:srgbClr val="104D8C"/>
              </a:solidFill>
              <a:latin typeface="Arial" panose="020B0604020202020204" pitchFamily="34" charset="0"/>
              <a:cs typeface="Arial" panose="020B0604020202020204" pitchFamily="34" charset="0"/>
            </a:endParaRPr>
          </a:p>
        </p:txBody>
      </p:sp>
      <p:sp>
        <p:nvSpPr>
          <p:cNvPr id="113" name="Text Placeholder 2">
            <a:extLst>
              <a:ext uri="{FF2B5EF4-FFF2-40B4-BE49-F238E27FC236}">
                <a16:creationId xmlns:a16="http://schemas.microsoft.com/office/drawing/2014/main" id="{6CF9D493-2273-E050-6B5D-A62FA8AC2600}"/>
              </a:ext>
            </a:extLst>
          </p:cNvPr>
          <p:cNvSpPr>
            <a:spLocks noGrp="1"/>
          </p:cNvSpPr>
          <p:nvPr>
            <p:custDataLst>
              <p:tags r:id="rId8"/>
            </p:custDataLst>
          </p:nvPr>
        </p:nvSpPr>
        <p:spPr bwMode="auto">
          <a:xfrm>
            <a:off x="10101048" y="4962204"/>
            <a:ext cx="431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indent="0">
              <a:spcBef>
                <a:spcPct val="0"/>
              </a:spcBef>
              <a:spcAft>
                <a:spcPct val="0"/>
              </a:spcAft>
              <a:buNone/>
            </a:pPr>
            <a:r>
              <a:rPr lang="el-GR" altLang="en-US" sz="1100">
                <a:solidFill>
                  <a:srgbClr val="104D8C"/>
                </a:solidFill>
                <a:latin typeface="Arial" panose="020B0604020202020204" pitchFamily="34" charset="0"/>
                <a:cs typeface="Arial" panose="020B0604020202020204" pitchFamily="34" charset="0"/>
              </a:rPr>
              <a:t>Εντάξεις</a:t>
            </a:r>
            <a:endParaRPr lang="el-GR" sz="1000">
              <a:solidFill>
                <a:srgbClr val="104D8C"/>
              </a:solidFill>
              <a:latin typeface="Arial" panose="020B0604020202020204" pitchFamily="34" charset="0"/>
              <a:cs typeface="Arial" panose="020B0604020202020204" pitchFamily="34" charset="0"/>
            </a:endParaRPr>
          </a:p>
        </p:txBody>
      </p:sp>
      <p:sp>
        <p:nvSpPr>
          <p:cNvPr id="114" name="Text Placeholder 2">
            <a:extLst>
              <a:ext uri="{FF2B5EF4-FFF2-40B4-BE49-F238E27FC236}">
                <a16:creationId xmlns:a16="http://schemas.microsoft.com/office/drawing/2014/main" id="{91F79B20-3BDB-2EFB-115A-C79508740F91}"/>
              </a:ext>
            </a:extLst>
          </p:cNvPr>
          <p:cNvSpPr>
            <a:spLocks noGrp="1"/>
          </p:cNvSpPr>
          <p:nvPr>
            <p:custDataLst>
              <p:tags r:id="rId9"/>
            </p:custDataLst>
          </p:nvPr>
        </p:nvSpPr>
        <p:spPr bwMode="auto">
          <a:xfrm>
            <a:off x="11284282" y="4882928"/>
            <a:ext cx="713871" cy="33855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indent="0">
              <a:spcBef>
                <a:spcPct val="0"/>
              </a:spcBef>
              <a:spcAft>
                <a:spcPct val="0"/>
              </a:spcAft>
              <a:buNone/>
            </a:pPr>
            <a:r>
              <a:rPr lang="el-GR" altLang="en-US" sz="1100">
                <a:solidFill>
                  <a:srgbClr val="104D8C"/>
                </a:solidFill>
                <a:latin typeface="Arial" panose="020B0604020202020204" pitchFamily="34" charset="0"/>
                <a:cs typeface="Arial" panose="020B0604020202020204" pitchFamily="34" charset="0"/>
              </a:rPr>
              <a:t>Νομικές </a:t>
            </a:r>
          </a:p>
          <a:p>
            <a:pPr marL="0" indent="0">
              <a:spcBef>
                <a:spcPct val="0"/>
              </a:spcBef>
              <a:spcAft>
                <a:spcPct val="0"/>
              </a:spcAft>
              <a:buNone/>
            </a:pPr>
            <a:r>
              <a:rPr lang="el-GR" altLang="en-US" sz="1100">
                <a:solidFill>
                  <a:srgbClr val="104D8C"/>
                </a:solidFill>
                <a:latin typeface="Arial" panose="020B0604020202020204" pitchFamily="34" charset="0"/>
                <a:cs typeface="Arial" panose="020B0604020202020204" pitchFamily="34" charset="0"/>
              </a:rPr>
              <a:t>Δεσμεύσεις</a:t>
            </a:r>
            <a:endParaRPr lang="el-GR" sz="1000">
              <a:solidFill>
                <a:srgbClr val="104D8C"/>
              </a:solidFill>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B80816AC-2D8F-6D35-20A4-07B637EFA750}"/>
              </a:ext>
            </a:extLst>
          </p:cNvPr>
          <p:cNvSpPr/>
          <p:nvPr>
            <p:custDataLst>
              <p:tags r:id="rId10"/>
            </p:custDataLst>
          </p:nvPr>
        </p:nvSpPr>
        <p:spPr bwMode="auto">
          <a:xfrm>
            <a:off x="8491175" y="4940029"/>
            <a:ext cx="216000" cy="180875"/>
          </a:xfrm>
          <a:prstGeom prst="rect">
            <a:avLst/>
          </a:prstGeom>
          <a:solidFill>
            <a:srgbClr val="97CA3F"/>
          </a:solidFill>
          <a:ln w="9525"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116" name="Rectangle 115">
            <a:extLst>
              <a:ext uri="{FF2B5EF4-FFF2-40B4-BE49-F238E27FC236}">
                <a16:creationId xmlns:a16="http://schemas.microsoft.com/office/drawing/2014/main" id="{1C0082D4-30D5-5213-E603-106089EE5C4D}"/>
              </a:ext>
            </a:extLst>
          </p:cNvPr>
          <p:cNvSpPr/>
          <p:nvPr>
            <p:custDataLst>
              <p:tags r:id="rId11"/>
            </p:custDataLst>
          </p:nvPr>
        </p:nvSpPr>
        <p:spPr bwMode="auto">
          <a:xfrm>
            <a:off x="9800960" y="4940028"/>
            <a:ext cx="216000" cy="180000"/>
          </a:xfrm>
          <a:prstGeom prst="rect">
            <a:avLst/>
          </a:prstGeom>
          <a:solidFill>
            <a:srgbClr val="0CACDC"/>
          </a:solidFill>
          <a:ln w="9525"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117" name="Text Placeholder 2">
            <a:extLst>
              <a:ext uri="{FF2B5EF4-FFF2-40B4-BE49-F238E27FC236}">
                <a16:creationId xmlns:a16="http://schemas.microsoft.com/office/drawing/2014/main" id="{EC93473D-31CD-3C00-D3ED-26B780221EAE}"/>
              </a:ext>
            </a:extLst>
          </p:cNvPr>
          <p:cNvSpPr>
            <a:spLocks noGrp="1"/>
          </p:cNvSpPr>
          <p:nvPr>
            <p:custDataLst>
              <p:tags r:id="rId12"/>
            </p:custDataLst>
          </p:nvPr>
        </p:nvSpPr>
        <p:spPr bwMode="auto">
          <a:xfrm>
            <a:off x="8470942" y="5326658"/>
            <a:ext cx="1190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indent="0">
              <a:spcBef>
                <a:spcPct val="0"/>
              </a:spcBef>
              <a:spcAft>
                <a:spcPct val="0"/>
              </a:spcAft>
              <a:buNone/>
            </a:pPr>
            <a:r>
              <a:rPr lang="el-GR" altLang="en-US" sz="1800" b="1">
                <a:solidFill>
                  <a:srgbClr val="97CA3F"/>
                </a:solidFill>
                <a:latin typeface="Arial" panose="020B0604020202020204" pitchFamily="34" charset="0"/>
                <a:cs typeface="Arial" panose="020B0604020202020204" pitchFamily="34" charset="0"/>
              </a:rPr>
              <a:t>1.</a:t>
            </a:r>
            <a:r>
              <a:rPr lang="en-US" altLang="en-US" sz="1800" b="1">
                <a:solidFill>
                  <a:srgbClr val="97CA3F"/>
                </a:solidFill>
                <a:latin typeface="Arial" panose="020B0604020202020204" pitchFamily="34" charset="0"/>
                <a:cs typeface="Arial" panose="020B0604020202020204" pitchFamily="34" charset="0"/>
              </a:rPr>
              <a:t>1</a:t>
            </a:r>
            <a:r>
              <a:rPr lang="el-GR" altLang="en-US" sz="1800" b="1">
                <a:solidFill>
                  <a:srgbClr val="97CA3F"/>
                </a:solidFill>
                <a:latin typeface="Arial" panose="020B0604020202020204" pitchFamily="34" charset="0"/>
                <a:cs typeface="Arial" panose="020B0604020202020204" pitchFamily="34" charset="0"/>
              </a:rPr>
              <a:t>26</a:t>
            </a:r>
            <a:r>
              <a:rPr lang="en-US" altLang="en-US" sz="1800" b="1">
                <a:solidFill>
                  <a:srgbClr val="97CA3F"/>
                </a:solidFill>
                <a:latin typeface="Arial" panose="020B0604020202020204" pitchFamily="34" charset="0"/>
                <a:cs typeface="Arial" panose="020B0604020202020204" pitchFamily="34" charset="0"/>
              </a:rPr>
              <a:t> </a:t>
            </a:r>
            <a:r>
              <a:rPr lang="el-GR" altLang="en-US" sz="1800" b="1">
                <a:solidFill>
                  <a:srgbClr val="97CA3F"/>
                </a:solidFill>
                <a:latin typeface="Arial" panose="020B0604020202020204" pitchFamily="34" charset="0"/>
                <a:cs typeface="Arial" panose="020B0604020202020204" pitchFamily="34" charset="0"/>
              </a:rPr>
              <a:t>εκ. €</a:t>
            </a:r>
            <a:endParaRPr lang="el-GR" sz="2000" b="1">
              <a:solidFill>
                <a:srgbClr val="97CA3F"/>
              </a:solidFill>
              <a:latin typeface="Arial" panose="020B0604020202020204" pitchFamily="34" charset="0"/>
              <a:cs typeface="Arial" panose="020B0604020202020204" pitchFamily="34" charset="0"/>
            </a:endParaRPr>
          </a:p>
        </p:txBody>
      </p:sp>
      <p:sp>
        <p:nvSpPr>
          <p:cNvPr id="118" name="Text Placeholder 2">
            <a:extLst>
              <a:ext uri="{FF2B5EF4-FFF2-40B4-BE49-F238E27FC236}">
                <a16:creationId xmlns:a16="http://schemas.microsoft.com/office/drawing/2014/main" id="{D5DD6A25-B1C7-03F1-ECAB-8B818E7712F2}"/>
              </a:ext>
            </a:extLst>
          </p:cNvPr>
          <p:cNvSpPr>
            <a:spLocks noGrp="1"/>
          </p:cNvSpPr>
          <p:nvPr>
            <p:custDataLst>
              <p:tags r:id="rId13"/>
            </p:custDataLst>
          </p:nvPr>
        </p:nvSpPr>
        <p:spPr bwMode="auto">
          <a:xfrm>
            <a:off x="9796749" y="5326658"/>
            <a:ext cx="1190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indent="0">
              <a:spcBef>
                <a:spcPct val="0"/>
              </a:spcBef>
              <a:spcAft>
                <a:spcPct val="0"/>
              </a:spcAft>
              <a:buNone/>
            </a:pPr>
            <a:r>
              <a:rPr lang="el-GR" altLang="en-US" sz="1800" b="1">
                <a:solidFill>
                  <a:srgbClr val="0CACDC"/>
                </a:solidFill>
                <a:latin typeface="Arial" panose="020B0604020202020204" pitchFamily="34" charset="0"/>
                <a:cs typeface="Arial" panose="020B0604020202020204" pitchFamily="34" charset="0"/>
              </a:rPr>
              <a:t>793 εκ. €</a:t>
            </a:r>
            <a:endParaRPr lang="el-GR" sz="2000" b="1">
              <a:solidFill>
                <a:srgbClr val="0CACDC"/>
              </a:solidFill>
              <a:latin typeface="Arial" panose="020B0604020202020204" pitchFamily="34" charset="0"/>
              <a:cs typeface="Arial" panose="020B0604020202020204" pitchFamily="34" charset="0"/>
            </a:endParaRPr>
          </a:p>
        </p:txBody>
      </p:sp>
      <p:sp>
        <p:nvSpPr>
          <p:cNvPr id="119" name="Text Placeholder 2">
            <a:extLst>
              <a:ext uri="{FF2B5EF4-FFF2-40B4-BE49-F238E27FC236}">
                <a16:creationId xmlns:a16="http://schemas.microsoft.com/office/drawing/2014/main" id="{34474E88-338A-6895-EF00-872F388D75C9}"/>
              </a:ext>
            </a:extLst>
          </p:cNvPr>
          <p:cNvSpPr>
            <a:spLocks noGrp="1"/>
          </p:cNvSpPr>
          <p:nvPr>
            <p:custDataLst>
              <p:tags r:id="rId14"/>
            </p:custDataLst>
          </p:nvPr>
        </p:nvSpPr>
        <p:spPr bwMode="auto">
          <a:xfrm>
            <a:off x="10982326" y="5326658"/>
            <a:ext cx="1190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indent="0">
              <a:spcBef>
                <a:spcPct val="0"/>
              </a:spcBef>
              <a:spcAft>
                <a:spcPct val="0"/>
              </a:spcAft>
              <a:buNone/>
            </a:pPr>
            <a:r>
              <a:rPr lang="el-GR" altLang="en-US" sz="1800" b="1">
                <a:solidFill>
                  <a:srgbClr val="F4B183"/>
                </a:solidFill>
                <a:latin typeface="Arial" panose="020B0604020202020204" pitchFamily="34" charset="0"/>
                <a:cs typeface="Arial" panose="020B0604020202020204" pitchFamily="34" charset="0"/>
              </a:rPr>
              <a:t>55</a:t>
            </a:r>
            <a:r>
              <a:rPr lang="en-US" altLang="en-US" sz="1800" b="1">
                <a:solidFill>
                  <a:srgbClr val="F4B183"/>
                </a:solidFill>
                <a:latin typeface="Arial" panose="020B0604020202020204" pitchFamily="34" charset="0"/>
                <a:cs typeface="Arial" panose="020B0604020202020204" pitchFamily="34" charset="0"/>
              </a:rPr>
              <a:t>2 </a:t>
            </a:r>
            <a:r>
              <a:rPr lang="el-GR" altLang="en-US" sz="1800" b="1">
                <a:solidFill>
                  <a:srgbClr val="F4B183"/>
                </a:solidFill>
                <a:latin typeface="Arial" panose="020B0604020202020204" pitchFamily="34" charset="0"/>
                <a:cs typeface="Arial" panose="020B0604020202020204" pitchFamily="34" charset="0"/>
              </a:rPr>
              <a:t>εκ. €</a:t>
            </a:r>
            <a:endParaRPr lang="el-GR" sz="2000" b="1">
              <a:solidFill>
                <a:srgbClr val="F4B183"/>
              </a:solidFill>
              <a:latin typeface="Arial" panose="020B0604020202020204" pitchFamily="34" charset="0"/>
              <a:cs typeface="Arial" panose="020B0604020202020204" pitchFamily="34" charset="0"/>
            </a:endParaRPr>
          </a:p>
        </p:txBody>
      </p:sp>
      <p:sp>
        <p:nvSpPr>
          <p:cNvPr id="120" name="TextBox 119">
            <a:extLst>
              <a:ext uri="{FF2B5EF4-FFF2-40B4-BE49-F238E27FC236}">
                <a16:creationId xmlns:a16="http://schemas.microsoft.com/office/drawing/2014/main" id="{EEE3B97D-7D6F-1BE9-954E-3FD7DE6F095B}"/>
              </a:ext>
            </a:extLst>
          </p:cNvPr>
          <p:cNvSpPr txBox="1"/>
          <p:nvPr/>
        </p:nvSpPr>
        <p:spPr>
          <a:xfrm>
            <a:off x="9997899" y="4003844"/>
            <a:ext cx="1576816" cy="523220"/>
          </a:xfrm>
          <a:prstGeom prst="rect">
            <a:avLst/>
          </a:prstGeom>
          <a:noFill/>
          <a:ln>
            <a:noFill/>
          </a:ln>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l-GR" sz="1400" b="1">
                <a:solidFill>
                  <a:schemeClr val="bg1"/>
                </a:solidFill>
                <a:latin typeface="Arial" panose="020B0604020202020204" pitchFamily="34" charset="0"/>
                <a:cs typeface="Arial" panose="020B0604020202020204" pitchFamily="34" charset="0"/>
              </a:rPr>
              <a:t>Νομικές</a:t>
            </a:r>
          </a:p>
          <a:p>
            <a:pPr algn="ctr"/>
            <a:r>
              <a:rPr lang="el-GR" sz="1400" b="1">
                <a:solidFill>
                  <a:schemeClr val="bg1"/>
                </a:solidFill>
                <a:latin typeface="Arial" panose="020B0604020202020204" pitchFamily="34" charset="0"/>
                <a:cs typeface="Arial" panose="020B0604020202020204" pitchFamily="34" charset="0"/>
              </a:rPr>
              <a:t>Δεσμεύσεις</a:t>
            </a:r>
            <a:endParaRPr lang="en-US" sz="1600">
              <a:latin typeface="Arial" panose="020B0604020202020204" pitchFamily="34" charset="0"/>
              <a:cs typeface="Arial" panose="020B0604020202020204" pitchFamily="34" charset="0"/>
            </a:endParaRPr>
          </a:p>
        </p:txBody>
      </p:sp>
      <p:sp>
        <p:nvSpPr>
          <p:cNvPr id="121" name="TextBox 120">
            <a:extLst>
              <a:ext uri="{FF2B5EF4-FFF2-40B4-BE49-F238E27FC236}">
                <a16:creationId xmlns:a16="http://schemas.microsoft.com/office/drawing/2014/main" id="{DD791ACA-BF2E-9176-FE44-19EEBE811986}"/>
              </a:ext>
            </a:extLst>
          </p:cNvPr>
          <p:cNvSpPr txBox="1"/>
          <p:nvPr/>
        </p:nvSpPr>
        <p:spPr>
          <a:xfrm>
            <a:off x="137685" y="5950578"/>
            <a:ext cx="1375431" cy="254044"/>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71446" indent="-171446">
              <a:buFontTx/>
              <a:buChar char="-"/>
            </a:pPr>
            <a:r>
              <a:rPr lang="el-GR" sz="1051" b="1" i="1">
                <a:solidFill>
                  <a:srgbClr val="1F497D"/>
                </a:solidFill>
                <a:latin typeface="Arial" panose="020B0604020202020204" pitchFamily="34" charset="0"/>
                <a:cs typeface="Arial" panose="020B0604020202020204" pitchFamily="34" charset="0"/>
              </a:rPr>
              <a:t>Ποσά σε εκ. €</a:t>
            </a:r>
          </a:p>
        </p:txBody>
      </p:sp>
      <p:sp>
        <p:nvSpPr>
          <p:cNvPr id="50" name="Title 1">
            <a:extLst>
              <a:ext uri="{FF2B5EF4-FFF2-40B4-BE49-F238E27FC236}">
                <a16:creationId xmlns:a16="http://schemas.microsoft.com/office/drawing/2014/main" id="{43D1529E-2718-E672-D1B5-1416AE3C03A1}"/>
              </a:ext>
            </a:extLst>
          </p:cNvPr>
          <p:cNvSpPr>
            <a:spLocks noGrp="1"/>
          </p:cNvSpPr>
          <p:nvPr>
            <p:ph type="title"/>
          </p:nvPr>
        </p:nvSpPr>
        <p:spPr>
          <a:xfrm>
            <a:off x="25400" y="42865"/>
            <a:ext cx="11992704" cy="660793"/>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mn-lt"/>
                <a:ea typeface="Urbanist" panose="020B0604020202020204" charset="0"/>
                <a:cs typeface="Urbanist" panose="020B0604020202020204" charset="0"/>
              </a:rPr>
              <a:t>ΕΣΠΑ ΔΑΜ 2021-2027 - Πορεία Υλοποίησης Προγράμματος</a:t>
            </a:r>
          </a:p>
        </p:txBody>
      </p:sp>
      <p:sp>
        <p:nvSpPr>
          <p:cNvPr id="15" name="TextBox 14">
            <a:extLst>
              <a:ext uri="{FF2B5EF4-FFF2-40B4-BE49-F238E27FC236}">
                <a16:creationId xmlns:a16="http://schemas.microsoft.com/office/drawing/2014/main" id="{7CF71218-34BC-7533-2E20-B746A84FD2F0}"/>
              </a:ext>
            </a:extLst>
          </p:cNvPr>
          <p:cNvSpPr txBox="1"/>
          <p:nvPr/>
        </p:nvSpPr>
        <p:spPr>
          <a:xfrm rot="3334383">
            <a:off x="10238862" y="3346374"/>
            <a:ext cx="1439799" cy="307777"/>
          </a:xfrm>
          <a:prstGeom prst="rect">
            <a:avLst/>
          </a:prstGeom>
          <a:noFill/>
          <a:ln>
            <a:noFill/>
          </a:ln>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l-GR" sz="1400" b="1">
                <a:solidFill>
                  <a:schemeClr val="bg1"/>
                </a:solidFill>
                <a:latin typeface="Arial" panose="020B0604020202020204" pitchFamily="34" charset="0"/>
                <a:cs typeface="Arial" panose="020B0604020202020204" pitchFamily="34" charset="0"/>
              </a:rPr>
              <a:t>Εντάξεις</a:t>
            </a:r>
            <a:endParaRPr lang="en-US" sz="1600">
              <a:latin typeface="Arial" panose="020B0604020202020204" pitchFamily="34" charset="0"/>
              <a:cs typeface="Arial" panose="020B0604020202020204" pitchFamily="34" charset="0"/>
            </a:endParaRPr>
          </a:p>
        </p:txBody>
      </p:sp>
      <p:cxnSp>
        <p:nvCxnSpPr>
          <p:cNvPr id="122" name="Ευθεία γραμμή σύνδεσης 121">
            <a:extLst>
              <a:ext uri="{FF2B5EF4-FFF2-40B4-BE49-F238E27FC236}">
                <a16:creationId xmlns:a16="http://schemas.microsoft.com/office/drawing/2014/main" id="{0FD93CB1-946D-44E9-80E7-12967CFF20CA}"/>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123" name="Ομάδα 122">
            <a:extLst>
              <a:ext uri="{FF2B5EF4-FFF2-40B4-BE49-F238E27FC236}">
                <a16:creationId xmlns:a16="http://schemas.microsoft.com/office/drawing/2014/main" id="{9F6CEFAC-C0CF-4EFA-9B96-8E2E95AD79E3}"/>
              </a:ext>
            </a:extLst>
          </p:cNvPr>
          <p:cNvGrpSpPr/>
          <p:nvPr/>
        </p:nvGrpSpPr>
        <p:grpSpPr>
          <a:xfrm>
            <a:off x="9142669" y="114941"/>
            <a:ext cx="3049332" cy="667839"/>
            <a:chOff x="6857001" y="38580"/>
            <a:chExt cx="2286999" cy="500879"/>
          </a:xfrm>
        </p:grpSpPr>
        <p:sp>
          <p:nvSpPr>
            <p:cNvPr id="124" name="Google Shape;95;p11">
              <a:extLst>
                <a:ext uri="{FF2B5EF4-FFF2-40B4-BE49-F238E27FC236}">
                  <a16:creationId xmlns:a16="http://schemas.microsoft.com/office/drawing/2014/main" id="{1338C048-8E12-46A4-A076-795B4CA47F3F}"/>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125" name="Picture 2" descr="Εικόνα που μεταφορτώθηκε">
              <a:extLst>
                <a:ext uri="{FF2B5EF4-FFF2-40B4-BE49-F238E27FC236}">
                  <a16:creationId xmlns:a16="http://schemas.microsoft.com/office/drawing/2014/main" id="{31DDBF13-8C66-4E7F-9761-2A8B4C23CEC8}"/>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9407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06">
          <a:extLst>
            <a:ext uri="{FF2B5EF4-FFF2-40B4-BE49-F238E27FC236}">
              <a16:creationId xmlns:a16="http://schemas.microsoft.com/office/drawing/2014/main" id="{83A38F69-61D2-D366-F122-7EA0D915C394}"/>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BCA9E238-EB05-3603-9A27-6ACC64B7B469}"/>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14" imgW="350" imgH="350" progId="TCLayout.ActiveDocument.1">
                  <p:embed/>
                </p:oleObj>
              </mc:Choice>
              <mc:Fallback>
                <p:oleObj name="think-cell Slide" r:id="rId14" imgW="350" imgH="350" progId="TCLayout.ActiveDocument.1">
                  <p:embed/>
                  <p:pic>
                    <p:nvPicPr>
                      <p:cNvPr id="45" name="think-cell data - do not delete" hidden="1">
                        <a:extLst>
                          <a:ext uri="{FF2B5EF4-FFF2-40B4-BE49-F238E27FC236}">
                            <a16:creationId xmlns:a16="http://schemas.microsoft.com/office/drawing/2014/main" id="{BCA9E238-EB05-3603-9A27-6ACC64B7B469}"/>
                          </a:ext>
                        </a:extLst>
                      </p:cNvPr>
                      <p:cNvPicPr/>
                      <p:nvPr/>
                    </p:nvPicPr>
                    <p:blipFill>
                      <a:blip r:embed="rId15"/>
                      <a:stretch>
                        <a:fillRect/>
                      </a:stretch>
                    </p:blipFill>
                    <p:spPr>
                      <a:xfrm>
                        <a:off x="1589" y="1589"/>
                        <a:ext cx="1588" cy="1588"/>
                      </a:xfrm>
                      <a:prstGeom prst="rect">
                        <a:avLst/>
                      </a:prstGeom>
                    </p:spPr>
                  </p:pic>
                </p:oleObj>
              </mc:Fallback>
            </mc:AlternateContent>
          </a:graphicData>
        </a:graphic>
      </p:graphicFrame>
      <p:graphicFrame>
        <p:nvGraphicFramePr>
          <p:cNvPr id="23" name="Chart 22">
            <a:extLst>
              <a:ext uri="{FF2B5EF4-FFF2-40B4-BE49-F238E27FC236}">
                <a16:creationId xmlns:a16="http://schemas.microsoft.com/office/drawing/2014/main" id="{BCAA388A-4B6E-4610-B8A1-A9D47DBDD0C5}"/>
              </a:ext>
            </a:extLst>
          </p:cNvPr>
          <p:cNvGraphicFramePr/>
          <p:nvPr>
            <p:custDataLst>
              <p:tags r:id="rId3"/>
            </p:custDataLst>
          </p:nvPr>
        </p:nvGraphicFramePr>
        <p:xfrm>
          <a:off x="-167301" y="1204174"/>
          <a:ext cx="5375577" cy="4502135"/>
        </p:xfrm>
        <a:graphic>
          <a:graphicData uri="http://schemas.openxmlformats.org/drawingml/2006/chart">
            <c:chart xmlns:c="http://schemas.openxmlformats.org/drawingml/2006/chart" xmlns:r="http://schemas.openxmlformats.org/officeDocument/2006/relationships" r:id="rId16"/>
          </a:graphicData>
        </a:graphic>
      </p:graphicFrame>
      <p:sp>
        <p:nvSpPr>
          <p:cNvPr id="53" name="TextBox 52">
            <a:extLst>
              <a:ext uri="{FF2B5EF4-FFF2-40B4-BE49-F238E27FC236}">
                <a16:creationId xmlns:a16="http://schemas.microsoft.com/office/drawing/2014/main" id="{EB317125-671E-4B34-536D-861FF67BA6A0}"/>
              </a:ext>
            </a:extLst>
          </p:cNvPr>
          <p:cNvSpPr txBox="1"/>
          <p:nvPr/>
        </p:nvSpPr>
        <p:spPr>
          <a:xfrm>
            <a:off x="7953298" y="5654567"/>
            <a:ext cx="3142007" cy="276999"/>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a:solidFill>
                  <a:srgbClr val="104D8C"/>
                </a:solidFill>
                <a:latin typeface="Arial" panose="020B0604020202020204" pitchFamily="34" charset="0"/>
                <a:cs typeface="Arial" panose="020B0604020202020204" pitchFamily="34" charset="0"/>
              </a:rPr>
              <a:t>% </a:t>
            </a:r>
            <a:r>
              <a:rPr lang="el-GR" sz="1200" b="1">
                <a:solidFill>
                  <a:srgbClr val="104D8C"/>
                </a:solidFill>
                <a:latin typeface="Arial" panose="020B0604020202020204" pitchFamily="34" charset="0"/>
                <a:cs typeface="Arial" panose="020B0604020202020204" pitchFamily="34" charset="0"/>
              </a:rPr>
              <a:t>του συνολικού Π/Υ</a:t>
            </a:r>
            <a:endParaRPr lang="en-US" sz="1200" b="1">
              <a:solidFill>
                <a:srgbClr val="104D8C"/>
              </a:solidFill>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69F439A2-E55A-F5F3-52A1-58D4E089FC02}"/>
              </a:ext>
            </a:extLst>
          </p:cNvPr>
          <p:cNvSpPr/>
          <p:nvPr>
            <p:custDataLst>
              <p:tags r:id="rId4"/>
            </p:custDataLst>
          </p:nvPr>
        </p:nvSpPr>
        <p:spPr bwMode="auto">
          <a:xfrm>
            <a:off x="487019" y="5572958"/>
            <a:ext cx="179388" cy="133351"/>
          </a:xfrm>
          <a:prstGeom prst="rect">
            <a:avLst/>
          </a:prstGeom>
          <a:solidFill>
            <a:srgbClr val="104D8C"/>
          </a:solidFill>
          <a:ln w="9525" cap="flat" cmpd="sng" algn="ctr">
            <a:solidFill>
              <a:srgbClr val="FFFFFF"/>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78" name="Rectangle 77">
            <a:extLst>
              <a:ext uri="{FF2B5EF4-FFF2-40B4-BE49-F238E27FC236}">
                <a16:creationId xmlns:a16="http://schemas.microsoft.com/office/drawing/2014/main" id="{84C0771E-9CD6-177E-DCC5-720E31013B88}"/>
              </a:ext>
            </a:extLst>
          </p:cNvPr>
          <p:cNvSpPr/>
          <p:nvPr>
            <p:custDataLst>
              <p:tags r:id="rId5"/>
            </p:custDataLst>
          </p:nvPr>
        </p:nvSpPr>
        <p:spPr bwMode="auto">
          <a:xfrm>
            <a:off x="1258462" y="5572958"/>
            <a:ext cx="179388" cy="133351"/>
          </a:xfrm>
          <a:prstGeom prst="rect">
            <a:avLst/>
          </a:prstGeom>
          <a:solidFill>
            <a:srgbClr val="A6A6A6"/>
          </a:solidFill>
          <a:ln w="9525" cap="flat" cmpd="sng" algn="ctr">
            <a:solidFill>
              <a:srgbClr val="FFFFFF"/>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79" name="Rectangle 78">
            <a:extLst>
              <a:ext uri="{FF2B5EF4-FFF2-40B4-BE49-F238E27FC236}">
                <a16:creationId xmlns:a16="http://schemas.microsoft.com/office/drawing/2014/main" id="{C4B73AF4-FE81-223F-2F61-26BF224A40EF}"/>
              </a:ext>
            </a:extLst>
          </p:cNvPr>
          <p:cNvSpPr/>
          <p:nvPr>
            <p:custDataLst>
              <p:tags r:id="rId6"/>
            </p:custDataLst>
          </p:nvPr>
        </p:nvSpPr>
        <p:spPr bwMode="auto">
          <a:xfrm>
            <a:off x="2029903" y="5572958"/>
            <a:ext cx="179388" cy="133351"/>
          </a:xfrm>
          <a:prstGeom prst="rect">
            <a:avLst/>
          </a:prstGeom>
          <a:solidFill>
            <a:srgbClr val="92D050"/>
          </a:solidFill>
          <a:ln w="9525" cap="flat" cmpd="sng" algn="ctr">
            <a:solidFill>
              <a:srgbClr val="FFFFFF"/>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80" name="Rectangle 79">
            <a:extLst>
              <a:ext uri="{FF2B5EF4-FFF2-40B4-BE49-F238E27FC236}">
                <a16:creationId xmlns:a16="http://schemas.microsoft.com/office/drawing/2014/main" id="{81E316C5-871A-C115-3FF7-356292044343}"/>
              </a:ext>
            </a:extLst>
          </p:cNvPr>
          <p:cNvSpPr/>
          <p:nvPr/>
        </p:nvSpPr>
        <p:spPr bwMode="auto">
          <a:xfrm>
            <a:off x="2801346" y="5572958"/>
            <a:ext cx="179388" cy="133351"/>
          </a:xfrm>
          <a:prstGeom prst="rect">
            <a:avLst/>
          </a:prstGeom>
          <a:solidFill>
            <a:srgbClr val="0CACDC"/>
          </a:solidFill>
          <a:ln w="9525" cap="flat" cmpd="sng" algn="ctr">
            <a:solidFill>
              <a:srgbClr val="FFFFFF"/>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73" name="Rectangle 72">
            <a:extLst>
              <a:ext uri="{FF2B5EF4-FFF2-40B4-BE49-F238E27FC236}">
                <a16:creationId xmlns:a16="http://schemas.microsoft.com/office/drawing/2014/main" id="{64214763-9C42-7FA8-674F-293FFD190C5D}"/>
              </a:ext>
            </a:extLst>
          </p:cNvPr>
          <p:cNvSpPr/>
          <p:nvPr>
            <p:custDataLst>
              <p:tags r:id="rId7"/>
            </p:custDataLst>
          </p:nvPr>
        </p:nvSpPr>
        <p:spPr bwMode="auto">
          <a:xfrm>
            <a:off x="372332" y="5709963"/>
            <a:ext cx="444568" cy="30777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spcBef>
                <a:spcPct val="0"/>
              </a:spcBef>
              <a:spcAft>
                <a:spcPct val="0"/>
              </a:spcAft>
            </a:pPr>
            <a:r>
              <a:rPr lang="el-GR" altLang="en-US" sz="1000" err="1">
                <a:solidFill>
                  <a:schemeClr val="tx1"/>
                </a:solidFill>
                <a:latin typeface="Arial" panose="020B0604020202020204" pitchFamily="34" charset="0"/>
                <a:cs typeface="Arial" panose="020B0604020202020204" pitchFamily="34" charset="0"/>
                <a:sym typeface="Arial" panose="020B0604020202020204" pitchFamily="34" charset="0"/>
              </a:rPr>
              <a:t>Προγρ</a:t>
            </a:r>
            <a:r>
              <a:rPr lang="el-GR" altLang="en-US" sz="1000">
                <a:solidFill>
                  <a:schemeClr val="tx1"/>
                </a:solidFill>
                <a:latin typeface="Arial" panose="020B0604020202020204" pitchFamily="34" charset="0"/>
                <a:cs typeface="Arial" panose="020B0604020202020204" pitchFamily="34" charset="0"/>
                <a:sym typeface="Arial" panose="020B0604020202020204" pitchFamily="34" charset="0"/>
              </a:rPr>
              <a:t>. </a:t>
            </a:r>
          </a:p>
          <a:p>
            <a:pPr algn="ctr">
              <a:spcBef>
                <a:spcPct val="0"/>
              </a:spcBef>
              <a:spcAft>
                <a:spcPct val="0"/>
              </a:spcAft>
            </a:pPr>
            <a:r>
              <a:rPr lang="el-GR" sz="1000">
                <a:solidFill>
                  <a:schemeClr val="tx1"/>
                </a:solidFill>
                <a:latin typeface="Arial" panose="020B0604020202020204" pitchFamily="34" charset="0"/>
                <a:cs typeface="Arial" panose="020B0604020202020204" pitchFamily="34" charset="0"/>
                <a:sym typeface="Arial" panose="020B0604020202020204" pitchFamily="34" charset="0"/>
              </a:rPr>
              <a:t>Π/Υ</a:t>
            </a:r>
          </a:p>
        </p:txBody>
      </p:sp>
      <p:sp>
        <p:nvSpPr>
          <p:cNvPr id="74" name="Rectangle 73">
            <a:extLst>
              <a:ext uri="{FF2B5EF4-FFF2-40B4-BE49-F238E27FC236}">
                <a16:creationId xmlns:a16="http://schemas.microsoft.com/office/drawing/2014/main" id="{844CED01-18A9-FB45-4FCD-40C24685BB62}"/>
              </a:ext>
            </a:extLst>
          </p:cNvPr>
          <p:cNvSpPr/>
          <p:nvPr>
            <p:custDataLst>
              <p:tags r:id="rId8"/>
            </p:custDataLst>
          </p:nvPr>
        </p:nvSpPr>
        <p:spPr bwMode="auto">
          <a:xfrm>
            <a:off x="970515" y="5709963"/>
            <a:ext cx="745932" cy="1538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Bef>
                <a:spcPct val="0"/>
              </a:spcBef>
              <a:spcAft>
                <a:spcPct val="0"/>
              </a:spcAft>
            </a:pPr>
            <a:r>
              <a:rPr lang="el-GR" altLang="en-US" sz="1000">
                <a:solidFill>
                  <a:schemeClr val="tx1"/>
                </a:solidFill>
                <a:latin typeface="Arial" panose="020B0604020202020204" pitchFamily="34" charset="0"/>
                <a:cs typeface="Arial" panose="020B0604020202020204" pitchFamily="34" charset="0"/>
                <a:sym typeface="Arial" panose="020B0604020202020204" pitchFamily="34" charset="0"/>
              </a:rPr>
              <a:t>Εξειδικεύσεις</a:t>
            </a:r>
            <a:endParaRPr lang="el-GR" sz="9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Rectangle 74">
            <a:extLst>
              <a:ext uri="{FF2B5EF4-FFF2-40B4-BE49-F238E27FC236}">
                <a16:creationId xmlns:a16="http://schemas.microsoft.com/office/drawing/2014/main" id="{52C6E03B-6E1C-8118-D489-3A99F9F9EDB9}"/>
              </a:ext>
            </a:extLst>
          </p:cNvPr>
          <p:cNvSpPr/>
          <p:nvPr>
            <p:custDataLst>
              <p:tags r:id="rId9"/>
            </p:custDataLst>
          </p:nvPr>
        </p:nvSpPr>
        <p:spPr bwMode="auto">
          <a:xfrm>
            <a:off x="1809847" y="5709963"/>
            <a:ext cx="739519" cy="1538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Bef>
                <a:spcPct val="0"/>
              </a:spcBef>
              <a:spcAft>
                <a:spcPct val="0"/>
              </a:spcAft>
            </a:pPr>
            <a:r>
              <a:rPr lang="el-GR" altLang="en-US" sz="1000">
                <a:solidFill>
                  <a:schemeClr val="tx1"/>
                </a:solidFill>
                <a:latin typeface="Arial" panose="020B0604020202020204" pitchFamily="34" charset="0"/>
                <a:cs typeface="Arial" panose="020B0604020202020204" pitchFamily="34" charset="0"/>
                <a:sym typeface="Arial" panose="020B0604020202020204" pitchFamily="34" charset="0"/>
              </a:rPr>
              <a:t>Προσκλήσεις</a:t>
            </a:r>
            <a:endParaRPr lang="el-GR" sz="9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1" name="Rectangle 70">
            <a:extLst>
              <a:ext uri="{FF2B5EF4-FFF2-40B4-BE49-F238E27FC236}">
                <a16:creationId xmlns:a16="http://schemas.microsoft.com/office/drawing/2014/main" id="{5B80D19E-E227-1D09-19B9-6194B7CEC19B}"/>
              </a:ext>
            </a:extLst>
          </p:cNvPr>
          <p:cNvSpPr/>
          <p:nvPr/>
        </p:nvSpPr>
        <p:spPr bwMode="auto">
          <a:xfrm>
            <a:off x="2673754" y="5709963"/>
            <a:ext cx="480901" cy="1538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Bef>
                <a:spcPct val="0"/>
              </a:spcBef>
              <a:spcAft>
                <a:spcPct val="0"/>
              </a:spcAft>
            </a:pPr>
            <a:r>
              <a:rPr lang="el-GR" altLang="en-US" sz="1000">
                <a:solidFill>
                  <a:schemeClr val="tx1"/>
                </a:solidFill>
                <a:latin typeface="Arial" panose="020B0604020202020204" pitchFamily="34" charset="0"/>
                <a:cs typeface="Arial" panose="020B0604020202020204" pitchFamily="34" charset="0"/>
                <a:sym typeface="Arial" panose="020B0604020202020204" pitchFamily="34" charset="0"/>
              </a:rPr>
              <a:t>Εντάξεις</a:t>
            </a:r>
            <a:endParaRPr lang="el-GR" sz="10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5" name="Rectangle 14">
            <a:extLst>
              <a:ext uri="{FF2B5EF4-FFF2-40B4-BE49-F238E27FC236}">
                <a16:creationId xmlns:a16="http://schemas.microsoft.com/office/drawing/2014/main" id="{15E184B5-4765-E687-E01C-7D760FF7F38C}"/>
              </a:ext>
            </a:extLst>
          </p:cNvPr>
          <p:cNvSpPr/>
          <p:nvPr/>
        </p:nvSpPr>
        <p:spPr bwMode="auto">
          <a:xfrm>
            <a:off x="3572787" y="5572958"/>
            <a:ext cx="179388" cy="133351"/>
          </a:xfrm>
          <a:prstGeom prst="rect">
            <a:avLst/>
          </a:prstGeom>
          <a:solidFill>
            <a:srgbClr val="F4B183"/>
          </a:solidFill>
          <a:ln w="9525" cap="flat" cmpd="sng" algn="ctr">
            <a:solidFill>
              <a:srgbClr val="FFFFFF"/>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22" name="Rectangle 21">
            <a:extLst>
              <a:ext uri="{FF2B5EF4-FFF2-40B4-BE49-F238E27FC236}">
                <a16:creationId xmlns:a16="http://schemas.microsoft.com/office/drawing/2014/main" id="{042F1391-E348-5DE8-8DDF-FBAB3C8347F8}"/>
              </a:ext>
            </a:extLst>
          </p:cNvPr>
          <p:cNvSpPr/>
          <p:nvPr/>
        </p:nvSpPr>
        <p:spPr bwMode="auto">
          <a:xfrm>
            <a:off x="3366693" y="5709963"/>
            <a:ext cx="651888" cy="30777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spcBef>
                <a:spcPct val="0"/>
              </a:spcBef>
              <a:spcAft>
                <a:spcPct val="0"/>
              </a:spcAft>
            </a:pPr>
            <a:r>
              <a:rPr lang="el-GR" sz="1000">
                <a:solidFill>
                  <a:schemeClr val="tx1"/>
                </a:solidFill>
                <a:latin typeface="Arial" panose="020B0604020202020204" pitchFamily="34" charset="0"/>
                <a:cs typeface="Arial" panose="020B0604020202020204" pitchFamily="34" charset="0"/>
                <a:sym typeface="Arial" panose="020B0604020202020204" pitchFamily="34" charset="0"/>
              </a:rPr>
              <a:t>Νομικές </a:t>
            </a:r>
          </a:p>
          <a:p>
            <a:pPr algn="ctr">
              <a:spcBef>
                <a:spcPct val="0"/>
              </a:spcBef>
              <a:spcAft>
                <a:spcPct val="0"/>
              </a:spcAft>
            </a:pPr>
            <a:r>
              <a:rPr lang="el-GR" sz="1000">
                <a:solidFill>
                  <a:schemeClr val="tx1"/>
                </a:solidFill>
                <a:latin typeface="Arial" panose="020B0604020202020204" pitchFamily="34" charset="0"/>
                <a:cs typeface="Arial" panose="020B0604020202020204" pitchFamily="34" charset="0"/>
                <a:sym typeface="Arial" panose="020B0604020202020204" pitchFamily="34" charset="0"/>
              </a:rPr>
              <a:t>Δεσμεύσεις</a:t>
            </a:r>
            <a:endParaRPr lang="en-US" sz="1000">
              <a:solidFill>
                <a:schemeClr val="tx1"/>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9" name="Chart 8">
            <a:extLst>
              <a:ext uri="{FF2B5EF4-FFF2-40B4-BE49-F238E27FC236}">
                <a16:creationId xmlns:a16="http://schemas.microsoft.com/office/drawing/2014/main" id="{B64BA02C-407B-A498-C6F9-8AD88F2DBDB1}"/>
              </a:ext>
            </a:extLst>
          </p:cNvPr>
          <p:cNvGraphicFramePr/>
          <p:nvPr/>
        </p:nvGraphicFramePr>
        <p:xfrm>
          <a:off x="5267969" y="802236"/>
          <a:ext cx="4256331" cy="3148245"/>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10" name="Chart 9">
            <a:extLst>
              <a:ext uri="{FF2B5EF4-FFF2-40B4-BE49-F238E27FC236}">
                <a16:creationId xmlns:a16="http://schemas.microsoft.com/office/drawing/2014/main" id="{111AFF9F-D5D2-405A-5DAE-292D855FB7D6}"/>
              </a:ext>
            </a:extLst>
          </p:cNvPr>
          <p:cNvGraphicFramePr>
            <a:graphicFrameLocks/>
          </p:cNvGraphicFramePr>
          <p:nvPr/>
        </p:nvGraphicFramePr>
        <p:xfrm>
          <a:off x="8475494" y="879585"/>
          <a:ext cx="4244005" cy="2894320"/>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1" name="Chart 10">
            <a:extLst>
              <a:ext uri="{FF2B5EF4-FFF2-40B4-BE49-F238E27FC236}">
                <a16:creationId xmlns:a16="http://schemas.microsoft.com/office/drawing/2014/main" id="{3A3985DF-2B5B-1A2B-51C5-B2A42811495B}"/>
              </a:ext>
            </a:extLst>
          </p:cNvPr>
          <p:cNvGraphicFramePr/>
          <p:nvPr/>
        </p:nvGraphicFramePr>
        <p:xfrm>
          <a:off x="5179873" y="3086188"/>
          <a:ext cx="4256331" cy="3148245"/>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2" name="Chart 11">
            <a:extLst>
              <a:ext uri="{FF2B5EF4-FFF2-40B4-BE49-F238E27FC236}">
                <a16:creationId xmlns:a16="http://schemas.microsoft.com/office/drawing/2014/main" id="{E0170A29-8146-DF3C-F19C-858A750DC18D}"/>
              </a:ext>
            </a:extLst>
          </p:cNvPr>
          <p:cNvGraphicFramePr/>
          <p:nvPr/>
        </p:nvGraphicFramePr>
        <p:xfrm>
          <a:off x="8463168" y="2947474"/>
          <a:ext cx="4256331" cy="3148245"/>
        </p:xfrm>
        <a:graphic>
          <a:graphicData uri="http://schemas.openxmlformats.org/drawingml/2006/chart">
            <c:chart xmlns:c="http://schemas.openxmlformats.org/drawingml/2006/chart" xmlns:r="http://schemas.openxmlformats.org/officeDocument/2006/relationships" r:id="rId20"/>
          </a:graphicData>
        </a:graphic>
      </p:graphicFrame>
      <p:sp>
        <p:nvSpPr>
          <p:cNvPr id="13" name="TextBox 12">
            <a:extLst>
              <a:ext uri="{FF2B5EF4-FFF2-40B4-BE49-F238E27FC236}">
                <a16:creationId xmlns:a16="http://schemas.microsoft.com/office/drawing/2014/main" id="{71CFAD17-3159-6540-600A-474B97B66714}"/>
              </a:ext>
            </a:extLst>
          </p:cNvPr>
          <p:cNvSpPr txBox="1"/>
          <p:nvPr/>
        </p:nvSpPr>
        <p:spPr>
          <a:xfrm>
            <a:off x="6953199" y="2140670"/>
            <a:ext cx="837408" cy="400110"/>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000" b="1" dirty="0">
                <a:solidFill>
                  <a:srgbClr val="A6A6A6"/>
                </a:solidFill>
                <a:latin typeface="Arial" panose="020B0604020202020204" pitchFamily="34" charset="0"/>
                <a:cs typeface="Arial" panose="020B0604020202020204" pitchFamily="34" charset="0"/>
              </a:rPr>
              <a:t>6</a:t>
            </a:r>
            <a:r>
              <a:rPr lang="en-US" sz="2000" b="1" dirty="0">
                <a:solidFill>
                  <a:srgbClr val="A6A6A6"/>
                </a:solidFill>
                <a:latin typeface="Arial" panose="020B0604020202020204" pitchFamily="34" charset="0"/>
                <a:cs typeface="Arial" panose="020B0604020202020204" pitchFamily="34" charset="0"/>
              </a:rPr>
              <a:t>7%</a:t>
            </a:r>
            <a:endParaRPr lang="el-GR" sz="2000" b="1" dirty="0">
              <a:solidFill>
                <a:srgbClr val="A6A6A6"/>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F8F62A10-078C-02D3-3061-EBC4A62566A4}"/>
              </a:ext>
            </a:extLst>
          </p:cNvPr>
          <p:cNvSpPr txBox="1"/>
          <p:nvPr/>
        </p:nvSpPr>
        <p:spPr>
          <a:xfrm>
            <a:off x="10218648" y="4444867"/>
            <a:ext cx="874225" cy="400110"/>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2000" b="1" dirty="0">
                <a:solidFill>
                  <a:srgbClr val="F4B183"/>
                </a:solidFill>
                <a:latin typeface="Arial" panose="020B0604020202020204" pitchFamily="34" charset="0"/>
                <a:cs typeface="Arial" panose="020B0604020202020204" pitchFamily="34" charset="0"/>
              </a:rPr>
              <a:t>41%</a:t>
            </a:r>
            <a:endParaRPr lang="el-GR" sz="2000" b="1" dirty="0">
              <a:solidFill>
                <a:srgbClr val="F4B183"/>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AE0E79A1-8C48-2ADE-8F4C-19C6E25A0D66}"/>
              </a:ext>
            </a:extLst>
          </p:cNvPr>
          <p:cNvSpPr txBox="1"/>
          <p:nvPr/>
        </p:nvSpPr>
        <p:spPr>
          <a:xfrm>
            <a:off x="10316132" y="2111302"/>
            <a:ext cx="847936" cy="400110"/>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000" b="1" dirty="0">
                <a:solidFill>
                  <a:srgbClr val="92D050"/>
                </a:solidFill>
                <a:latin typeface="Arial" panose="020B0604020202020204" pitchFamily="34" charset="0"/>
                <a:cs typeface="Arial" panose="020B0604020202020204" pitchFamily="34" charset="0"/>
              </a:rPr>
              <a:t>6</a:t>
            </a:r>
            <a:r>
              <a:rPr lang="en-US" sz="2000" b="1" dirty="0">
                <a:solidFill>
                  <a:srgbClr val="92D050"/>
                </a:solidFill>
                <a:latin typeface="Arial" panose="020B0604020202020204" pitchFamily="34" charset="0"/>
                <a:cs typeface="Arial" panose="020B0604020202020204" pitchFamily="34" charset="0"/>
              </a:rPr>
              <a:t>3</a:t>
            </a:r>
            <a:r>
              <a:rPr lang="el-GR" sz="2000" b="1" dirty="0">
                <a:solidFill>
                  <a:srgbClr val="92D050"/>
                </a:solidFill>
                <a:latin typeface="Arial" panose="020B0604020202020204" pitchFamily="34" charset="0"/>
                <a:cs typeface="Arial" panose="020B0604020202020204" pitchFamily="34" charset="0"/>
              </a:rPr>
              <a:t>%</a:t>
            </a:r>
          </a:p>
        </p:txBody>
      </p:sp>
      <p:sp>
        <p:nvSpPr>
          <p:cNvPr id="26" name="TextBox 25">
            <a:extLst>
              <a:ext uri="{FF2B5EF4-FFF2-40B4-BE49-F238E27FC236}">
                <a16:creationId xmlns:a16="http://schemas.microsoft.com/office/drawing/2014/main" id="{4270080A-EF14-6532-6B61-21DD9F373EDF}"/>
              </a:ext>
            </a:extLst>
          </p:cNvPr>
          <p:cNvSpPr txBox="1"/>
          <p:nvPr/>
        </p:nvSpPr>
        <p:spPr>
          <a:xfrm>
            <a:off x="6836542" y="4521597"/>
            <a:ext cx="816988" cy="400110"/>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2000" b="1" dirty="0">
                <a:solidFill>
                  <a:srgbClr val="0CACDC"/>
                </a:solidFill>
                <a:latin typeface="Arial" panose="020B0604020202020204" pitchFamily="34" charset="0"/>
                <a:cs typeface="Arial" panose="020B0604020202020204" pitchFamily="34" charset="0"/>
              </a:rPr>
              <a:t>56%</a:t>
            </a:r>
            <a:endParaRPr lang="el-GR" sz="2000" b="1" dirty="0">
              <a:solidFill>
                <a:srgbClr val="0CACDC"/>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58F514CF-8C40-99CB-26A6-58FE96A5038C}"/>
              </a:ext>
            </a:extLst>
          </p:cNvPr>
          <p:cNvSpPr/>
          <p:nvPr>
            <p:custDataLst>
              <p:tags r:id="rId10"/>
            </p:custDataLst>
          </p:nvPr>
        </p:nvSpPr>
        <p:spPr bwMode="auto">
          <a:xfrm>
            <a:off x="4344229" y="5572958"/>
            <a:ext cx="179388" cy="133351"/>
          </a:xfrm>
          <a:prstGeom prst="rect">
            <a:avLst/>
          </a:prstGeom>
          <a:solidFill>
            <a:srgbClr val="5089BC"/>
          </a:solidFill>
          <a:ln w="9525" cap="flat" cmpd="sng" algn="ctr">
            <a:solidFill>
              <a:srgbClr val="FFFFFF"/>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6" name="Rectangle 5">
            <a:extLst>
              <a:ext uri="{FF2B5EF4-FFF2-40B4-BE49-F238E27FC236}">
                <a16:creationId xmlns:a16="http://schemas.microsoft.com/office/drawing/2014/main" id="{9504CA8E-00FF-C1E1-1518-9CC5409E9E42}"/>
              </a:ext>
            </a:extLst>
          </p:cNvPr>
          <p:cNvSpPr/>
          <p:nvPr>
            <p:custDataLst>
              <p:tags r:id="rId11"/>
            </p:custDataLst>
          </p:nvPr>
        </p:nvSpPr>
        <p:spPr bwMode="auto">
          <a:xfrm>
            <a:off x="4164729" y="5695483"/>
            <a:ext cx="651888" cy="30777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Bef>
                <a:spcPct val="0"/>
              </a:spcBef>
              <a:spcAft>
                <a:spcPct val="0"/>
              </a:spcAft>
            </a:pPr>
            <a:r>
              <a:rPr lang="el-GR" sz="1000">
                <a:solidFill>
                  <a:schemeClr val="tx1"/>
                </a:solidFill>
                <a:latin typeface="Arial" panose="020B0604020202020204" pitchFamily="34" charset="0"/>
                <a:cs typeface="Arial" panose="020B0604020202020204" pitchFamily="34" charset="0"/>
                <a:sym typeface="Arial" panose="020B0604020202020204" pitchFamily="34" charset="0"/>
              </a:rPr>
              <a:t>Αποδεκτό</a:t>
            </a:r>
          </a:p>
          <a:p>
            <a:pPr>
              <a:spcBef>
                <a:spcPct val="0"/>
              </a:spcBef>
              <a:spcAft>
                <a:spcPct val="0"/>
              </a:spcAft>
            </a:pPr>
            <a:r>
              <a:rPr lang="el-GR" sz="1000">
                <a:solidFill>
                  <a:schemeClr val="tx1"/>
                </a:solidFill>
                <a:latin typeface="Arial" panose="020B0604020202020204" pitchFamily="34" charset="0"/>
                <a:cs typeface="Arial" panose="020B0604020202020204" pitchFamily="34" charset="0"/>
                <a:sym typeface="Arial" panose="020B0604020202020204" pitchFamily="34" charset="0"/>
              </a:rPr>
              <a:t>Διαχείρισης</a:t>
            </a:r>
            <a:endParaRPr lang="el-GR" sz="9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2" name="Title 1">
            <a:extLst>
              <a:ext uri="{FF2B5EF4-FFF2-40B4-BE49-F238E27FC236}">
                <a16:creationId xmlns:a16="http://schemas.microsoft.com/office/drawing/2014/main" id="{43D1529E-2718-E672-D1B5-1416AE3C03A1}"/>
              </a:ext>
            </a:extLst>
          </p:cNvPr>
          <p:cNvSpPr txBox="1">
            <a:spLocks/>
          </p:cNvSpPr>
          <p:nvPr/>
        </p:nvSpPr>
        <p:spPr>
          <a:xfrm>
            <a:off x="25400" y="42865"/>
            <a:ext cx="11992704" cy="660793"/>
          </a:xfrm>
          <a:prstGeom prst="rect">
            <a:avLst/>
          </a:prstGeom>
        </p:spPr>
        <p:txBody>
          <a:bodyPr vert="horz">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dirty="0">
                <a:solidFill>
                  <a:srgbClr val="085195"/>
                </a:solidFill>
                <a:latin typeface="+mn-lt"/>
                <a:ea typeface="Urbanist" panose="020B0604020202020204" charset="0"/>
                <a:cs typeface="Urbanist" panose="020B0604020202020204" charset="0"/>
              </a:rPr>
              <a:t>Πρόοδος Δράσεων στην Δυτική Μακεδονία</a:t>
            </a:r>
          </a:p>
        </p:txBody>
      </p:sp>
      <p:cxnSp>
        <p:nvCxnSpPr>
          <p:cNvPr id="35" name="Ευθεία γραμμή σύνδεσης 34">
            <a:extLst>
              <a:ext uri="{FF2B5EF4-FFF2-40B4-BE49-F238E27FC236}">
                <a16:creationId xmlns:a16="http://schemas.microsoft.com/office/drawing/2014/main" id="{0FD93CB1-946D-44E9-80E7-12967CFF20CA}"/>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36" name="Ομάδα 35">
            <a:extLst>
              <a:ext uri="{FF2B5EF4-FFF2-40B4-BE49-F238E27FC236}">
                <a16:creationId xmlns:a16="http://schemas.microsoft.com/office/drawing/2014/main" id="{9F6CEFAC-C0CF-4EFA-9B96-8E2E95AD79E3}"/>
              </a:ext>
            </a:extLst>
          </p:cNvPr>
          <p:cNvGrpSpPr/>
          <p:nvPr/>
        </p:nvGrpSpPr>
        <p:grpSpPr>
          <a:xfrm>
            <a:off x="9142669" y="114941"/>
            <a:ext cx="3049332" cy="667839"/>
            <a:chOff x="6857001" y="38580"/>
            <a:chExt cx="2286999" cy="500879"/>
          </a:xfrm>
        </p:grpSpPr>
        <p:sp>
          <p:nvSpPr>
            <p:cNvPr id="37" name="Google Shape;95;p11">
              <a:extLst>
                <a:ext uri="{FF2B5EF4-FFF2-40B4-BE49-F238E27FC236}">
                  <a16:creationId xmlns:a16="http://schemas.microsoft.com/office/drawing/2014/main" id="{1338C048-8E12-46A4-A076-795B4CA47F3F}"/>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38" name="Picture 2" descr="Εικόνα που μεταφορτώθηκε">
              <a:extLst>
                <a:ext uri="{FF2B5EF4-FFF2-40B4-BE49-F238E27FC236}">
                  <a16:creationId xmlns:a16="http://schemas.microsoft.com/office/drawing/2014/main" id="{31DDBF13-8C66-4E7F-9761-2A8B4C23CEC8}"/>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081178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7F8FA-737E-6907-CDCF-D47B647C1B6D}"/>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B0C6A84-9154-9926-1212-574952ED16E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4" imgW="350" imgH="350" progId="TCLayout.ActiveDocument.1">
                  <p:embed/>
                </p:oleObj>
              </mc:Choice>
              <mc:Fallback>
                <p:oleObj name="think-cell Slide" r:id="rId4" imgW="350" imgH="350" progId="TCLayout.ActiveDocument.1">
                  <p:embed/>
                  <p:pic>
                    <p:nvPicPr>
                      <p:cNvPr id="20" name="think-cell data - do not delete" hidden="1">
                        <a:extLst>
                          <a:ext uri="{FF2B5EF4-FFF2-40B4-BE49-F238E27FC236}">
                            <a16:creationId xmlns:a16="http://schemas.microsoft.com/office/drawing/2014/main" id="{9B0C6A84-9154-9926-1212-574952ED16E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aphicFrame>
        <p:nvGraphicFramePr>
          <p:cNvPr id="2" name="Table 1">
            <a:extLst>
              <a:ext uri="{FF2B5EF4-FFF2-40B4-BE49-F238E27FC236}">
                <a16:creationId xmlns:a16="http://schemas.microsoft.com/office/drawing/2014/main" id="{59126A5B-247E-FBF0-EA42-65B3724C3842}"/>
              </a:ext>
            </a:extLst>
          </p:cNvPr>
          <p:cNvGraphicFramePr>
            <a:graphicFrameLocks noGrp="1"/>
          </p:cNvGraphicFramePr>
          <p:nvPr/>
        </p:nvGraphicFramePr>
        <p:xfrm>
          <a:off x="339257" y="915396"/>
          <a:ext cx="11280251" cy="5656195"/>
        </p:xfrm>
        <a:graphic>
          <a:graphicData uri="http://schemas.openxmlformats.org/drawingml/2006/table">
            <a:tbl>
              <a:tblPr firstRow="1" bandRow="1">
                <a:tableStyleId>{9D7B26C5-4107-4FEC-AEDC-1716B250A1EF}</a:tableStyleId>
              </a:tblPr>
              <a:tblGrid>
                <a:gridCol w="6526431">
                  <a:extLst>
                    <a:ext uri="{9D8B030D-6E8A-4147-A177-3AD203B41FA5}">
                      <a16:colId xmlns:a16="http://schemas.microsoft.com/office/drawing/2014/main" val="3008717988"/>
                    </a:ext>
                  </a:extLst>
                </a:gridCol>
                <a:gridCol w="1772611">
                  <a:extLst>
                    <a:ext uri="{9D8B030D-6E8A-4147-A177-3AD203B41FA5}">
                      <a16:colId xmlns:a16="http://schemas.microsoft.com/office/drawing/2014/main" val="3230157920"/>
                    </a:ext>
                  </a:extLst>
                </a:gridCol>
                <a:gridCol w="2981209">
                  <a:extLst>
                    <a:ext uri="{9D8B030D-6E8A-4147-A177-3AD203B41FA5}">
                      <a16:colId xmlns:a16="http://schemas.microsoft.com/office/drawing/2014/main" val="491191602"/>
                    </a:ext>
                  </a:extLst>
                </a:gridCol>
              </a:tblGrid>
              <a:tr h="365021">
                <a:tc>
                  <a:txBody>
                    <a:bodyPr/>
                    <a:lstStyle/>
                    <a:p>
                      <a:pPr algn="ctr"/>
                      <a:r>
                        <a:rPr lang="el-GR" sz="1500" dirty="0"/>
                        <a:t>Τίτλος Πράξης</a:t>
                      </a:r>
                      <a:endParaRPr lang="el-GR" sz="1500" dirty="0">
                        <a:solidFill>
                          <a:srgbClr val="1F497D"/>
                        </a:solidFill>
                      </a:endParaRPr>
                    </a:p>
                  </a:txBody>
                  <a:tcPr/>
                </a:tc>
                <a:tc>
                  <a:txBody>
                    <a:bodyPr/>
                    <a:lstStyle/>
                    <a:p>
                      <a:pPr algn="ctr"/>
                      <a:r>
                        <a:rPr lang="el-GR" sz="1500"/>
                        <a:t>Π/Υ</a:t>
                      </a:r>
                      <a:endParaRPr lang="el-GR" sz="1500">
                        <a:solidFill>
                          <a:srgbClr val="1F497D"/>
                        </a:solidFill>
                      </a:endParaRPr>
                    </a:p>
                  </a:txBody>
                  <a:tcPr/>
                </a:tc>
                <a:tc>
                  <a:txBody>
                    <a:bodyPr/>
                    <a:lstStyle/>
                    <a:p>
                      <a:pPr algn="ctr"/>
                      <a:r>
                        <a:rPr lang="el-GR" sz="1500" dirty="0"/>
                        <a:t>Δικαιούχος</a:t>
                      </a:r>
                      <a:endParaRPr lang="el-GR" sz="1500" dirty="0">
                        <a:solidFill>
                          <a:srgbClr val="1F497D"/>
                        </a:solidFill>
                      </a:endParaRPr>
                    </a:p>
                  </a:txBody>
                  <a:tcPr/>
                </a:tc>
                <a:extLst>
                  <a:ext uri="{0D108BD9-81ED-4DB2-BD59-A6C34878D82A}">
                    <a16:rowId xmlns:a16="http://schemas.microsoft.com/office/drawing/2014/main" val="620659295"/>
                  </a:ext>
                </a:extLst>
              </a:tr>
              <a:tr h="457200">
                <a:tc>
                  <a:txBody>
                    <a:bodyPr/>
                    <a:lstStyle/>
                    <a:p>
                      <a:r>
                        <a:rPr lang="el-GR" sz="1200" dirty="0"/>
                        <a:t>Δημιουργία θερμοκοιτίδων &amp; εκκολαπτηρίων για την ανάπτυξη της καινοτομίας σε τομείς προτεραιότητας της στρατηγικής έρευνας καινοτομίας Δίκαιης Αναπτυξιακής Μετάβασης</a:t>
                      </a:r>
                      <a:endParaRPr lang="el-GR" sz="1200" dirty="0">
                        <a:latin typeface="Arial"/>
                        <a:cs typeface="Arial"/>
                      </a:endParaRPr>
                    </a:p>
                  </a:txBody>
                  <a:tcPr anchor="ctr"/>
                </a:tc>
                <a:tc>
                  <a:txBody>
                    <a:bodyPr/>
                    <a:lstStyle/>
                    <a:p>
                      <a:pPr algn="ctr"/>
                      <a:r>
                        <a:rPr lang="el-GR" sz="1200"/>
                        <a:t>3.000.600 €</a:t>
                      </a:r>
                      <a:endParaRPr lang="el-GR" sz="1200">
                        <a:latin typeface="Arial"/>
                        <a:cs typeface="Arial"/>
                      </a:endParaRPr>
                    </a:p>
                  </a:txBody>
                  <a:tcPr anchor="ctr"/>
                </a:tc>
                <a:tc>
                  <a:txBody>
                    <a:bodyPr/>
                    <a:lstStyle/>
                    <a:p>
                      <a:pPr algn="ctr"/>
                      <a:r>
                        <a:rPr lang="el-GR" sz="1200" dirty="0"/>
                        <a:t>ΓΓΕΚ</a:t>
                      </a:r>
                      <a:endParaRPr lang="el-GR" sz="1200" dirty="0">
                        <a:latin typeface="Arial"/>
                        <a:cs typeface="Arial"/>
                      </a:endParaRPr>
                    </a:p>
                  </a:txBody>
                  <a:tcPr anchor="ctr"/>
                </a:tc>
                <a:extLst>
                  <a:ext uri="{0D108BD9-81ED-4DB2-BD59-A6C34878D82A}">
                    <a16:rowId xmlns:a16="http://schemas.microsoft.com/office/drawing/2014/main" val="1776760971"/>
                  </a:ext>
                </a:extLst>
              </a:tr>
              <a:tr h="365021">
                <a:tc>
                  <a:txBody>
                    <a:bodyPr/>
                    <a:lstStyle/>
                    <a:p>
                      <a:r>
                        <a:rPr lang="el-GR" sz="1200" dirty="0"/>
                        <a:t>Ανάπτυξη Συνεργατικών Χώρων Εργασίας (Co-</a:t>
                      </a:r>
                      <a:r>
                        <a:rPr lang="el-GR" sz="1200" dirty="0" err="1"/>
                        <a:t>Working</a:t>
                      </a:r>
                      <a:r>
                        <a:rPr lang="el-GR" sz="1200" dirty="0"/>
                        <a:t> Spaces)</a:t>
                      </a:r>
                      <a:endParaRPr lang="el-GR" sz="1200" dirty="0">
                        <a:latin typeface="Arial"/>
                        <a:cs typeface="Arial"/>
                      </a:endParaRPr>
                    </a:p>
                  </a:txBody>
                  <a:tcPr anchor="ctr"/>
                </a:tc>
                <a:tc>
                  <a:txBody>
                    <a:bodyPr/>
                    <a:lstStyle/>
                    <a:p>
                      <a:pPr algn="ctr"/>
                      <a:r>
                        <a:rPr lang="el-GR" sz="1200"/>
                        <a:t>900.000 €</a:t>
                      </a:r>
                      <a:endParaRPr lang="el-GR" sz="1200">
                        <a:latin typeface="Arial"/>
                        <a:cs typeface="Arial"/>
                      </a:endParaRPr>
                    </a:p>
                  </a:txBody>
                  <a:tcPr anchor="ctr"/>
                </a:tc>
                <a:tc>
                  <a:txBody>
                    <a:bodyPr/>
                    <a:lstStyle/>
                    <a:p>
                      <a:pPr algn="ctr"/>
                      <a:r>
                        <a:rPr lang="el-GR" sz="1200"/>
                        <a:t>ΓΓΕΚ</a:t>
                      </a:r>
                      <a:endParaRPr lang="el-GR" sz="1200">
                        <a:latin typeface="Arial"/>
                        <a:cs typeface="Arial"/>
                      </a:endParaRPr>
                    </a:p>
                  </a:txBody>
                  <a:tcPr anchor="ctr"/>
                </a:tc>
                <a:extLst>
                  <a:ext uri="{0D108BD9-81ED-4DB2-BD59-A6C34878D82A}">
                    <a16:rowId xmlns:a16="http://schemas.microsoft.com/office/drawing/2014/main" val="3135690851"/>
                  </a:ext>
                </a:extLst>
              </a:tr>
              <a:tr h="457200">
                <a:tc>
                  <a:txBody>
                    <a:bodyPr/>
                    <a:lstStyle/>
                    <a:p>
                      <a:r>
                        <a:rPr lang="el-GR" sz="1200" dirty="0"/>
                        <a:t>Σχεδιασμός και Ανάπτυξη </a:t>
                      </a:r>
                      <a:r>
                        <a:rPr lang="el-GR" sz="1200" dirty="0" err="1"/>
                        <a:t>στοχευμένων</a:t>
                      </a:r>
                      <a:r>
                        <a:rPr lang="el-GR" sz="1200" dirty="0"/>
                        <a:t> Παρεμβάσεων Κοινωνικής Καινοτομίας &amp; Επιχειρηματικότητας στις περιοχές ΔΑΜ</a:t>
                      </a:r>
                      <a:endParaRPr lang="el-GR" sz="1200" dirty="0">
                        <a:latin typeface="Arial"/>
                        <a:cs typeface="Arial"/>
                      </a:endParaRPr>
                    </a:p>
                  </a:txBody>
                  <a:tcPr anchor="ctr"/>
                </a:tc>
                <a:tc>
                  <a:txBody>
                    <a:bodyPr/>
                    <a:lstStyle/>
                    <a:p>
                      <a:pPr algn="ctr"/>
                      <a:r>
                        <a:rPr lang="el-GR" sz="1200"/>
                        <a:t>3.780.000 €</a:t>
                      </a:r>
                      <a:endParaRPr lang="el-GR" sz="1200">
                        <a:latin typeface="Arial"/>
                        <a:cs typeface="Arial"/>
                      </a:endParaRPr>
                    </a:p>
                  </a:txBody>
                  <a:tcPr anchor="ct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1200"/>
                        <a:t>ΓΓΕΚ</a:t>
                      </a:r>
                      <a:endParaRPr lang="el-GR" sz="1200">
                        <a:latin typeface="Arial"/>
                        <a:cs typeface="Arial"/>
                      </a:endParaRPr>
                    </a:p>
                  </a:txBody>
                  <a:tcPr anchor="ctr"/>
                </a:tc>
                <a:extLst>
                  <a:ext uri="{0D108BD9-81ED-4DB2-BD59-A6C34878D82A}">
                    <a16:rowId xmlns:a16="http://schemas.microsoft.com/office/drawing/2014/main" val="2277849589"/>
                  </a:ext>
                </a:extLst>
              </a:tr>
              <a:tr h="365021">
                <a:tc>
                  <a:txBody>
                    <a:bodyPr/>
                    <a:lstStyle/>
                    <a:p>
                      <a:r>
                        <a:rPr lang="el-GR" sz="1200" dirty="0"/>
                        <a:t>Κόμβος Καινοτομίας Υδρογόνου</a:t>
                      </a:r>
                      <a:endParaRPr lang="el-GR" sz="1200" dirty="0">
                        <a:latin typeface="Arial"/>
                        <a:cs typeface="Arial"/>
                      </a:endParaRPr>
                    </a:p>
                  </a:txBody>
                  <a:tcPr anchor="ctr"/>
                </a:tc>
                <a:tc>
                  <a:txBody>
                    <a:bodyPr/>
                    <a:lstStyle/>
                    <a:p>
                      <a:pPr algn="ctr"/>
                      <a:r>
                        <a:rPr lang="el-GR" sz="1200" dirty="0"/>
                        <a:t>19.800.000 €</a:t>
                      </a:r>
                      <a:endParaRPr lang="el-GR" sz="1200" dirty="0">
                        <a:latin typeface="Arial"/>
                        <a:cs typeface="Arial"/>
                      </a:endParaRPr>
                    </a:p>
                  </a:txBody>
                  <a:tcPr anchor="ctr"/>
                </a:tc>
                <a:tc>
                  <a:txBody>
                    <a:bodyPr/>
                    <a:lstStyle/>
                    <a:p>
                      <a:pPr algn="ctr"/>
                      <a:r>
                        <a:rPr lang="el-GR" sz="1200"/>
                        <a:t>ΕΚΕΤΑ</a:t>
                      </a:r>
                      <a:endParaRPr lang="el-GR" sz="1200">
                        <a:latin typeface="Arial"/>
                        <a:cs typeface="Arial"/>
                      </a:endParaRPr>
                    </a:p>
                  </a:txBody>
                  <a:tcPr anchor="ctr"/>
                </a:tc>
                <a:extLst>
                  <a:ext uri="{0D108BD9-81ED-4DB2-BD59-A6C34878D82A}">
                    <a16:rowId xmlns:a16="http://schemas.microsoft.com/office/drawing/2014/main" val="1221281709"/>
                  </a:ext>
                </a:extLst>
              </a:tr>
              <a:tr h="457200">
                <a:tc>
                  <a:txBody>
                    <a:bodyPr/>
                    <a:lstStyle/>
                    <a:p>
                      <a:r>
                        <a:rPr lang="el-GR" sz="1200" dirty="0"/>
                        <a:t>Πράσινο κέντρο δεδομένων και </a:t>
                      </a:r>
                      <a:r>
                        <a:rPr lang="el-GR" sz="1200" dirty="0" err="1"/>
                        <a:t>Υπερυπολογιστή</a:t>
                      </a:r>
                      <a:r>
                        <a:rPr lang="el-GR" sz="1200" dirty="0"/>
                        <a:t> Δυτικής Μακεδονίας</a:t>
                      </a:r>
                      <a:endParaRPr lang="el-GR" sz="1200" dirty="0">
                        <a:latin typeface="Arial"/>
                        <a:cs typeface="Arial"/>
                      </a:endParaRPr>
                    </a:p>
                  </a:txBody>
                  <a:tcPr anchor="ctr"/>
                </a:tc>
                <a:tc>
                  <a:txBody>
                    <a:bodyPr/>
                    <a:lstStyle/>
                    <a:p>
                      <a:pPr algn="ctr"/>
                      <a:r>
                        <a:rPr lang="el-GR" sz="1200" dirty="0"/>
                        <a:t>21.990.857 €</a:t>
                      </a:r>
                      <a:endParaRPr lang="el-GR" sz="1200" dirty="0">
                        <a:latin typeface="Arial"/>
                        <a:cs typeface="Arial"/>
                      </a:endParaRPr>
                    </a:p>
                  </a:txBody>
                  <a:tcPr anchor="ctr"/>
                </a:tc>
                <a:tc>
                  <a:txBody>
                    <a:bodyPr/>
                    <a:lstStyle/>
                    <a:p>
                      <a:pPr algn="ctr"/>
                      <a:r>
                        <a:rPr lang="el-GR" sz="1200"/>
                        <a:t>Εθνικό Δίκτυο Υποδομών Τεχνολογίας και Έρευνας Α.Ε.</a:t>
                      </a:r>
                      <a:endParaRPr lang="el-GR" sz="1200">
                        <a:latin typeface="Arial"/>
                        <a:cs typeface="Arial"/>
                      </a:endParaRPr>
                    </a:p>
                  </a:txBody>
                  <a:tcPr anchor="ctr"/>
                </a:tc>
                <a:extLst>
                  <a:ext uri="{0D108BD9-81ED-4DB2-BD59-A6C34878D82A}">
                    <a16:rowId xmlns:a16="http://schemas.microsoft.com/office/drawing/2014/main" val="1092617551"/>
                  </a:ext>
                </a:extLst>
              </a:tr>
              <a:tr h="365021">
                <a:tc>
                  <a:txBody>
                    <a:bodyPr/>
                    <a:lstStyle/>
                    <a:p>
                      <a:r>
                        <a:rPr lang="el-GR" sz="1200" dirty="0"/>
                        <a:t>Μηχανισμός Στήριξης της Επιχειρηματικότητας για την Δίκαιη Αναπτυξιακή Μετάβαση</a:t>
                      </a:r>
                      <a:endParaRPr lang="el-GR" sz="1200" dirty="0">
                        <a:latin typeface="Arial"/>
                        <a:cs typeface="Arial"/>
                      </a:endParaRPr>
                    </a:p>
                  </a:txBody>
                  <a:tcPr anchor="ctr"/>
                </a:tc>
                <a:tc>
                  <a:txBody>
                    <a:bodyPr/>
                    <a:lstStyle/>
                    <a:p>
                      <a:pPr algn="ctr"/>
                      <a:r>
                        <a:rPr lang="el-GR" sz="1200" dirty="0"/>
                        <a:t>15.619.685 €</a:t>
                      </a:r>
                      <a:endParaRPr lang="el-GR" sz="1200" dirty="0">
                        <a:latin typeface="Arial"/>
                        <a:cs typeface="Arial"/>
                      </a:endParaRPr>
                    </a:p>
                  </a:txBody>
                  <a:tcPr anchor="ctr"/>
                </a:tc>
                <a:tc>
                  <a:txBody>
                    <a:bodyPr/>
                    <a:lstStyle/>
                    <a:p>
                      <a:pPr algn="ctr"/>
                      <a:r>
                        <a:rPr lang="el-GR" sz="1200"/>
                        <a:t>Ε.Λ.Ε.Δ.Α.Μ</a:t>
                      </a:r>
                      <a:endParaRPr lang="el-GR" sz="1200">
                        <a:latin typeface="Arial"/>
                        <a:cs typeface="Arial"/>
                      </a:endParaRPr>
                    </a:p>
                  </a:txBody>
                  <a:tcPr anchor="ctr"/>
                </a:tc>
                <a:extLst>
                  <a:ext uri="{0D108BD9-81ED-4DB2-BD59-A6C34878D82A}">
                    <a16:rowId xmlns:a16="http://schemas.microsoft.com/office/drawing/2014/main" val="9988749"/>
                  </a:ext>
                </a:extLst>
              </a:tr>
              <a:tr h="365021">
                <a:tc>
                  <a:txBody>
                    <a:bodyPr/>
                    <a:lstStyle/>
                    <a:p>
                      <a:r>
                        <a:rPr lang="el-GR" sz="1200" dirty="0"/>
                        <a:t>Σύσταση Ταμείου Χαρτοφυλακίου Δίκαιης Αναπτυξιακής Μετάβασης</a:t>
                      </a:r>
                      <a:endParaRPr lang="el-GR" sz="1200" dirty="0">
                        <a:latin typeface="Arial"/>
                        <a:cs typeface="Arial"/>
                      </a:endParaRPr>
                    </a:p>
                  </a:txBody>
                  <a:tcPr anchor="ctr"/>
                </a:tc>
                <a:tc>
                  <a:txBody>
                    <a:bodyPr/>
                    <a:lstStyle/>
                    <a:p>
                      <a:pPr algn="ctr"/>
                      <a:r>
                        <a:rPr lang="el-GR" sz="1200" dirty="0"/>
                        <a:t>35.000.000 €</a:t>
                      </a:r>
                      <a:endParaRPr lang="el-GR" sz="1200" dirty="0">
                        <a:latin typeface="Arial"/>
                        <a:cs typeface="Arial"/>
                      </a:endParaRPr>
                    </a:p>
                  </a:txBody>
                  <a:tcPr anchor="ctr"/>
                </a:tc>
                <a:tc>
                  <a:txBody>
                    <a:bodyPr/>
                    <a:lstStyle/>
                    <a:p>
                      <a:pPr algn="ctr"/>
                      <a:r>
                        <a:rPr lang="el-GR" sz="1200" dirty="0"/>
                        <a:t>Ελληνική Αναπτυξιακή Τράπεζα Α.Ε.</a:t>
                      </a:r>
                      <a:endParaRPr lang="el-GR" sz="1200" dirty="0">
                        <a:latin typeface="Arial"/>
                        <a:cs typeface="Arial"/>
                      </a:endParaRPr>
                    </a:p>
                  </a:txBody>
                  <a:tcPr anchor="ctr"/>
                </a:tc>
                <a:extLst>
                  <a:ext uri="{0D108BD9-81ED-4DB2-BD59-A6C34878D82A}">
                    <a16:rowId xmlns:a16="http://schemas.microsoft.com/office/drawing/2014/main" val="2940360006"/>
                  </a:ext>
                </a:extLst>
              </a:tr>
              <a:tr h="365021">
                <a:tc>
                  <a:txBody>
                    <a:bodyPr/>
                    <a:lstStyle/>
                    <a:p>
                      <a:r>
                        <a:rPr lang="el-GR" sz="1200" dirty="0"/>
                        <a:t>Θύλακας Υποδοχής Καινοτόμων Δραστηριοτήτων Πανεπιστημίου Δυτικής Μακεδονίας</a:t>
                      </a:r>
                      <a:endParaRPr lang="el-GR" sz="1200" dirty="0">
                        <a:latin typeface="Arial"/>
                        <a:cs typeface="Arial"/>
                      </a:endParaRPr>
                    </a:p>
                  </a:txBody>
                  <a:tcPr anchor="ctr"/>
                </a:tc>
                <a:tc>
                  <a:txBody>
                    <a:bodyPr/>
                    <a:lstStyle/>
                    <a:p>
                      <a:pPr algn="ctr"/>
                      <a:r>
                        <a:rPr lang="el-GR" sz="1200" dirty="0"/>
                        <a:t>11.000.000 €</a:t>
                      </a:r>
                      <a:endParaRPr lang="el-GR" sz="1200" dirty="0">
                        <a:latin typeface="Arial"/>
                        <a:cs typeface="Arial"/>
                      </a:endParaRPr>
                    </a:p>
                  </a:txBody>
                  <a:tcPr anchor="ctr"/>
                </a:tc>
                <a:tc>
                  <a:txBody>
                    <a:bodyPr/>
                    <a:lstStyle/>
                    <a:p>
                      <a:pPr algn="ctr"/>
                      <a:r>
                        <a:rPr lang="el-GR" sz="1200" dirty="0"/>
                        <a:t>Πανεπιστήμιο Δυτικής Μακεδονίας</a:t>
                      </a:r>
                      <a:endParaRPr lang="el-GR" sz="1200" dirty="0">
                        <a:latin typeface="Arial"/>
                        <a:cs typeface="Arial"/>
                      </a:endParaRPr>
                    </a:p>
                  </a:txBody>
                  <a:tcPr anchor="ctr"/>
                </a:tc>
                <a:extLst>
                  <a:ext uri="{0D108BD9-81ED-4DB2-BD59-A6C34878D82A}">
                    <a16:rowId xmlns:a16="http://schemas.microsoft.com/office/drawing/2014/main" val="4027906322"/>
                  </a:ext>
                </a:extLst>
              </a:tr>
              <a:tr h="365021">
                <a:tc>
                  <a:txBody>
                    <a:bodyPr/>
                    <a:lstStyle/>
                    <a:p>
                      <a:r>
                        <a:rPr lang="el-GR" sz="1200" dirty="0"/>
                        <a:t>Ενεργειακή αναβάθμιση Γενικού Νοσοκομείου Φλώρινας</a:t>
                      </a:r>
                      <a:endParaRPr lang="el-GR" sz="1200" dirty="0">
                        <a:latin typeface="Arial"/>
                        <a:cs typeface="Arial"/>
                      </a:endParaRPr>
                    </a:p>
                  </a:txBody>
                  <a:tcPr anchor="ctr"/>
                </a:tc>
                <a:tc>
                  <a:txBody>
                    <a:bodyPr/>
                    <a:lstStyle/>
                    <a:p>
                      <a:pPr algn="ctr"/>
                      <a:r>
                        <a:rPr lang="el-GR" sz="1200" dirty="0"/>
                        <a:t>3.516.928 €</a:t>
                      </a:r>
                      <a:endParaRPr lang="el-GR" sz="1200" dirty="0">
                        <a:latin typeface="Arial"/>
                        <a:cs typeface="Arial"/>
                      </a:endParaRPr>
                    </a:p>
                  </a:txBody>
                  <a:tcPr anchor="ctr"/>
                </a:tc>
                <a:tc>
                  <a:txBody>
                    <a:bodyPr/>
                    <a:lstStyle/>
                    <a:p>
                      <a:pPr algn="ctr"/>
                      <a:r>
                        <a:rPr lang="el-GR" sz="1200" dirty="0"/>
                        <a:t>Περιφέρεια Δυτικής Μακεδονίας</a:t>
                      </a:r>
                      <a:endParaRPr lang="el-GR" sz="1200" dirty="0">
                        <a:latin typeface="Arial"/>
                        <a:cs typeface="Arial"/>
                      </a:endParaRPr>
                    </a:p>
                  </a:txBody>
                  <a:tcPr anchor="ctr"/>
                </a:tc>
                <a:extLst>
                  <a:ext uri="{0D108BD9-81ED-4DB2-BD59-A6C34878D82A}">
                    <a16:rowId xmlns:a16="http://schemas.microsoft.com/office/drawing/2014/main" val="3014747414"/>
                  </a:ext>
                </a:extLst>
              </a:tr>
              <a:tr h="365021">
                <a:tc>
                  <a:txBody>
                    <a:bodyPr/>
                    <a:lstStyle/>
                    <a:p>
                      <a:r>
                        <a:rPr lang="el-GR" sz="1200" dirty="0"/>
                        <a:t>Ενεργειακή αναβάθμιση του Γενικού Νοσοκομείου Καστοριάς</a:t>
                      </a:r>
                      <a:endParaRPr lang="el-GR" sz="1200" dirty="0">
                        <a:latin typeface="Arial"/>
                        <a:cs typeface="Arial"/>
                      </a:endParaRPr>
                    </a:p>
                  </a:txBody>
                  <a:tcPr anchor="ctr"/>
                </a:tc>
                <a:tc>
                  <a:txBody>
                    <a:bodyPr/>
                    <a:lstStyle/>
                    <a:p>
                      <a:pPr algn="ctr"/>
                      <a:r>
                        <a:rPr lang="el-GR" sz="1200" dirty="0"/>
                        <a:t>2.054.726 €</a:t>
                      </a:r>
                      <a:endParaRPr lang="el-GR" sz="1200" dirty="0">
                        <a:latin typeface="Arial"/>
                        <a:cs typeface="Arial"/>
                      </a:endParaRPr>
                    </a:p>
                  </a:txBody>
                  <a:tcPr anchor="ct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1200" dirty="0"/>
                        <a:t>Περιφέρεια Δυτικής Μακεδονίας</a:t>
                      </a:r>
                      <a:endParaRPr lang="el-GR" sz="1200" dirty="0">
                        <a:latin typeface="Arial"/>
                        <a:cs typeface="Arial"/>
                      </a:endParaRPr>
                    </a:p>
                  </a:txBody>
                  <a:tcPr anchor="ctr"/>
                </a:tc>
                <a:extLst>
                  <a:ext uri="{0D108BD9-81ED-4DB2-BD59-A6C34878D82A}">
                    <a16:rowId xmlns:a16="http://schemas.microsoft.com/office/drawing/2014/main" val="1863078882"/>
                  </a:ext>
                </a:extLst>
              </a:tr>
              <a:tr h="450027">
                <a:tc>
                  <a:txBody>
                    <a:bodyPr/>
                    <a:lstStyle/>
                    <a:p>
                      <a:r>
                        <a:rPr lang="el-GR" sz="1200" dirty="0"/>
                        <a:t>Ενεργειακή Αναβάθμιση Κτιρίων ΠΔΜ σε Κοζάνη, Γρεβενά, Καστοριά</a:t>
                      </a:r>
                      <a:endParaRPr lang="el-GR" sz="1200" dirty="0">
                        <a:latin typeface="Arial"/>
                        <a:cs typeface="Arial"/>
                      </a:endParaRPr>
                    </a:p>
                  </a:txBody>
                  <a:tcPr anchor="ctr"/>
                </a:tc>
                <a:tc>
                  <a:txBody>
                    <a:bodyPr/>
                    <a:lstStyle/>
                    <a:p>
                      <a:pPr algn="ctr"/>
                      <a:r>
                        <a:rPr lang="el-GR" sz="1200"/>
                        <a:t>3.266.780 €</a:t>
                      </a:r>
                      <a:endParaRPr lang="el-GR" sz="1200">
                        <a:latin typeface="Arial"/>
                        <a:cs typeface="Arial"/>
                      </a:endParaRPr>
                    </a:p>
                  </a:txBody>
                  <a:tcPr anchor="ct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1200"/>
                        <a:t>Πανεπιστήμιο Δυτικής Μακεδονίας</a:t>
                      </a:r>
                      <a:endParaRPr lang="el-GR" sz="1200" dirty="0">
                        <a:latin typeface="Arial"/>
                        <a:cs typeface="Arial"/>
                      </a:endParaRPr>
                    </a:p>
                  </a:txBody>
                  <a:tcPr anchor="ctr"/>
                </a:tc>
                <a:extLst>
                  <a:ext uri="{0D108BD9-81ED-4DB2-BD59-A6C34878D82A}">
                    <a16:rowId xmlns:a16="http://schemas.microsoft.com/office/drawing/2014/main" val="2203202939"/>
                  </a:ext>
                </a:extLst>
              </a:tr>
              <a:tr h="457200">
                <a:tc>
                  <a:txBody>
                    <a:bodyPr/>
                    <a:lstStyle/>
                    <a:p>
                      <a:r>
                        <a:rPr lang="el-GR" sz="1200" dirty="0"/>
                        <a:t>Προμήθεια, εγκατάσταση και θέση σε λειτουργία 7 Φ/Β σταθμών </a:t>
                      </a:r>
                      <a:r>
                        <a:rPr lang="el-GR" sz="1200" dirty="0" err="1"/>
                        <a:t>virtual</a:t>
                      </a:r>
                      <a:r>
                        <a:rPr lang="el-GR" sz="1200" dirty="0"/>
                        <a:t> </a:t>
                      </a:r>
                      <a:r>
                        <a:rPr lang="el-GR" sz="1200" dirty="0" err="1"/>
                        <a:t>net-metering</a:t>
                      </a:r>
                      <a:r>
                        <a:rPr lang="el-GR" sz="1200" dirty="0"/>
                        <a:t>, συνολικής ισχύος 7MW</a:t>
                      </a:r>
                      <a:endParaRPr lang="el-GR" sz="1200" dirty="0">
                        <a:latin typeface="Arial"/>
                        <a:cs typeface="Arial"/>
                      </a:endParaRPr>
                    </a:p>
                  </a:txBody>
                  <a:tcPr anchor="ctr"/>
                </a:tc>
                <a:tc>
                  <a:txBody>
                    <a:bodyPr/>
                    <a:lstStyle/>
                    <a:p>
                      <a:pPr algn="ctr"/>
                      <a:r>
                        <a:rPr lang="el-GR" sz="1200" dirty="0"/>
                        <a:t>5.411.327 €</a:t>
                      </a:r>
                      <a:endParaRPr lang="el-GR" sz="1200" dirty="0">
                        <a:latin typeface="Arial"/>
                        <a:cs typeface="Arial"/>
                      </a:endParaRPr>
                    </a:p>
                  </a:txBody>
                  <a:tcPr anchor="ctr"/>
                </a:tc>
                <a:tc>
                  <a:txBody>
                    <a:bodyPr/>
                    <a:lstStyle/>
                    <a:p>
                      <a:pPr algn="ctr"/>
                      <a:r>
                        <a:rPr lang="el-GR" sz="1200" dirty="0"/>
                        <a:t>Ενεργειακή κοινότητα Δήμου Κοζάνης περιορισμένης ευθύνης</a:t>
                      </a:r>
                      <a:endParaRPr lang="el-GR" sz="1200" dirty="0">
                        <a:latin typeface="Arial"/>
                        <a:cs typeface="Arial"/>
                      </a:endParaRPr>
                    </a:p>
                  </a:txBody>
                  <a:tcPr anchor="ctr"/>
                </a:tc>
                <a:extLst>
                  <a:ext uri="{0D108BD9-81ED-4DB2-BD59-A6C34878D82A}">
                    <a16:rowId xmlns:a16="http://schemas.microsoft.com/office/drawing/2014/main" val="2534788793"/>
                  </a:ext>
                </a:extLst>
              </a:tr>
              <a:tr h="457200">
                <a:tc>
                  <a:txBody>
                    <a:bodyPr/>
                    <a:lstStyle/>
                    <a:p>
                      <a:r>
                        <a:rPr lang="el-GR" sz="1200" b="0" dirty="0">
                          <a:solidFill>
                            <a:schemeClr val="tx1"/>
                          </a:solidFill>
                          <a:latin typeface="Arial"/>
                          <a:cs typeface="Arial"/>
                        </a:rPr>
                        <a:t>Εγκατάσταση αντλιών θερμότητας για θέρμανση / ψύξη στη Δυτική Μακεδονία</a:t>
                      </a:r>
                    </a:p>
                  </a:txBody>
                  <a:tcPr anchor="ctr"/>
                </a:tc>
                <a:tc>
                  <a:txBody>
                    <a:bodyPr/>
                    <a:lstStyle/>
                    <a:p>
                      <a:pPr algn="ctr"/>
                      <a:r>
                        <a:rPr lang="el-GR" sz="1200" b="0" dirty="0">
                          <a:solidFill>
                            <a:schemeClr val="tx1"/>
                          </a:solidFill>
                          <a:latin typeface="Arial"/>
                          <a:cs typeface="Arial"/>
                        </a:rPr>
                        <a:t>12.135.000 €</a:t>
                      </a:r>
                    </a:p>
                  </a:txBody>
                  <a:tcPr anchor="ctr"/>
                </a:tc>
                <a:tc>
                  <a:txBody>
                    <a:bodyPr/>
                    <a:lstStyle/>
                    <a:p>
                      <a:pPr algn="ctr"/>
                      <a:r>
                        <a:rPr lang="el-GR" sz="1200" b="0" dirty="0">
                          <a:solidFill>
                            <a:schemeClr val="tx1"/>
                          </a:solidFill>
                          <a:latin typeface="Arial"/>
                          <a:cs typeface="Arial"/>
                        </a:rPr>
                        <a:t>Περιφερειακό ταμείο ανάπτυξης Δυτικής Μακεδονίας</a:t>
                      </a:r>
                    </a:p>
                  </a:txBody>
                  <a:tcPr anchor="ctr"/>
                </a:tc>
                <a:extLst>
                  <a:ext uri="{0D108BD9-81ED-4DB2-BD59-A6C34878D82A}">
                    <a16:rowId xmlns:a16="http://schemas.microsoft.com/office/drawing/2014/main" val="2346580916"/>
                  </a:ext>
                </a:extLst>
              </a:tr>
            </a:tbl>
          </a:graphicData>
        </a:graphic>
      </p:graphicFrame>
      <p:sp>
        <p:nvSpPr>
          <p:cNvPr id="10" name="Title 1">
            <a:extLst>
              <a:ext uri="{FF2B5EF4-FFF2-40B4-BE49-F238E27FC236}">
                <a16:creationId xmlns:a16="http://schemas.microsoft.com/office/drawing/2014/main" id="{43D1529E-2718-E672-D1B5-1416AE3C03A1}"/>
              </a:ext>
            </a:extLst>
          </p:cNvPr>
          <p:cNvSpPr txBox="1">
            <a:spLocks/>
          </p:cNvSpPr>
          <p:nvPr/>
        </p:nvSpPr>
        <p:spPr>
          <a:xfrm>
            <a:off x="25400" y="42865"/>
            <a:ext cx="11992704" cy="660793"/>
          </a:xfrm>
          <a:prstGeom prst="rect">
            <a:avLst/>
          </a:prstGeom>
        </p:spPr>
        <p:txBody>
          <a:bodyPr vert="horz">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dirty="0">
                <a:solidFill>
                  <a:srgbClr val="085195"/>
                </a:solidFill>
                <a:latin typeface="+mn-lt"/>
                <a:ea typeface="Urbanist" panose="020B0604020202020204" charset="0"/>
                <a:cs typeface="Urbanist" panose="020B0604020202020204" charset="0"/>
              </a:rPr>
              <a:t>Ενταγμένες Πράξεις στην Δυτική Μακεδονία</a:t>
            </a:r>
          </a:p>
        </p:txBody>
      </p:sp>
      <p:cxnSp>
        <p:nvCxnSpPr>
          <p:cNvPr id="11" name="Ευθεία γραμμή σύνδεσης 10">
            <a:extLst>
              <a:ext uri="{FF2B5EF4-FFF2-40B4-BE49-F238E27FC236}">
                <a16:creationId xmlns:a16="http://schemas.microsoft.com/office/drawing/2014/main" id="{0FD93CB1-946D-44E9-80E7-12967CFF20CA}"/>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12" name="Ομάδα 11">
            <a:extLst>
              <a:ext uri="{FF2B5EF4-FFF2-40B4-BE49-F238E27FC236}">
                <a16:creationId xmlns:a16="http://schemas.microsoft.com/office/drawing/2014/main" id="{9F6CEFAC-C0CF-4EFA-9B96-8E2E95AD79E3}"/>
              </a:ext>
            </a:extLst>
          </p:cNvPr>
          <p:cNvGrpSpPr/>
          <p:nvPr/>
        </p:nvGrpSpPr>
        <p:grpSpPr>
          <a:xfrm>
            <a:off x="9142669" y="114941"/>
            <a:ext cx="3049332" cy="667839"/>
            <a:chOff x="6857001" y="38580"/>
            <a:chExt cx="2286999" cy="500879"/>
          </a:xfrm>
        </p:grpSpPr>
        <p:sp>
          <p:nvSpPr>
            <p:cNvPr id="17" name="Google Shape;95;p11">
              <a:extLst>
                <a:ext uri="{FF2B5EF4-FFF2-40B4-BE49-F238E27FC236}">
                  <a16:creationId xmlns:a16="http://schemas.microsoft.com/office/drawing/2014/main" id="{1338C048-8E12-46A4-A076-795B4CA47F3F}"/>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18" name="Picture 2" descr="Εικόνα που μεταφορτώθηκε">
              <a:extLst>
                <a:ext uri="{FF2B5EF4-FFF2-40B4-BE49-F238E27FC236}">
                  <a16:creationId xmlns:a16="http://schemas.microsoft.com/office/drawing/2014/main" id="{31DDBF13-8C66-4E7F-9761-2A8B4C23CEC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256723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7F8FA-737E-6907-CDCF-D47B647C1B6D}"/>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B0C6A84-9154-9926-1212-574952ED16E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4" imgW="350" imgH="350" progId="TCLayout.ActiveDocument.1">
                  <p:embed/>
                </p:oleObj>
              </mc:Choice>
              <mc:Fallback>
                <p:oleObj name="think-cell Slide" r:id="rId4" imgW="350" imgH="350" progId="TCLayout.ActiveDocument.1">
                  <p:embed/>
                  <p:pic>
                    <p:nvPicPr>
                      <p:cNvPr id="20" name="think-cell data - do not delete" hidden="1">
                        <a:extLst>
                          <a:ext uri="{FF2B5EF4-FFF2-40B4-BE49-F238E27FC236}">
                            <a16:creationId xmlns:a16="http://schemas.microsoft.com/office/drawing/2014/main" id="{9B0C6A84-9154-9926-1212-574952ED16E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3D1529E-2718-E672-D1B5-1416AE3C03A1}"/>
              </a:ext>
            </a:extLst>
          </p:cNvPr>
          <p:cNvSpPr txBox="1">
            <a:spLocks/>
          </p:cNvSpPr>
          <p:nvPr/>
        </p:nvSpPr>
        <p:spPr>
          <a:xfrm>
            <a:off x="0" y="126345"/>
            <a:ext cx="11992704" cy="660793"/>
          </a:xfrm>
          <a:prstGeom prst="rect">
            <a:avLst/>
          </a:prstGeom>
        </p:spPr>
        <p:txBody>
          <a:bodyPr vert="horz">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dirty="0">
                <a:solidFill>
                  <a:srgbClr val="085195"/>
                </a:solidFill>
                <a:latin typeface="+mn-lt"/>
                <a:ea typeface="Urbanist" panose="020B0604020202020204" charset="0"/>
                <a:cs typeface="Urbanist" panose="020B0604020202020204" charset="0"/>
              </a:rPr>
              <a:t>Ενταγμένες Πράξεις Δυτικής Μακεδονίας</a:t>
            </a:r>
          </a:p>
        </p:txBody>
      </p:sp>
      <p:cxnSp>
        <p:nvCxnSpPr>
          <p:cNvPr id="11" name="Ευθεία γραμμή σύνδεσης 10">
            <a:extLst>
              <a:ext uri="{FF2B5EF4-FFF2-40B4-BE49-F238E27FC236}">
                <a16:creationId xmlns:a16="http://schemas.microsoft.com/office/drawing/2014/main" id="{0FD93CB1-946D-44E9-80E7-12967CFF20CA}"/>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12" name="Ομάδα 11">
            <a:extLst>
              <a:ext uri="{FF2B5EF4-FFF2-40B4-BE49-F238E27FC236}">
                <a16:creationId xmlns:a16="http://schemas.microsoft.com/office/drawing/2014/main" id="{9F6CEFAC-C0CF-4EFA-9B96-8E2E95AD79E3}"/>
              </a:ext>
            </a:extLst>
          </p:cNvPr>
          <p:cNvGrpSpPr/>
          <p:nvPr/>
        </p:nvGrpSpPr>
        <p:grpSpPr>
          <a:xfrm>
            <a:off x="9142669" y="114941"/>
            <a:ext cx="3049332" cy="667839"/>
            <a:chOff x="6857001" y="38580"/>
            <a:chExt cx="2286999" cy="500879"/>
          </a:xfrm>
        </p:grpSpPr>
        <p:sp>
          <p:nvSpPr>
            <p:cNvPr id="17" name="Google Shape;95;p11">
              <a:extLst>
                <a:ext uri="{FF2B5EF4-FFF2-40B4-BE49-F238E27FC236}">
                  <a16:creationId xmlns:a16="http://schemas.microsoft.com/office/drawing/2014/main" id="{1338C048-8E12-46A4-A076-795B4CA47F3F}"/>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18" name="Picture 2" descr="Εικόνα που μεταφορτώθηκε">
              <a:extLst>
                <a:ext uri="{FF2B5EF4-FFF2-40B4-BE49-F238E27FC236}">
                  <a16:creationId xmlns:a16="http://schemas.microsoft.com/office/drawing/2014/main" id="{31DDBF13-8C66-4E7F-9761-2A8B4C23CEC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15" name="Table 1">
            <a:extLst>
              <a:ext uri="{FF2B5EF4-FFF2-40B4-BE49-F238E27FC236}">
                <a16:creationId xmlns:a16="http://schemas.microsoft.com/office/drawing/2014/main" id="{98E5648D-7FF2-244B-A7A2-7606986D9909}"/>
              </a:ext>
            </a:extLst>
          </p:cNvPr>
          <p:cNvGraphicFramePr>
            <a:graphicFrameLocks noGrp="1"/>
          </p:cNvGraphicFramePr>
          <p:nvPr/>
        </p:nvGraphicFramePr>
        <p:xfrm>
          <a:off x="265045" y="871325"/>
          <a:ext cx="11497847" cy="5362495"/>
        </p:xfrm>
        <a:graphic>
          <a:graphicData uri="http://schemas.openxmlformats.org/drawingml/2006/table">
            <a:tbl>
              <a:tblPr firstRow="1" bandRow="1">
                <a:tableStyleId>{9D7B26C5-4107-4FEC-AEDC-1716B250A1EF}</a:tableStyleId>
              </a:tblPr>
              <a:tblGrid>
                <a:gridCol w="6652327">
                  <a:extLst>
                    <a:ext uri="{9D8B030D-6E8A-4147-A177-3AD203B41FA5}">
                      <a16:colId xmlns:a16="http://schemas.microsoft.com/office/drawing/2014/main" val="3008717988"/>
                    </a:ext>
                  </a:extLst>
                </a:gridCol>
                <a:gridCol w="1806804">
                  <a:extLst>
                    <a:ext uri="{9D8B030D-6E8A-4147-A177-3AD203B41FA5}">
                      <a16:colId xmlns:a16="http://schemas.microsoft.com/office/drawing/2014/main" val="3230157920"/>
                    </a:ext>
                  </a:extLst>
                </a:gridCol>
                <a:gridCol w="3038716">
                  <a:extLst>
                    <a:ext uri="{9D8B030D-6E8A-4147-A177-3AD203B41FA5}">
                      <a16:colId xmlns:a16="http://schemas.microsoft.com/office/drawing/2014/main" val="491191602"/>
                    </a:ext>
                  </a:extLst>
                </a:gridCol>
              </a:tblGrid>
              <a:tr h="336601">
                <a:tc>
                  <a:txBody>
                    <a:bodyPr/>
                    <a:lstStyle/>
                    <a:p>
                      <a:pPr algn="ctr"/>
                      <a:r>
                        <a:rPr lang="el-GR" sz="1500" dirty="0"/>
                        <a:t>Τίτλος Πράξης</a:t>
                      </a:r>
                      <a:endParaRPr lang="el-GR" sz="1500" dirty="0">
                        <a:solidFill>
                          <a:srgbClr val="1F497D"/>
                        </a:solidFill>
                      </a:endParaRPr>
                    </a:p>
                  </a:txBody>
                  <a:tcPr/>
                </a:tc>
                <a:tc>
                  <a:txBody>
                    <a:bodyPr/>
                    <a:lstStyle/>
                    <a:p>
                      <a:pPr algn="ctr"/>
                      <a:r>
                        <a:rPr lang="el-GR" sz="1500"/>
                        <a:t>Π/Υ</a:t>
                      </a:r>
                      <a:endParaRPr lang="el-GR" sz="1500">
                        <a:solidFill>
                          <a:srgbClr val="1F497D"/>
                        </a:solidFill>
                      </a:endParaRPr>
                    </a:p>
                  </a:txBody>
                  <a:tcPr/>
                </a:tc>
                <a:tc>
                  <a:txBody>
                    <a:bodyPr/>
                    <a:lstStyle/>
                    <a:p>
                      <a:pPr algn="ctr"/>
                      <a:r>
                        <a:rPr lang="el-GR" sz="1500"/>
                        <a:t>Δικαιούχος</a:t>
                      </a:r>
                      <a:endParaRPr lang="el-GR" sz="1500">
                        <a:solidFill>
                          <a:srgbClr val="1F497D"/>
                        </a:solidFill>
                      </a:endParaRPr>
                    </a:p>
                  </a:txBody>
                  <a:tcPr/>
                </a:tc>
                <a:extLst>
                  <a:ext uri="{0D108BD9-81ED-4DB2-BD59-A6C34878D82A}">
                    <a16:rowId xmlns:a16="http://schemas.microsoft.com/office/drawing/2014/main" val="620659295"/>
                  </a:ext>
                </a:extLst>
              </a:tr>
              <a:tr h="235549">
                <a:tc>
                  <a:txBody>
                    <a:bodyPr/>
                    <a:lstStyle/>
                    <a:p>
                      <a:r>
                        <a:rPr lang="el-GR" sz="1200" dirty="0"/>
                        <a:t>Κέντρα ανάπτυξης δεξιοτήτων και απασχόλησης στις περιοχές ΔΑΜ</a:t>
                      </a:r>
                      <a:endParaRPr lang="el-GR" sz="1200" dirty="0">
                        <a:latin typeface="Arial" panose="020B0604020202020204" pitchFamily="34" charset="0"/>
                        <a:cs typeface="Arial" panose="020B0604020202020204" pitchFamily="34" charset="0"/>
                      </a:endParaRPr>
                    </a:p>
                  </a:txBody>
                  <a:tcPr marL="108000" marR="36000" marT="0" anchor="ctr"/>
                </a:tc>
                <a:tc>
                  <a:txBody>
                    <a:bodyPr/>
                    <a:lstStyle/>
                    <a:p>
                      <a:pPr algn="ctr"/>
                      <a:r>
                        <a:rPr lang="el-GR" sz="1200" dirty="0"/>
                        <a:t>15.750.000 €</a:t>
                      </a:r>
                      <a:endParaRPr lang="el-GR" sz="1200" dirty="0">
                        <a:latin typeface="Arial" panose="020B0604020202020204" pitchFamily="34" charset="0"/>
                        <a:cs typeface="Arial" panose="020B0604020202020204" pitchFamily="34" charset="0"/>
                      </a:endParaRPr>
                    </a:p>
                  </a:txBody>
                  <a:tcPr marL="0" marR="0" marT="0" marB="0" anchor="ctr"/>
                </a:tc>
                <a:tc>
                  <a:txBody>
                    <a:bodyPr/>
                    <a:lstStyle/>
                    <a:p>
                      <a:pPr algn="ctr"/>
                      <a:r>
                        <a:rPr lang="el-GR" sz="1200" dirty="0"/>
                        <a:t>Ε.Λ.Ε.Δ.Α.Μ</a:t>
                      </a:r>
                      <a:endParaRPr lang="el-GR" sz="12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1776760971"/>
                  </a:ext>
                </a:extLst>
              </a:tr>
              <a:tr h="612428">
                <a:tc>
                  <a:txBody>
                    <a:bodyPr/>
                    <a:lstStyle/>
                    <a:p>
                      <a:r>
                        <a:rPr lang="el-GR" sz="1200" dirty="0"/>
                        <a:t>Ολοκληρωμένες παρεμβάσεις συμβουλευτικής, επαγγελματικής κατάρτισης και πιστοποίησης δεξιοτήτων για εργαζομένους και αυτοαπασχολουμένους σε επισφαλείς θέσεις στις Περιφέρειες της Δυτικής Μακεδονίας και της Πελοποννήσου</a:t>
                      </a:r>
                      <a:endParaRPr lang="el-GR" sz="1200" dirty="0">
                        <a:latin typeface="Arial" panose="020B0604020202020204" pitchFamily="34" charset="0"/>
                        <a:cs typeface="Arial" panose="020B0604020202020204" pitchFamily="34" charset="0"/>
                      </a:endParaRPr>
                    </a:p>
                  </a:txBody>
                  <a:tcPr marL="108000" marR="36000" marT="0" anchor="ctr"/>
                </a:tc>
                <a:tc>
                  <a:txBody>
                    <a:bodyPr/>
                    <a:lstStyle/>
                    <a:p>
                      <a:pPr algn="ctr"/>
                      <a:r>
                        <a:rPr lang="el-GR" sz="1200"/>
                        <a:t>7.519.000 €</a:t>
                      </a:r>
                      <a:endParaRPr lang="el-GR" sz="1200">
                        <a:latin typeface="Arial" panose="020B0604020202020204" pitchFamily="34" charset="0"/>
                        <a:cs typeface="Arial" panose="020B0604020202020204" pitchFamily="34" charset="0"/>
                      </a:endParaRPr>
                    </a:p>
                  </a:txBody>
                  <a:tcPr marL="0" marR="0" marT="0" marB="0" anchor="ctr"/>
                </a:tc>
                <a:tc>
                  <a:txBody>
                    <a:bodyPr/>
                    <a:lstStyle/>
                    <a:p>
                      <a:pPr algn="ctr"/>
                      <a:r>
                        <a:rPr lang="el-GR" sz="1200" dirty="0"/>
                        <a:t>Ε.Υ.Δ. &amp; Εφαρμογής τομέων βιομηχανίας, εμπορίου &amp; προστασίας καταναλωτή</a:t>
                      </a:r>
                      <a:endParaRPr lang="el-GR" sz="12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135690851"/>
                  </a:ext>
                </a:extLst>
              </a:tr>
              <a:tr h="423988">
                <a:tc>
                  <a:txBody>
                    <a:bodyPr/>
                    <a:lstStyle/>
                    <a:p>
                      <a:r>
                        <a:rPr lang="el-GR" sz="1200" dirty="0"/>
                        <a:t>Ολοκληρωμένες παρεμβάσεις ενδυνάμωσης του εργατικού δυναμικού για τη δίκαιη μετάβαση στη </a:t>
                      </a:r>
                      <a:r>
                        <a:rPr lang="el-GR" sz="1200" dirty="0" err="1"/>
                        <a:t>μεταλιγνιτική</a:t>
                      </a:r>
                      <a:r>
                        <a:rPr lang="el-GR" sz="1200" dirty="0"/>
                        <a:t> περίοδο</a:t>
                      </a:r>
                      <a:endParaRPr lang="el-GR" sz="1200" dirty="0">
                        <a:latin typeface="Arial" panose="020B0604020202020204" pitchFamily="34" charset="0"/>
                        <a:cs typeface="Arial" panose="020B0604020202020204" pitchFamily="34" charset="0"/>
                      </a:endParaRPr>
                    </a:p>
                  </a:txBody>
                  <a:tcPr marL="108000" marR="36000" marT="0" anchor="ctr"/>
                </a:tc>
                <a:tc>
                  <a:txBody>
                    <a:bodyPr/>
                    <a:lstStyle/>
                    <a:p>
                      <a:pPr algn="ctr"/>
                      <a:r>
                        <a:rPr lang="el-GR" sz="1200"/>
                        <a:t>15.888.000 €</a:t>
                      </a:r>
                      <a:endParaRPr lang="el-GR" sz="1200">
                        <a:latin typeface="Arial" panose="020B0604020202020204" pitchFamily="34" charset="0"/>
                        <a:cs typeface="Arial" panose="020B0604020202020204" pitchFamily="34" charset="0"/>
                      </a:endParaRPr>
                    </a:p>
                  </a:txBody>
                  <a:tcPr marL="0" marR="0" marT="0" marB="0" anchor="ct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1200" dirty="0"/>
                        <a:t>Ινστιτούτο Εργασίας της Γενικής Συνομοσπονδίας Εργατών Ελλάδας</a:t>
                      </a:r>
                      <a:endParaRPr lang="el-GR" sz="12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2277849589"/>
                  </a:ext>
                </a:extLst>
              </a:tr>
              <a:tr h="612428">
                <a:tc>
                  <a:txBody>
                    <a:bodyPr/>
                    <a:lstStyle/>
                    <a:p>
                      <a:r>
                        <a:rPr lang="el-GR" sz="1200" dirty="0"/>
                        <a:t>Ειδικό πρόγραμμα επιχορήγησης επιχειρήσεων για την απασχόληση ανέργων, πρώην εργαζομένων στις επιχειρήσεις που επλήγησαν λόγω της </a:t>
                      </a:r>
                      <a:r>
                        <a:rPr lang="el-GR" sz="1200" dirty="0" err="1"/>
                        <a:t>απολιγνιτοποίησης</a:t>
                      </a:r>
                      <a:r>
                        <a:rPr lang="el-GR" sz="1200" dirty="0"/>
                        <a:t> στα ΕΣΔΙΜ Δυτικής Μακεδονίας και Μεγαλόπολης</a:t>
                      </a:r>
                      <a:endParaRPr lang="el-GR" sz="1200" dirty="0">
                        <a:latin typeface="Arial" panose="020B0604020202020204" pitchFamily="34" charset="0"/>
                        <a:cs typeface="Arial" panose="020B0604020202020204" pitchFamily="34" charset="0"/>
                      </a:endParaRPr>
                    </a:p>
                  </a:txBody>
                  <a:tcPr marL="108000" marR="36000" marT="0" anchor="ctr"/>
                </a:tc>
                <a:tc>
                  <a:txBody>
                    <a:bodyPr/>
                    <a:lstStyle/>
                    <a:p>
                      <a:pPr algn="ctr"/>
                      <a:r>
                        <a:rPr lang="el-GR" sz="1200" dirty="0"/>
                        <a:t>15.355.976 €</a:t>
                      </a:r>
                      <a:endParaRPr lang="el-GR" sz="1200" dirty="0">
                        <a:latin typeface="Arial" panose="020B0604020202020204" pitchFamily="34" charset="0"/>
                        <a:cs typeface="Arial" panose="020B0604020202020204" pitchFamily="34" charset="0"/>
                      </a:endParaRPr>
                    </a:p>
                  </a:txBody>
                  <a:tcPr marL="0" marR="0" marT="0" marB="0" anchor="ctr"/>
                </a:tc>
                <a:tc>
                  <a:txBody>
                    <a:bodyPr/>
                    <a:lstStyle/>
                    <a:p>
                      <a:pPr algn="ctr"/>
                      <a:r>
                        <a:rPr lang="el-GR" sz="1200"/>
                        <a:t>ΔΥΠΑ</a:t>
                      </a:r>
                      <a:endParaRPr lang="el-GR" sz="120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1221281709"/>
                  </a:ext>
                </a:extLst>
              </a:tr>
              <a:tr h="431499">
                <a:tc>
                  <a:txBody>
                    <a:bodyPr/>
                    <a:lstStyle/>
                    <a:p>
                      <a:r>
                        <a:rPr lang="el-GR" sz="1200" dirty="0"/>
                        <a:t>Ολοκληρωμένα Προγράμματα Προώθησης στην Απασχόληση για ανέργους (δράσεις συμβουλευτικής, κατάρτισης, πρακτικής άσκησης και πιστοποίησης) στις περιοχές ΔΑΜ</a:t>
                      </a:r>
                      <a:endParaRPr lang="el-GR" sz="1200" dirty="0">
                        <a:latin typeface="Arial" panose="020B0604020202020204" pitchFamily="34" charset="0"/>
                        <a:cs typeface="Arial" panose="020B0604020202020204" pitchFamily="34" charset="0"/>
                      </a:endParaRPr>
                    </a:p>
                  </a:txBody>
                  <a:tcPr marL="108000" marR="36000" marT="0" anchor="ctr"/>
                </a:tc>
                <a:tc>
                  <a:txBody>
                    <a:bodyPr/>
                    <a:lstStyle/>
                    <a:p>
                      <a:pPr algn="ctr"/>
                      <a:r>
                        <a:rPr lang="el-GR" sz="1200"/>
                        <a:t>6.478.740 €</a:t>
                      </a:r>
                      <a:endParaRPr lang="el-GR" sz="1200">
                        <a:latin typeface="Arial" panose="020B0604020202020204" pitchFamily="34" charset="0"/>
                        <a:cs typeface="Arial" panose="020B0604020202020204" pitchFamily="34" charset="0"/>
                      </a:endParaRPr>
                    </a:p>
                  </a:txBody>
                  <a:tcPr marL="0" marR="0" marT="0" marB="0" anchor="ctr"/>
                </a:tc>
                <a:tc>
                  <a:txBody>
                    <a:bodyPr/>
                    <a:lstStyle/>
                    <a:p>
                      <a:pPr algn="ctr"/>
                      <a:r>
                        <a:rPr lang="el-GR" sz="1200"/>
                        <a:t>Οικονομικό Επιμελητήριο της Ελλάδας</a:t>
                      </a:r>
                      <a:endParaRPr lang="el-GR" sz="120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1092617551"/>
                  </a:ext>
                </a:extLst>
              </a:tr>
              <a:tr h="272259">
                <a:tc>
                  <a:txBody>
                    <a:bodyPr/>
                    <a:lstStyle/>
                    <a:p>
                      <a:pPr marL="0" algn="l" fontAlgn="t"/>
                      <a:r>
                        <a:rPr lang="el-GR" sz="1200" dirty="0"/>
                        <a:t>Ολοκληρωμένο πρόγραμμα προώθησης στην απασχόληση ανέργων Φλώρινας</a:t>
                      </a:r>
                      <a:endParaRPr lang="el-GR" sz="1200" dirty="0">
                        <a:solidFill>
                          <a:schemeClr val="dk1"/>
                        </a:solidFill>
                        <a:latin typeface="Arial" panose="020B0604020202020204" pitchFamily="34" charset="0"/>
                        <a:ea typeface="+mn-ea"/>
                        <a:cs typeface="Arial" panose="020B0604020202020204" pitchFamily="34" charset="0"/>
                      </a:endParaRPr>
                    </a:p>
                  </a:txBody>
                  <a:tcPr marL="108000" marR="36000" marT="0" marB="0" anchor="ctr"/>
                </a:tc>
                <a:tc>
                  <a:txBody>
                    <a:bodyPr/>
                    <a:lstStyle/>
                    <a:p>
                      <a:pPr marL="0" algn="ctr" fontAlgn="t"/>
                      <a:r>
                        <a:rPr lang="el-GR" sz="1200"/>
                        <a:t>3.668.750 €</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tc>
                  <a:txBody>
                    <a:bodyPr/>
                    <a:lstStyle/>
                    <a:p>
                      <a:pPr marL="0" algn="ctr" fontAlgn="t"/>
                      <a:r>
                        <a:rPr lang="el-GR" sz="1200"/>
                        <a:t>Επιμελητήριο Φλώρινας</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9988749"/>
                  </a:ext>
                </a:extLst>
              </a:tr>
              <a:tr h="252095">
                <a:tc>
                  <a:txBody>
                    <a:bodyPr/>
                    <a:lstStyle/>
                    <a:p>
                      <a:pPr marL="0" algn="l" fontAlgn="t"/>
                      <a:r>
                        <a:rPr lang="el-GR" sz="1200" dirty="0"/>
                        <a:t>Πλοηγός Δεξιοτήτων στην Κοζάνη Δυτικής Μακεδονίας</a:t>
                      </a:r>
                      <a:endParaRPr lang="el-GR" sz="1200" dirty="0">
                        <a:solidFill>
                          <a:schemeClr val="dk1"/>
                        </a:solidFill>
                        <a:latin typeface="Arial" panose="020B0604020202020204" pitchFamily="34" charset="0"/>
                        <a:ea typeface="+mn-ea"/>
                        <a:cs typeface="Arial" panose="020B0604020202020204" pitchFamily="34" charset="0"/>
                      </a:endParaRPr>
                    </a:p>
                  </a:txBody>
                  <a:tcPr marL="108000" marR="36000" marT="0" marB="0" anchor="ctr"/>
                </a:tc>
                <a:tc>
                  <a:txBody>
                    <a:bodyPr/>
                    <a:lstStyle/>
                    <a:p>
                      <a:pPr marL="0" algn="ctr" fontAlgn="t"/>
                      <a:r>
                        <a:rPr lang="el-GR" sz="1200"/>
                        <a:t>3.227.750 €</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tc>
                  <a:txBody>
                    <a:bodyPr/>
                    <a:lstStyle/>
                    <a:p>
                      <a:pPr marL="0" algn="ctr" fontAlgn="t"/>
                      <a:r>
                        <a:rPr lang="el-GR" sz="1200"/>
                        <a:t>Επιμελητήριο Κοζάνης</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2940360006"/>
                  </a:ext>
                </a:extLst>
              </a:tr>
              <a:tr h="436960">
                <a:tc>
                  <a:txBody>
                    <a:bodyPr/>
                    <a:lstStyle/>
                    <a:p>
                      <a:pPr marL="0" algn="l" fontAlgn="t"/>
                      <a:r>
                        <a:rPr lang="el-GR" sz="1200" dirty="0"/>
                        <a:t>Ολοκληρωμένα Προγράμματα Προώθησης στην Απασχόληση για ανέργους (δράσεις συμβουλευτικής, κατάρτισης, πρακτικής άσκησης και πιστοποίησης) στις περιοχές ΔΑΜ</a:t>
                      </a:r>
                      <a:endParaRPr lang="el-GR" sz="1200" dirty="0">
                        <a:solidFill>
                          <a:schemeClr val="dk1"/>
                        </a:solidFill>
                        <a:latin typeface="Arial" panose="020B0604020202020204" pitchFamily="34" charset="0"/>
                        <a:ea typeface="+mn-ea"/>
                        <a:cs typeface="Arial" panose="020B0604020202020204" pitchFamily="34" charset="0"/>
                      </a:endParaRPr>
                    </a:p>
                  </a:txBody>
                  <a:tcPr marL="108000" marR="36000" marT="0" marB="0" anchor="ctr"/>
                </a:tc>
                <a:tc>
                  <a:txBody>
                    <a:bodyPr/>
                    <a:lstStyle/>
                    <a:p>
                      <a:pPr marL="0" algn="ctr" fontAlgn="t"/>
                      <a:r>
                        <a:rPr lang="el-GR" sz="1200"/>
                        <a:t>5.758.880 €</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tc>
                  <a:txBody>
                    <a:bodyPr/>
                    <a:lstStyle/>
                    <a:p>
                      <a:pPr marL="0" algn="ctr" fontAlgn="t"/>
                      <a:r>
                        <a:rPr lang="el-GR" sz="1200"/>
                        <a:t>Τεχνικό Επιμελητήριο Ελλάδος - ΤΕΕ</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4027906322"/>
                  </a:ext>
                </a:extLst>
              </a:tr>
              <a:tr h="284024">
                <a:tc>
                  <a:txBody>
                    <a:bodyPr/>
                    <a:lstStyle/>
                    <a:p>
                      <a:pPr marL="0" algn="l" fontAlgn="t"/>
                      <a:r>
                        <a:rPr lang="el-GR" sz="1200" dirty="0"/>
                        <a:t>Ενισχύοντας την Απασχόληση στην Περιφερειακή Ενότητα Γρεβενών</a:t>
                      </a:r>
                      <a:endParaRPr lang="el-GR" sz="1200" dirty="0">
                        <a:solidFill>
                          <a:schemeClr val="dk1"/>
                        </a:solidFill>
                        <a:latin typeface="Arial" panose="020B0604020202020204" pitchFamily="34" charset="0"/>
                        <a:ea typeface="+mn-ea"/>
                        <a:cs typeface="Arial" panose="020B0604020202020204" pitchFamily="34" charset="0"/>
                      </a:endParaRPr>
                    </a:p>
                  </a:txBody>
                  <a:tcPr marL="108000" marR="36000" marT="0" marB="46800" anchor="ctr"/>
                </a:tc>
                <a:tc>
                  <a:txBody>
                    <a:bodyPr/>
                    <a:lstStyle/>
                    <a:p>
                      <a:pPr marL="0" algn="ctr" fontAlgn="t"/>
                      <a:r>
                        <a:rPr lang="el-GR" sz="1200" dirty="0"/>
                        <a:t>2.532.713 €</a:t>
                      </a:r>
                      <a:endParaRPr lang="el-GR" sz="1200" dirty="0">
                        <a:solidFill>
                          <a:schemeClr val="dk1"/>
                        </a:solidFill>
                        <a:latin typeface="Arial" panose="020B0604020202020204" pitchFamily="34" charset="0"/>
                        <a:ea typeface="+mn-ea"/>
                        <a:cs typeface="Arial" panose="020B0604020202020204" pitchFamily="34" charset="0"/>
                      </a:endParaRPr>
                    </a:p>
                  </a:txBody>
                  <a:tcPr marL="0" marR="0" marT="0" marB="0" anchor="ctr"/>
                </a:tc>
                <a:tc>
                  <a:txBody>
                    <a:bodyPr/>
                    <a:lstStyle/>
                    <a:p>
                      <a:pPr marL="0" algn="ctr" fontAlgn="t"/>
                      <a:r>
                        <a:rPr lang="el-GR" sz="1200"/>
                        <a:t>Επιμελητήριο Γρεβενών</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3014747414"/>
                  </a:ext>
                </a:extLst>
              </a:tr>
              <a:tr h="236661">
                <a:tc>
                  <a:txBody>
                    <a:bodyPr/>
                    <a:lstStyle/>
                    <a:p>
                      <a:pPr marL="0" algn="l" fontAlgn="t"/>
                      <a:r>
                        <a:rPr lang="el-GR" sz="1200" dirty="0"/>
                        <a:t>Ενδυνάμωση Δεξιοτήτων Περιφερειακής Ενότητας Καστοριάς</a:t>
                      </a:r>
                      <a:endParaRPr lang="el-GR" sz="1200" dirty="0">
                        <a:solidFill>
                          <a:schemeClr val="dk1"/>
                        </a:solidFill>
                        <a:latin typeface="Arial" panose="020B0604020202020204" pitchFamily="34" charset="0"/>
                        <a:ea typeface="+mn-ea"/>
                        <a:cs typeface="Arial" panose="020B0604020202020204" pitchFamily="34" charset="0"/>
                      </a:endParaRPr>
                    </a:p>
                  </a:txBody>
                  <a:tcPr marL="108000" marR="36000" marT="0" marB="46800" anchor="ctr"/>
                </a:tc>
                <a:tc>
                  <a:txBody>
                    <a:bodyPr/>
                    <a:lstStyle/>
                    <a:p>
                      <a:pPr marL="0" algn="ctr" fontAlgn="t"/>
                      <a:r>
                        <a:rPr lang="el-GR" sz="1200"/>
                        <a:t>3.303.750 €</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tc>
                  <a:txBody>
                    <a:bodyPr/>
                    <a:lstStyle/>
                    <a:p>
                      <a:pPr marL="0" algn="ctr" fontAlgn="t"/>
                      <a:r>
                        <a:rPr lang="el-GR" sz="1200"/>
                        <a:t>Επιμελητήριο Καστοριάς</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1863078882"/>
                  </a:ext>
                </a:extLst>
              </a:tr>
              <a:tr h="425101">
                <a:tc>
                  <a:txBody>
                    <a:bodyPr/>
                    <a:lstStyle/>
                    <a:p>
                      <a:pPr marL="0" algn="l" fontAlgn="t"/>
                      <a:r>
                        <a:rPr lang="el-GR" sz="1200" dirty="0"/>
                        <a:t>Αναβάθμιση και Διεύρυνση των Κοινωνικών και </a:t>
                      </a:r>
                      <a:r>
                        <a:rPr lang="el-GR" sz="1200" dirty="0" err="1"/>
                        <a:t>Προνοιακών</a:t>
                      </a:r>
                      <a:r>
                        <a:rPr lang="el-GR" sz="1200" dirty="0"/>
                        <a:t> Υπηρεσιών στην Περιφέρεια Δυτικής Μακεδονίας</a:t>
                      </a:r>
                      <a:endParaRPr lang="el-GR" sz="1200" dirty="0">
                        <a:solidFill>
                          <a:schemeClr val="dk1"/>
                        </a:solidFill>
                        <a:latin typeface="Arial" panose="020B0604020202020204" pitchFamily="34" charset="0"/>
                        <a:ea typeface="+mn-ea"/>
                        <a:cs typeface="Arial" panose="020B0604020202020204" pitchFamily="34" charset="0"/>
                      </a:endParaRPr>
                    </a:p>
                  </a:txBody>
                  <a:tcPr marL="108000" marR="36000" marT="0" marB="46800" anchor="ctr"/>
                </a:tc>
                <a:tc>
                  <a:txBody>
                    <a:bodyPr/>
                    <a:lstStyle/>
                    <a:p>
                      <a:pPr marL="0" algn="ctr" fontAlgn="t"/>
                      <a:r>
                        <a:rPr lang="el-GR" sz="1200"/>
                        <a:t>8.000.000 €</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tc>
                  <a:txBody>
                    <a:bodyPr/>
                    <a:lstStyle/>
                    <a:p>
                      <a:pPr marL="0" algn="ctr" fontAlgn="t"/>
                      <a:r>
                        <a:rPr lang="el-GR" sz="1200"/>
                        <a:t>Περιφέρεια Δυτικής Μακεδονίας</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2203202939"/>
                  </a:ext>
                </a:extLst>
              </a:tr>
              <a:tr h="425101">
                <a:tc>
                  <a:txBody>
                    <a:bodyPr/>
                    <a:lstStyle/>
                    <a:p>
                      <a:pPr marL="0" algn="l" fontAlgn="t"/>
                      <a:r>
                        <a:rPr lang="el-GR" sz="1200" dirty="0"/>
                        <a:t>Προγράμματα εξατομικευμένης παρέμβασης για άνεργους νέους με υλοποίηση δράσεων διάγνωσης αναγκών, επαγγελματικής συμβουλευτικής και κοινωνικής ενδυνάμωσης</a:t>
                      </a:r>
                      <a:endParaRPr lang="el-GR" sz="1200" dirty="0">
                        <a:solidFill>
                          <a:schemeClr val="dk1"/>
                        </a:solidFill>
                        <a:latin typeface="Arial" panose="020B0604020202020204" pitchFamily="34" charset="0"/>
                        <a:ea typeface="+mn-ea"/>
                        <a:cs typeface="Arial" panose="020B0604020202020204" pitchFamily="34" charset="0"/>
                      </a:endParaRPr>
                    </a:p>
                  </a:txBody>
                  <a:tcPr marL="108000" marR="36000" marT="0" marB="46800" anchor="ctr"/>
                </a:tc>
                <a:tc>
                  <a:txBody>
                    <a:bodyPr/>
                    <a:lstStyle/>
                    <a:p>
                      <a:pPr marL="0" algn="ctr" fontAlgn="t"/>
                      <a:r>
                        <a:rPr lang="el-GR" sz="1200"/>
                        <a:t>5.944.320 €</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1200"/>
                        <a:t>Ινστιτούτο Εργασίας της Γενικής Συνομοσπονδίας Εργατών Ελλάδας</a:t>
                      </a:r>
                      <a:endParaRPr lang="el-GR" sz="120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2534788793"/>
                  </a:ext>
                </a:extLst>
              </a:tr>
              <a:tr h="377801">
                <a:tc>
                  <a:txBody>
                    <a:bodyPr/>
                    <a:lstStyle/>
                    <a:p>
                      <a:pPr marL="0" algn="l" fontAlgn="t"/>
                      <a:r>
                        <a:rPr lang="el-GR" sz="1200" dirty="0"/>
                        <a:t>Υποστήριξη φορέων / δικαιούχων για ωρίμανση και αποτελεσματική υλοποίηση πράξεων</a:t>
                      </a:r>
                      <a:endParaRPr lang="el-GR" sz="1200" dirty="0">
                        <a:solidFill>
                          <a:schemeClr val="dk1"/>
                        </a:solidFill>
                        <a:latin typeface="Arial" panose="020B0604020202020204" pitchFamily="34" charset="0"/>
                        <a:ea typeface="+mn-ea"/>
                        <a:cs typeface="Arial" panose="020B0604020202020204" pitchFamily="34" charset="0"/>
                      </a:endParaRPr>
                    </a:p>
                  </a:txBody>
                  <a:tcPr marL="108000" marR="36000" marT="0" marB="46800" anchor="ctr"/>
                </a:tc>
                <a:tc>
                  <a:txBody>
                    <a:bodyPr/>
                    <a:lstStyle/>
                    <a:p>
                      <a:pPr marL="0" algn="ctr" fontAlgn="t"/>
                      <a:r>
                        <a:rPr lang="el-GR" sz="1200"/>
                        <a:t>5.670.000 €</a:t>
                      </a:r>
                      <a:endParaRPr lang="el-GR" sz="1200">
                        <a:solidFill>
                          <a:schemeClr val="dk1"/>
                        </a:solidFill>
                        <a:latin typeface="Arial" panose="020B0604020202020204" pitchFamily="34" charset="0"/>
                        <a:ea typeface="+mn-ea"/>
                        <a:cs typeface="Arial" panose="020B0604020202020204" pitchFamily="34" charset="0"/>
                      </a:endParaRPr>
                    </a:p>
                  </a:txBody>
                  <a:tcPr marL="0" marR="0" marT="0" marB="0" anchor="ct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1200" dirty="0"/>
                        <a:t>Διαχειριστική Αρχή Προγράμματος ΔΑΜ</a:t>
                      </a:r>
                      <a:endParaRPr lang="el-GR" sz="12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1179198003"/>
                  </a:ext>
                </a:extLst>
              </a:tr>
            </a:tbl>
          </a:graphicData>
        </a:graphic>
      </p:graphicFrame>
      <p:sp>
        <p:nvSpPr>
          <p:cNvPr id="16" name="Rectangle 3">
            <a:extLst>
              <a:ext uri="{FF2B5EF4-FFF2-40B4-BE49-F238E27FC236}">
                <a16:creationId xmlns:a16="http://schemas.microsoft.com/office/drawing/2014/main" id="{10DABD0C-68D9-3A4C-7303-B99016AC0A5A}"/>
              </a:ext>
            </a:extLst>
          </p:cNvPr>
          <p:cNvSpPr/>
          <p:nvPr/>
        </p:nvSpPr>
        <p:spPr>
          <a:xfrm>
            <a:off x="2498705" y="6361762"/>
            <a:ext cx="2971792" cy="295615"/>
          </a:xfrm>
          <a:prstGeom prst="rect">
            <a:avLst/>
          </a:prstGeom>
          <a:noFill/>
          <a:ln>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l-GR" sz="2133" b="1" dirty="0">
                <a:solidFill>
                  <a:srgbClr val="1F497D"/>
                </a:solidFill>
                <a:latin typeface="Arial" panose="020B0604020202020204" pitchFamily="34" charset="0"/>
                <a:cs typeface="Arial" panose="020B0604020202020204" pitchFamily="34" charset="0"/>
              </a:rPr>
              <a:t>Σύνολο: 26 Πράξεις</a:t>
            </a:r>
          </a:p>
        </p:txBody>
      </p:sp>
      <p:sp>
        <p:nvSpPr>
          <p:cNvPr id="19" name="Rectangle 4">
            <a:extLst>
              <a:ext uri="{FF2B5EF4-FFF2-40B4-BE49-F238E27FC236}">
                <a16:creationId xmlns:a16="http://schemas.microsoft.com/office/drawing/2014/main" id="{7DCC7832-D23B-9F34-FE3D-E265EE4DEC1B}"/>
              </a:ext>
            </a:extLst>
          </p:cNvPr>
          <p:cNvSpPr/>
          <p:nvPr/>
        </p:nvSpPr>
        <p:spPr>
          <a:xfrm>
            <a:off x="6951411" y="6386387"/>
            <a:ext cx="1710211" cy="295615"/>
          </a:xfrm>
          <a:prstGeom prst="rect">
            <a:avLst/>
          </a:prstGeom>
          <a:noFill/>
          <a:ln>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l-GR" sz="2133" b="1" dirty="0">
                <a:solidFill>
                  <a:srgbClr val="1F497D"/>
                </a:solidFill>
                <a:latin typeface="Arial" panose="020B0604020202020204" pitchFamily="34" charset="0"/>
                <a:cs typeface="Arial" panose="020B0604020202020204" pitchFamily="34" charset="0"/>
              </a:rPr>
              <a:t>236,6 εκ.€</a:t>
            </a:r>
          </a:p>
        </p:txBody>
      </p:sp>
    </p:spTree>
    <p:extLst>
      <p:ext uri="{BB962C8B-B14F-4D97-AF65-F5344CB8AC3E}">
        <p14:creationId xmlns:p14="http://schemas.microsoft.com/office/powerpoint/2010/main" val="3483231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A5D7B5-2FAE-6D0A-6DA1-60AB485972FB}"/>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22F1A816-D31D-809C-8FC4-EA3F2A105981}"/>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8" name="think-cell Slide" r:id="rId4" imgW="350" imgH="350" progId="TCLayout.ActiveDocument.1">
                  <p:embed/>
                </p:oleObj>
              </mc:Choice>
              <mc:Fallback>
                <p:oleObj name="think-cell Slide" r:id="rId4" imgW="350" imgH="350" progId="TCLayout.ActiveDocument.1">
                  <p:embed/>
                  <p:pic>
                    <p:nvPicPr>
                      <p:cNvPr id="20" name="think-cell data - do not delete" hidden="1">
                        <a:extLst>
                          <a:ext uri="{FF2B5EF4-FFF2-40B4-BE49-F238E27FC236}">
                            <a16:creationId xmlns:a16="http://schemas.microsoft.com/office/drawing/2014/main" id="{22F1A816-D31D-809C-8FC4-EA3F2A10598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2B38EAC5-5CB4-414C-D53F-2A27D71A72A0}"/>
              </a:ext>
            </a:extLst>
          </p:cNvPr>
          <p:cNvSpPr/>
          <p:nvPr/>
        </p:nvSpPr>
        <p:spPr>
          <a:xfrm>
            <a:off x="18935" y="890923"/>
            <a:ext cx="6847847" cy="53193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8" name="TextBox 7">
            <a:extLst>
              <a:ext uri="{FF2B5EF4-FFF2-40B4-BE49-F238E27FC236}">
                <a16:creationId xmlns:a16="http://schemas.microsoft.com/office/drawing/2014/main" id="{B9E59F82-0F0C-43B6-867C-E59CBB312CF9}"/>
              </a:ext>
            </a:extLst>
          </p:cNvPr>
          <p:cNvSpPr txBox="1"/>
          <p:nvPr/>
        </p:nvSpPr>
        <p:spPr>
          <a:xfrm>
            <a:off x="113666" y="995037"/>
            <a:ext cx="6556745" cy="534143"/>
          </a:xfrm>
          <a:prstGeom prst="snip1Rect">
            <a:avLst/>
          </a:prstGeom>
          <a:noFill/>
          <a:ln w="28575">
            <a:noFill/>
          </a:ln>
        </p:spPr>
        <p:txBody>
          <a:bodyPr wrap="square" lIns="0" tIns="0" rIns="0" bIns="36000" rtlCol="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l-GR" sz="1600" b="1" dirty="0">
                <a:solidFill>
                  <a:srgbClr val="0CADDC"/>
                </a:solidFill>
                <a:latin typeface="Arial" panose="020B0604020202020204" pitchFamily="34" charset="0"/>
                <a:cs typeface="Arial" panose="020B0604020202020204" pitchFamily="34" charset="0"/>
              </a:rPr>
              <a:t>Συγκεντρωτικά στοιχεία </a:t>
            </a:r>
            <a:r>
              <a:rPr lang="el-GR" sz="1600" b="1" dirty="0">
                <a:solidFill>
                  <a:srgbClr val="1F497D"/>
                </a:solidFill>
                <a:latin typeface="Arial" panose="020B0604020202020204" pitchFamily="34" charset="0"/>
                <a:cs typeface="Arial" panose="020B0604020202020204" pitchFamily="34" charset="0"/>
              </a:rPr>
              <a:t>6 προσκλήσεων επιχειρηματικότητας</a:t>
            </a:r>
          </a:p>
        </p:txBody>
      </p:sp>
      <p:sp>
        <p:nvSpPr>
          <p:cNvPr id="49" name="TextBox 48">
            <a:extLst>
              <a:ext uri="{FF2B5EF4-FFF2-40B4-BE49-F238E27FC236}">
                <a16:creationId xmlns:a16="http://schemas.microsoft.com/office/drawing/2014/main" id="{0F5CDA2D-8E5C-892E-2182-0DDC9A4240A1}"/>
              </a:ext>
            </a:extLst>
          </p:cNvPr>
          <p:cNvSpPr txBox="1"/>
          <p:nvPr/>
        </p:nvSpPr>
        <p:spPr>
          <a:xfrm>
            <a:off x="9587370" y="5136736"/>
            <a:ext cx="1386855" cy="307777"/>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400" b="1" dirty="0">
                <a:solidFill>
                  <a:srgbClr val="1F497D"/>
                </a:solidFill>
                <a:latin typeface="Arial" panose="020B0604020202020204" pitchFamily="34" charset="0"/>
                <a:cs typeface="Arial" panose="020B0604020202020204" pitchFamily="34" charset="0"/>
              </a:rPr>
              <a:t>2</a:t>
            </a:r>
            <a:r>
              <a:rPr lang="en-US" sz="1400" b="1" dirty="0">
                <a:solidFill>
                  <a:srgbClr val="1F497D"/>
                </a:solidFill>
                <a:latin typeface="Arial" panose="020B0604020202020204" pitchFamily="34" charset="0"/>
                <a:cs typeface="Arial" panose="020B0604020202020204" pitchFamily="34" charset="0"/>
              </a:rPr>
              <a:t>55</a:t>
            </a:r>
            <a:r>
              <a:rPr lang="el-GR" sz="1400" b="1" dirty="0">
                <a:solidFill>
                  <a:srgbClr val="1F497D"/>
                </a:solidFill>
                <a:latin typeface="Arial" panose="020B0604020202020204" pitchFamily="34" charset="0"/>
                <a:cs typeface="Arial" panose="020B0604020202020204" pitchFamily="34" charset="0"/>
              </a:rPr>
              <a:t>,</a:t>
            </a:r>
            <a:r>
              <a:rPr lang="en-US" sz="1400" b="1" dirty="0">
                <a:solidFill>
                  <a:srgbClr val="1F497D"/>
                </a:solidFill>
                <a:latin typeface="Arial" panose="020B0604020202020204" pitchFamily="34" charset="0"/>
                <a:cs typeface="Arial" panose="020B0604020202020204" pitchFamily="34" charset="0"/>
              </a:rPr>
              <a:t>1</a:t>
            </a:r>
            <a:r>
              <a:rPr lang="el-GR" sz="1400" b="1" dirty="0">
                <a:solidFill>
                  <a:srgbClr val="1F497D"/>
                </a:solidFill>
                <a:latin typeface="Arial" panose="020B0604020202020204" pitchFamily="34" charset="0"/>
                <a:cs typeface="Arial" panose="020B0604020202020204" pitchFamily="34" charset="0"/>
              </a:rPr>
              <a:t> εκ.€</a:t>
            </a:r>
          </a:p>
        </p:txBody>
      </p:sp>
      <p:sp>
        <p:nvSpPr>
          <p:cNvPr id="50" name="TextBox 49">
            <a:extLst>
              <a:ext uri="{FF2B5EF4-FFF2-40B4-BE49-F238E27FC236}">
                <a16:creationId xmlns:a16="http://schemas.microsoft.com/office/drawing/2014/main" id="{3C25E0E7-38FD-6AB8-F2BC-F2451F9B9694}"/>
              </a:ext>
            </a:extLst>
          </p:cNvPr>
          <p:cNvSpPr txBox="1"/>
          <p:nvPr/>
        </p:nvSpPr>
        <p:spPr>
          <a:xfrm>
            <a:off x="8437040" y="5136736"/>
            <a:ext cx="1184040" cy="307777"/>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400" b="1" dirty="0">
                <a:solidFill>
                  <a:srgbClr val="0CADDC"/>
                </a:solidFill>
                <a:latin typeface="Arial" panose="020B0604020202020204" pitchFamily="34" charset="0"/>
                <a:cs typeface="Arial" panose="020B0604020202020204" pitchFamily="34" charset="0"/>
              </a:rPr>
              <a:t>4</a:t>
            </a:r>
            <a:r>
              <a:rPr lang="en-US" sz="1400" b="1" dirty="0">
                <a:solidFill>
                  <a:srgbClr val="0CADDC"/>
                </a:solidFill>
                <a:latin typeface="Arial" panose="020B0604020202020204" pitchFamily="34" charset="0"/>
                <a:cs typeface="Arial" panose="020B0604020202020204" pitchFamily="34" charset="0"/>
              </a:rPr>
              <a:t>8</a:t>
            </a:r>
            <a:r>
              <a:rPr lang="el-GR" sz="1400" b="1" dirty="0">
                <a:solidFill>
                  <a:srgbClr val="0CADDC"/>
                </a:solidFill>
                <a:latin typeface="Arial" panose="020B0604020202020204" pitchFamily="34" charset="0"/>
                <a:cs typeface="Arial" panose="020B0604020202020204" pitchFamily="34" charset="0"/>
              </a:rPr>
              <a:t>,</a:t>
            </a:r>
            <a:r>
              <a:rPr lang="en-US" sz="1400" b="1" dirty="0">
                <a:solidFill>
                  <a:srgbClr val="0CADDC"/>
                </a:solidFill>
                <a:latin typeface="Arial" panose="020B0604020202020204" pitchFamily="34" charset="0"/>
                <a:cs typeface="Arial" panose="020B0604020202020204" pitchFamily="34" charset="0"/>
              </a:rPr>
              <a:t>2</a:t>
            </a:r>
            <a:r>
              <a:rPr lang="el-GR" sz="1400" b="1" dirty="0">
                <a:solidFill>
                  <a:srgbClr val="0CADDC"/>
                </a:solidFill>
                <a:latin typeface="Arial" panose="020B0604020202020204" pitchFamily="34" charset="0"/>
                <a:cs typeface="Arial" panose="020B0604020202020204" pitchFamily="34" charset="0"/>
              </a:rPr>
              <a:t> εκ.€</a:t>
            </a:r>
          </a:p>
        </p:txBody>
      </p:sp>
      <p:sp>
        <p:nvSpPr>
          <p:cNvPr id="51" name="TextBox 50">
            <a:extLst>
              <a:ext uri="{FF2B5EF4-FFF2-40B4-BE49-F238E27FC236}">
                <a16:creationId xmlns:a16="http://schemas.microsoft.com/office/drawing/2014/main" id="{2E281CBA-A2DF-BBA9-E2AB-5EF4A1C92FB8}"/>
              </a:ext>
            </a:extLst>
          </p:cNvPr>
          <p:cNvSpPr txBox="1"/>
          <p:nvPr/>
        </p:nvSpPr>
        <p:spPr>
          <a:xfrm>
            <a:off x="7165141" y="5136736"/>
            <a:ext cx="1200931" cy="307777"/>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400" b="1" dirty="0">
                <a:solidFill>
                  <a:srgbClr val="A6A6A6"/>
                </a:solidFill>
                <a:latin typeface="Arial" panose="020B0604020202020204" pitchFamily="34" charset="0"/>
                <a:cs typeface="Arial" panose="020B0604020202020204" pitchFamily="34" charset="0"/>
              </a:rPr>
              <a:t>40</a:t>
            </a:r>
            <a:r>
              <a:rPr lang="el-GR" sz="1400" b="1" dirty="0">
                <a:solidFill>
                  <a:srgbClr val="A6A6A6"/>
                </a:solidFill>
                <a:latin typeface="Arial" panose="020B0604020202020204" pitchFamily="34" charset="0"/>
                <a:cs typeface="Arial" panose="020B0604020202020204" pitchFamily="34" charset="0"/>
              </a:rPr>
              <a:t> εκ. €</a:t>
            </a:r>
          </a:p>
        </p:txBody>
      </p:sp>
      <p:sp>
        <p:nvSpPr>
          <p:cNvPr id="52" name="TextBox 51">
            <a:extLst>
              <a:ext uri="{FF2B5EF4-FFF2-40B4-BE49-F238E27FC236}">
                <a16:creationId xmlns:a16="http://schemas.microsoft.com/office/drawing/2014/main" id="{8B80D485-1DF5-D862-EC86-A8DBA72D8E19}"/>
              </a:ext>
            </a:extLst>
          </p:cNvPr>
          <p:cNvSpPr txBox="1"/>
          <p:nvPr/>
        </p:nvSpPr>
        <p:spPr>
          <a:xfrm>
            <a:off x="10913461" y="5136736"/>
            <a:ext cx="1334307" cy="307777"/>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400" b="1" dirty="0">
                <a:solidFill>
                  <a:srgbClr val="98CA3F"/>
                </a:solidFill>
                <a:latin typeface="Arial" panose="020B0604020202020204" pitchFamily="34" charset="0"/>
                <a:cs typeface="Arial" panose="020B0604020202020204" pitchFamily="34" charset="0"/>
              </a:rPr>
              <a:t>1</a:t>
            </a:r>
            <a:r>
              <a:rPr lang="en-US" sz="1400" b="1" dirty="0">
                <a:solidFill>
                  <a:srgbClr val="98CA3F"/>
                </a:solidFill>
                <a:latin typeface="Arial" panose="020B0604020202020204" pitchFamily="34" charset="0"/>
                <a:cs typeface="Arial" panose="020B0604020202020204" pitchFamily="34" charset="0"/>
              </a:rPr>
              <a:t>57,4</a:t>
            </a:r>
            <a:r>
              <a:rPr lang="el-GR" sz="1400" b="1" dirty="0">
                <a:solidFill>
                  <a:srgbClr val="98CA3F"/>
                </a:solidFill>
                <a:latin typeface="Arial" panose="020B0604020202020204" pitchFamily="34" charset="0"/>
                <a:cs typeface="Arial" panose="020B0604020202020204" pitchFamily="34" charset="0"/>
              </a:rPr>
              <a:t> εκ.€</a:t>
            </a:r>
          </a:p>
        </p:txBody>
      </p:sp>
      <p:grpSp>
        <p:nvGrpSpPr>
          <p:cNvPr id="41" name="Group 40">
            <a:extLst>
              <a:ext uri="{FF2B5EF4-FFF2-40B4-BE49-F238E27FC236}">
                <a16:creationId xmlns:a16="http://schemas.microsoft.com/office/drawing/2014/main" id="{5BD6384E-612B-2DDD-40B4-8EB81B601B56}"/>
              </a:ext>
            </a:extLst>
          </p:cNvPr>
          <p:cNvGrpSpPr/>
          <p:nvPr/>
        </p:nvGrpSpPr>
        <p:grpSpPr>
          <a:xfrm>
            <a:off x="-87362" y="1529179"/>
            <a:ext cx="5533627" cy="900000"/>
            <a:chOff x="-139596" y="1120246"/>
            <a:chExt cx="5533627" cy="900000"/>
          </a:xfrm>
        </p:grpSpPr>
        <p:sp>
          <p:nvSpPr>
            <p:cNvPr id="43" name="Rectangle 42">
              <a:extLst>
                <a:ext uri="{FF2B5EF4-FFF2-40B4-BE49-F238E27FC236}">
                  <a16:creationId xmlns:a16="http://schemas.microsoft.com/office/drawing/2014/main" id="{92A252D4-7A59-4FED-4E8A-BF87E1A6E406}"/>
                </a:ext>
              </a:extLst>
            </p:cNvPr>
            <p:cNvSpPr/>
            <p:nvPr/>
          </p:nvSpPr>
          <p:spPr>
            <a:xfrm>
              <a:off x="392536" y="1217903"/>
              <a:ext cx="5001495" cy="7386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073124"/>
              <a:r>
                <a:rPr lang="el-GR" sz="2000" b="1" kern="1200" dirty="0">
                  <a:solidFill>
                    <a:srgbClr val="0F4E8C"/>
                  </a:solidFill>
                  <a:latin typeface="Arial" panose="020B0604020202020204" pitchFamily="34" charset="0"/>
                  <a:cs typeface="Arial" panose="020B0604020202020204" pitchFamily="34" charset="0"/>
                </a:rPr>
                <a:t>Ενταγμένα ή υπό ένταξη επενδυτικά σχέδια</a:t>
              </a:r>
              <a:endParaRPr lang="el-GR" sz="2000" b="1" dirty="0">
                <a:solidFill>
                  <a:schemeClr val="accent5"/>
                </a:solidFill>
                <a:latin typeface="Arial" panose="020B0604020202020204" pitchFamily="34" charset="0"/>
                <a:cs typeface="Arial" panose="020B0604020202020204" pitchFamily="34" charset="0"/>
              </a:endParaRPr>
            </a:p>
          </p:txBody>
        </p:sp>
        <p:sp>
          <p:nvSpPr>
            <p:cNvPr id="44" name="Google Shape;2430;p116">
              <a:extLst>
                <a:ext uri="{FF2B5EF4-FFF2-40B4-BE49-F238E27FC236}">
                  <a16:creationId xmlns:a16="http://schemas.microsoft.com/office/drawing/2014/main" id="{4085D51F-B618-7EC8-0DB4-486BA550CCB5}"/>
                </a:ext>
              </a:extLst>
            </p:cNvPr>
            <p:cNvSpPr/>
            <p:nvPr/>
          </p:nvSpPr>
          <p:spPr>
            <a:xfrm>
              <a:off x="136308" y="1120246"/>
              <a:ext cx="900000" cy="900000"/>
            </a:xfrm>
            <a:prstGeom prst="ellipse">
              <a:avLst/>
            </a:prstGeom>
            <a:solidFill>
              <a:schemeClr val="bg1"/>
            </a:solidFill>
            <a:ln w="57150" cap="flat" cmpd="sng">
              <a:solidFill>
                <a:srgbClr val="98CA3F"/>
              </a:solidFill>
              <a:prstDash val="solid"/>
              <a:round/>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914377">
                <a:buClrTx/>
                <a:buSzPts val="1200"/>
                <a:defRPr/>
              </a:pPr>
              <a:endParaRPr sz="1200">
                <a:solidFill>
                  <a:srgbClr val="FFFFFF"/>
                </a:solidFill>
              </a:endParaRPr>
            </a:p>
          </p:txBody>
        </p:sp>
        <p:sp>
          <p:nvSpPr>
            <p:cNvPr id="45" name="TextBox 44">
              <a:extLst>
                <a:ext uri="{FF2B5EF4-FFF2-40B4-BE49-F238E27FC236}">
                  <a16:creationId xmlns:a16="http://schemas.microsoft.com/office/drawing/2014/main" id="{4502EB4D-2B5F-1108-F50E-2F832BBD1F5C}"/>
                </a:ext>
              </a:extLst>
            </p:cNvPr>
            <p:cNvSpPr txBox="1"/>
            <p:nvPr/>
          </p:nvSpPr>
          <p:spPr>
            <a:xfrm>
              <a:off x="-139596" y="1387181"/>
              <a:ext cx="1431985" cy="430887"/>
            </a:xfrm>
            <a:prstGeom prst="rect">
              <a:avLst/>
            </a:prstGeom>
            <a:noFill/>
            <a:ln>
              <a:noFill/>
            </a:ln>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n-US" sz="2000" b="1" dirty="0">
                  <a:solidFill>
                    <a:srgbClr val="1F497D"/>
                  </a:solidFill>
                  <a:latin typeface="Arial" panose="020B0604020202020204" pitchFamily="34" charset="0"/>
                  <a:cs typeface="Arial" panose="020B0604020202020204" pitchFamily="34" charset="0"/>
                </a:rPr>
                <a:t>639</a:t>
              </a:r>
              <a:endParaRPr lang="el-GR" sz="2000" b="1" dirty="0">
                <a:solidFill>
                  <a:srgbClr val="1F497D"/>
                </a:solidFill>
                <a:latin typeface="Arial" panose="020B0604020202020204" pitchFamily="34" charset="0"/>
                <a:cs typeface="Arial" panose="020B0604020202020204" pitchFamily="34" charset="0"/>
              </a:endParaRPr>
            </a:p>
          </p:txBody>
        </p:sp>
      </p:grpSp>
      <p:grpSp>
        <p:nvGrpSpPr>
          <p:cNvPr id="46" name="Group 45">
            <a:extLst>
              <a:ext uri="{FF2B5EF4-FFF2-40B4-BE49-F238E27FC236}">
                <a16:creationId xmlns:a16="http://schemas.microsoft.com/office/drawing/2014/main" id="{B41F7F3D-64C7-971F-8A82-899B3A272C32}"/>
              </a:ext>
            </a:extLst>
          </p:cNvPr>
          <p:cNvGrpSpPr/>
          <p:nvPr/>
        </p:nvGrpSpPr>
        <p:grpSpPr>
          <a:xfrm>
            <a:off x="320510" y="2489889"/>
            <a:ext cx="5578828" cy="900000"/>
            <a:chOff x="-126642" y="1120246"/>
            <a:chExt cx="5578828" cy="900000"/>
          </a:xfrm>
        </p:grpSpPr>
        <p:sp>
          <p:nvSpPr>
            <p:cNvPr id="47" name="Rectangle 46">
              <a:extLst>
                <a:ext uri="{FF2B5EF4-FFF2-40B4-BE49-F238E27FC236}">
                  <a16:creationId xmlns:a16="http://schemas.microsoft.com/office/drawing/2014/main" id="{F595C9E4-67FD-11AA-63D3-3B8CD7161FDE}"/>
                </a:ext>
              </a:extLst>
            </p:cNvPr>
            <p:cNvSpPr/>
            <p:nvPr/>
          </p:nvSpPr>
          <p:spPr>
            <a:xfrm>
              <a:off x="450691" y="1333535"/>
              <a:ext cx="5001495" cy="43088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073124"/>
              <a:r>
                <a:rPr lang="el-GR" sz="2000" b="1" kern="1200">
                  <a:solidFill>
                    <a:srgbClr val="0F4E8C"/>
                  </a:solidFill>
                  <a:latin typeface="Arial" panose="020B0604020202020204" pitchFamily="34" charset="0"/>
                  <a:cs typeface="Arial" panose="020B0604020202020204" pitchFamily="34" charset="0"/>
                </a:rPr>
                <a:t>Επιχορηγούμενος Π/Υ</a:t>
              </a:r>
              <a:endParaRPr lang="el-GR" sz="1600" b="1" i="1" kern="1200">
                <a:solidFill>
                  <a:srgbClr val="0F4E8C"/>
                </a:solidFill>
                <a:highlight>
                  <a:srgbClr val="FFFF00"/>
                </a:highlight>
                <a:latin typeface="Arial" panose="020B0604020202020204" pitchFamily="34" charset="0"/>
                <a:cs typeface="Arial" panose="020B0604020202020204" pitchFamily="34" charset="0"/>
              </a:endParaRPr>
            </a:p>
          </p:txBody>
        </p:sp>
        <p:sp>
          <p:nvSpPr>
            <p:cNvPr id="48" name="Google Shape;2430;p116">
              <a:extLst>
                <a:ext uri="{FF2B5EF4-FFF2-40B4-BE49-F238E27FC236}">
                  <a16:creationId xmlns:a16="http://schemas.microsoft.com/office/drawing/2014/main" id="{EC70DB70-B852-E714-2DB3-5C5377A23D7F}"/>
                </a:ext>
              </a:extLst>
            </p:cNvPr>
            <p:cNvSpPr/>
            <p:nvPr/>
          </p:nvSpPr>
          <p:spPr>
            <a:xfrm>
              <a:off x="136309" y="1120246"/>
              <a:ext cx="900000" cy="900000"/>
            </a:xfrm>
            <a:prstGeom prst="ellipse">
              <a:avLst/>
            </a:prstGeom>
            <a:solidFill>
              <a:schemeClr val="bg1"/>
            </a:solidFill>
            <a:ln w="57150" cap="flat" cmpd="sng">
              <a:solidFill>
                <a:srgbClr val="98CA3F"/>
              </a:solidFill>
              <a:prstDash val="solid"/>
              <a:round/>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914377">
                <a:buClrTx/>
                <a:buSzPts val="1200"/>
                <a:defRPr/>
              </a:pPr>
              <a:endParaRPr sz="1200">
                <a:solidFill>
                  <a:srgbClr val="FFFFFF"/>
                </a:solidFill>
              </a:endParaRPr>
            </a:p>
          </p:txBody>
        </p:sp>
        <p:sp>
          <p:nvSpPr>
            <p:cNvPr id="55" name="TextBox 54">
              <a:extLst>
                <a:ext uri="{FF2B5EF4-FFF2-40B4-BE49-F238E27FC236}">
                  <a16:creationId xmlns:a16="http://schemas.microsoft.com/office/drawing/2014/main" id="{51A1D446-1423-218E-D890-37243DDDD172}"/>
                </a:ext>
              </a:extLst>
            </p:cNvPr>
            <p:cNvSpPr txBox="1"/>
            <p:nvPr/>
          </p:nvSpPr>
          <p:spPr>
            <a:xfrm>
              <a:off x="-126642" y="1216303"/>
              <a:ext cx="1431985" cy="738664"/>
            </a:xfrm>
            <a:prstGeom prst="rect">
              <a:avLst/>
            </a:prstGeom>
            <a:noFill/>
            <a:ln>
              <a:noFill/>
            </a:ln>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n-US" sz="2000" b="1" dirty="0">
                  <a:solidFill>
                    <a:srgbClr val="1F497D"/>
                  </a:solidFill>
                  <a:latin typeface="Arial" panose="020B0604020202020204" pitchFamily="34" charset="0"/>
                  <a:cs typeface="Arial" panose="020B0604020202020204" pitchFamily="34" charset="0"/>
                </a:rPr>
                <a:t>501 </a:t>
              </a:r>
              <a:endParaRPr lang="el-GR" sz="2000" b="1" dirty="0">
                <a:solidFill>
                  <a:srgbClr val="1F497D"/>
                </a:solidFill>
                <a:latin typeface="Arial" panose="020B0604020202020204" pitchFamily="34" charset="0"/>
                <a:cs typeface="Arial" panose="020B0604020202020204" pitchFamily="34" charset="0"/>
              </a:endParaRPr>
            </a:p>
            <a:p>
              <a:pPr algn="ctr"/>
              <a:r>
                <a:rPr lang="el-GR" sz="2000" b="1" dirty="0">
                  <a:solidFill>
                    <a:srgbClr val="1F497D"/>
                  </a:solidFill>
                  <a:latin typeface="Arial" panose="020B0604020202020204" pitchFamily="34" charset="0"/>
                  <a:cs typeface="Arial" panose="020B0604020202020204" pitchFamily="34" charset="0"/>
                </a:rPr>
                <a:t>εκ.€</a:t>
              </a:r>
            </a:p>
          </p:txBody>
        </p:sp>
      </p:grpSp>
      <p:grpSp>
        <p:nvGrpSpPr>
          <p:cNvPr id="56" name="Group 55">
            <a:extLst>
              <a:ext uri="{FF2B5EF4-FFF2-40B4-BE49-F238E27FC236}">
                <a16:creationId xmlns:a16="http://schemas.microsoft.com/office/drawing/2014/main" id="{106CF606-F7C1-CDD6-7A4A-0E8A27282E8C}"/>
              </a:ext>
            </a:extLst>
          </p:cNvPr>
          <p:cNvGrpSpPr/>
          <p:nvPr/>
        </p:nvGrpSpPr>
        <p:grpSpPr>
          <a:xfrm>
            <a:off x="1217777" y="4462805"/>
            <a:ext cx="5516051" cy="900000"/>
            <a:chOff x="-129685" y="1120246"/>
            <a:chExt cx="5565012" cy="900000"/>
          </a:xfrm>
        </p:grpSpPr>
        <p:sp>
          <p:nvSpPr>
            <p:cNvPr id="57" name="Rectangle 56">
              <a:extLst>
                <a:ext uri="{FF2B5EF4-FFF2-40B4-BE49-F238E27FC236}">
                  <a16:creationId xmlns:a16="http://schemas.microsoft.com/office/drawing/2014/main" id="{2CFB7F66-4D77-9C67-A2F3-951D9ADBB9DC}"/>
                </a:ext>
              </a:extLst>
            </p:cNvPr>
            <p:cNvSpPr/>
            <p:nvPr/>
          </p:nvSpPr>
          <p:spPr>
            <a:xfrm>
              <a:off x="173911" y="1332193"/>
              <a:ext cx="5261416" cy="43088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073124"/>
              <a:r>
                <a:rPr lang="el-GR" sz="2000" b="1" kern="1200">
                  <a:solidFill>
                    <a:srgbClr val="0F4E8C"/>
                  </a:solidFill>
                  <a:latin typeface="Arial" panose="020B0604020202020204" pitchFamily="34" charset="0"/>
                  <a:cs typeface="Arial" panose="020B0604020202020204" pitchFamily="34" charset="0"/>
                </a:rPr>
                <a:t>% εντάξεις / προσκλήσεις</a:t>
              </a:r>
              <a:endParaRPr lang="el-GR" sz="2000" b="1">
                <a:solidFill>
                  <a:schemeClr val="accent5"/>
                </a:solidFill>
                <a:latin typeface="Arial" panose="020B0604020202020204" pitchFamily="34" charset="0"/>
                <a:cs typeface="Arial" panose="020B0604020202020204" pitchFamily="34" charset="0"/>
              </a:endParaRPr>
            </a:p>
          </p:txBody>
        </p:sp>
        <p:sp>
          <p:nvSpPr>
            <p:cNvPr id="58" name="Google Shape;2430;p116">
              <a:extLst>
                <a:ext uri="{FF2B5EF4-FFF2-40B4-BE49-F238E27FC236}">
                  <a16:creationId xmlns:a16="http://schemas.microsoft.com/office/drawing/2014/main" id="{C037FC4D-15BD-8CC4-652B-B5AFB51DB8D9}"/>
                </a:ext>
              </a:extLst>
            </p:cNvPr>
            <p:cNvSpPr/>
            <p:nvPr/>
          </p:nvSpPr>
          <p:spPr>
            <a:xfrm>
              <a:off x="136308" y="1120246"/>
              <a:ext cx="900000" cy="900000"/>
            </a:xfrm>
            <a:prstGeom prst="ellipse">
              <a:avLst/>
            </a:prstGeom>
            <a:solidFill>
              <a:schemeClr val="bg1"/>
            </a:solidFill>
            <a:ln w="57150" cap="flat" cmpd="sng">
              <a:solidFill>
                <a:srgbClr val="98CA3F"/>
              </a:solidFill>
              <a:prstDash val="solid"/>
              <a:round/>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914377">
                <a:buClrTx/>
                <a:buSzPts val="1200"/>
                <a:defRPr/>
              </a:pPr>
              <a:endParaRPr sz="1200">
                <a:solidFill>
                  <a:srgbClr val="FFFFFF"/>
                </a:solidFill>
              </a:endParaRPr>
            </a:p>
          </p:txBody>
        </p:sp>
        <p:sp>
          <p:nvSpPr>
            <p:cNvPr id="59" name="TextBox 58">
              <a:extLst>
                <a:ext uri="{FF2B5EF4-FFF2-40B4-BE49-F238E27FC236}">
                  <a16:creationId xmlns:a16="http://schemas.microsoft.com/office/drawing/2014/main" id="{A98080D9-8C80-1655-D469-A33D08C88A74}"/>
                </a:ext>
              </a:extLst>
            </p:cNvPr>
            <p:cNvSpPr txBox="1"/>
            <p:nvPr/>
          </p:nvSpPr>
          <p:spPr>
            <a:xfrm>
              <a:off x="-129685" y="1371799"/>
              <a:ext cx="1431985" cy="430887"/>
            </a:xfrm>
            <a:prstGeom prst="rect">
              <a:avLst/>
            </a:prstGeom>
            <a:noFill/>
            <a:ln>
              <a:noFill/>
            </a:ln>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l-GR" sz="2000" b="1" dirty="0">
                  <a:solidFill>
                    <a:srgbClr val="1F497D"/>
                  </a:solidFill>
                  <a:latin typeface="Arial" panose="020B0604020202020204" pitchFamily="34" charset="0"/>
                  <a:cs typeface="Arial" panose="020B0604020202020204" pitchFamily="34" charset="0"/>
                </a:rPr>
                <a:t>1</a:t>
              </a:r>
              <a:r>
                <a:rPr lang="en-US" sz="2000" b="1" dirty="0">
                  <a:solidFill>
                    <a:srgbClr val="1F497D"/>
                  </a:solidFill>
                  <a:latin typeface="Arial" panose="020B0604020202020204" pitchFamily="34" charset="0"/>
                  <a:cs typeface="Arial" panose="020B0604020202020204" pitchFamily="34" charset="0"/>
                </a:rPr>
                <a:t>0</a:t>
              </a:r>
              <a:r>
                <a:rPr lang="el-GR" sz="2000" b="1" dirty="0">
                  <a:solidFill>
                    <a:srgbClr val="1F497D"/>
                  </a:solidFill>
                  <a:latin typeface="Arial" panose="020B0604020202020204" pitchFamily="34" charset="0"/>
                  <a:cs typeface="Arial" panose="020B0604020202020204" pitchFamily="34" charset="0"/>
                </a:rPr>
                <a:t>7%</a:t>
              </a:r>
            </a:p>
          </p:txBody>
        </p:sp>
      </p:grpSp>
      <p:grpSp>
        <p:nvGrpSpPr>
          <p:cNvPr id="3" name="Group 2">
            <a:extLst>
              <a:ext uri="{FF2B5EF4-FFF2-40B4-BE49-F238E27FC236}">
                <a16:creationId xmlns:a16="http://schemas.microsoft.com/office/drawing/2014/main" id="{C6AE34B8-48EC-506C-762B-E569E256BE60}"/>
              </a:ext>
            </a:extLst>
          </p:cNvPr>
          <p:cNvGrpSpPr/>
          <p:nvPr/>
        </p:nvGrpSpPr>
        <p:grpSpPr>
          <a:xfrm>
            <a:off x="731767" y="3481769"/>
            <a:ext cx="5572667" cy="900000"/>
            <a:chOff x="-129684" y="1120246"/>
            <a:chExt cx="5572666" cy="900000"/>
          </a:xfrm>
        </p:grpSpPr>
        <p:sp>
          <p:nvSpPr>
            <p:cNvPr id="4" name="Rectangle 3">
              <a:extLst>
                <a:ext uri="{FF2B5EF4-FFF2-40B4-BE49-F238E27FC236}">
                  <a16:creationId xmlns:a16="http://schemas.microsoft.com/office/drawing/2014/main" id="{D9560145-5C6A-0EDB-EC45-3CA2A674D380}"/>
                </a:ext>
              </a:extLst>
            </p:cNvPr>
            <p:cNvSpPr/>
            <p:nvPr/>
          </p:nvSpPr>
          <p:spPr>
            <a:xfrm>
              <a:off x="441487" y="1189097"/>
              <a:ext cx="5001495" cy="7386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073124"/>
              <a:r>
                <a:rPr lang="el-GR" sz="2000" b="1" kern="1200">
                  <a:solidFill>
                    <a:srgbClr val="0F4E8C"/>
                  </a:solidFill>
                  <a:latin typeface="Arial" panose="020B0604020202020204" pitchFamily="34" charset="0"/>
                  <a:cs typeface="Arial" panose="020B0604020202020204" pitchFamily="34" charset="0"/>
                </a:rPr>
                <a:t>Π/Υ επενδυτικών σχεδίων (ΔΔ)</a:t>
              </a:r>
            </a:p>
          </p:txBody>
        </p:sp>
        <p:sp>
          <p:nvSpPr>
            <p:cNvPr id="9" name="Google Shape;2430;p116">
              <a:extLst>
                <a:ext uri="{FF2B5EF4-FFF2-40B4-BE49-F238E27FC236}">
                  <a16:creationId xmlns:a16="http://schemas.microsoft.com/office/drawing/2014/main" id="{3D299404-1E19-BDF9-603C-0A64BF63187B}"/>
                </a:ext>
              </a:extLst>
            </p:cNvPr>
            <p:cNvSpPr/>
            <p:nvPr/>
          </p:nvSpPr>
          <p:spPr>
            <a:xfrm>
              <a:off x="136309" y="1120246"/>
              <a:ext cx="900000" cy="900000"/>
            </a:xfrm>
            <a:prstGeom prst="ellipse">
              <a:avLst/>
            </a:prstGeom>
            <a:solidFill>
              <a:schemeClr val="bg1"/>
            </a:solidFill>
            <a:ln w="57150" cap="flat" cmpd="sng">
              <a:solidFill>
                <a:srgbClr val="98CA3F"/>
              </a:solidFill>
              <a:prstDash val="solid"/>
              <a:round/>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914377">
                <a:buClrTx/>
                <a:buSzPts val="1200"/>
                <a:defRPr/>
              </a:pPr>
              <a:endParaRPr sz="1200">
                <a:solidFill>
                  <a:srgbClr val="FFFFFF"/>
                </a:solidFill>
              </a:endParaRPr>
            </a:p>
          </p:txBody>
        </p:sp>
        <p:sp>
          <p:nvSpPr>
            <p:cNvPr id="10" name="TextBox 9">
              <a:extLst>
                <a:ext uri="{FF2B5EF4-FFF2-40B4-BE49-F238E27FC236}">
                  <a16:creationId xmlns:a16="http://schemas.microsoft.com/office/drawing/2014/main" id="{638F1D64-24C7-F9A4-3356-40E3FE3CCC2D}"/>
                </a:ext>
              </a:extLst>
            </p:cNvPr>
            <p:cNvSpPr txBox="1"/>
            <p:nvPr/>
          </p:nvSpPr>
          <p:spPr>
            <a:xfrm>
              <a:off x="-129684" y="1236127"/>
              <a:ext cx="1431985" cy="738664"/>
            </a:xfrm>
            <a:prstGeom prst="rect">
              <a:avLst/>
            </a:prstGeom>
            <a:noFill/>
            <a:ln>
              <a:noFill/>
            </a:ln>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n-US" sz="2000" b="1" dirty="0">
                  <a:solidFill>
                    <a:srgbClr val="1F497D"/>
                  </a:solidFill>
                  <a:latin typeface="Arial" panose="020B0604020202020204" pitchFamily="34" charset="0"/>
                  <a:cs typeface="Arial" panose="020B0604020202020204" pitchFamily="34" charset="0"/>
                </a:rPr>
                <a:t>320</a:t>
              </a:r>
              <a:r>
                <a:rPr lang="el-GR" sz="2000" b="1" dirty="0">
                  <a:solidFill>
                    <a:srgbClr val="1F497D"/>
                  </a:solidFill>
                  <a:latin typeface="Arial" panose="020B0604020202020204" pitchFamily="34" charset="0"/>
                  <a:cs typeface="Arial" panose="020B0604020202020204" pitchFamily="34" charset="0"/>
                </a:rPr>
                <a:t>,7</a:t>
              </a:r>
              <a:r>
                <a:rPr lang="en-US" sz="2000" b="1" dirty="0">
                  <a:solidFill>
                    <a:srgbClr val="1F497D"/>
                  </a:solidFill>
                  <a:latin typeface="Arial" panose="020B0604020202020204" pitchFamily="34" charset="0"/>
                  <a:cs typeface="Arial" panose="020B0604020202020204" pitchFamily="34" charset="0"/>
                </a:rPr>
                <a:t> </a:t>
              </a:r>
              <a:endParaRPr lang="el-GR" sz="2000" b="1" dirty="0">
                <a:solidFill>
                  <a:srgbClr val="1F497D"/>
                </a:solidFill>
                <a:latin typeface="Arial" panose="020B0604020202020204" pitchFamily="34" charset="0"/>
                <a:cs typeface="Arial" panose="020B0604020202020204" pitchFamily="34" charset="0"/>
              </a:endParaRPr>
            </a:p>
            <a:p>
              <a:pPr algn="ctr"/>
              <a:r>
                <a:rPr lang="el-GR" sz="2000" b="1" dirty="0">
                  <a:solidFill>
                    <a:srgbClr val="1F497D"/>
                  </a:solidFill>
                  <a:latin typeface="Arial" panose="020B0604020202020204" pitchFamily="34" charset="0"/>
                  <a:cs typeface="Arial" panose="020B0604020202020204" pitchFamily="34" charset="0"/>
                </a:rPr>
                <a:t>εκ.€</a:t>
              </a:r>
            </a:p>
          </p:txBody>
        </p:sp>
      </p:grpSp>
      <p:sp>
        <p:nvSpPr>
          <p:cNvPr id="11" name="TextBox 10">
            <a:extLst>
              <a:ext uri="{FF2B5EF4-FFF2-40B4-BE49-F238E27FC236}">
                <a16:creationId xmlns:a16="http://schemas.microsoft.com/office/drawing/2014/main" id="{AC9683FB-D3E4-7949-BCFC-1E76925C1594}"/>
              </a:ext>
            </a:extLst>
          </p:cNvPr>
          <p:cNvSpPr txBox="1"/>
          <p:nvPr/>
        </p:nvSpPr>
        <p:spPr>
          <a:xfrm>
            <a:off x="9587370" y="5473847"/>
            <a:ext cx="1386855" cy="307777"/>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400" b="1" dirty="0">
                <a:solidFill>
                  <a:srgbClr val="1F497D"/>
                </a:solidFill>
                <a:latin typeface="Arial" panose="020B0604020202020204" pitchFamily="34" charset="0"/>
                <a:cs typeface="Arial" panose="020B0604020202020204" pitchFamily="34" charset="0"/>
              </a:rPr>
              <a:t>1</a:t>
            </a:r>
            <a:r>
              <a:rPr lang="en-US" sz="1400" b="1" dirty="0">
                <a:solidFill>
                  <a:srgbClr val="1F497D"/>
                </a:solidFill>
                <a:latin typeface="Arial" panose="020B0604020202020204" pitchFamily="34" charset="0"/>
                <a:cs typeface="Arial" panose="020B0604020202020204" pitchFamily="34" charset="0"/>
              </a:rPr>
              <a:t>65</a:t>
            </a:r>
            <a:r>
              <a:rPr lang="el-GR" sz="1400" b="1" dirty="0">
                <a:solidFill>
                  <a:srgbClr val="1F497D"/>
                </a:solidFill>
                <a:latin typeface="Arial" panose="020B0604020202020204" pitchFamily="34" charset="0"/>
                <a:cs typeface="Arial" panose="020B0604020202020204" pitchFamily="34" charset="0"/>
              </a:rPr>
              <a:t>,</a:t>
            </a:r>
            <a:r>
              <a:rPr lang="en-US" sz="1400" b="1" dirty="0">
                <a:solidFill>
                  <a:srgbClr val="1F497D"/>
                </a:solidFill>
                <a:latin typeface="Arial" panose="020B0604020202020204" pitchFamily="34" charset="0"/>
                <a:cs typeface="Arial" panose="020B0604020202020204" pitchFamily="34" charset="0"/>
              </a:rPr>
              <a:t>4</a:t>
            </a:r>
            <a:r>
              <a:rPr lang="el-GR" sz="1400" b="1" dirty="0">
                <a:solidFill>
                  <a:srgbClr val="1F497D"/>
                </a:solidFill>
                <a:latin typeface="Arial" panose="020B0604020202020204" pitchFamily="34" charset="0"/>
                <a:cs typeface="Arial" panose="020B0604020202020204" pitchFamily="34" charset="0"/>
              </a:rPr>
              <a:t> εκ.€</a:t>
            </a:r>
          </a:p>
        </p:txBody>
      </p:sp>
      <p:sp>
        <p:nvSpPr>
          <p:cNvPr id="12" name="TextBox 11">
            <a:extLst>
              <a:ext uri="{FF2B5EF4-FFF2-40B4-BE49-F238E27FC236}">
                <a16:creationId xmlns:a16="http://schemas.microsoft.com/office/drawing/2014/main" id="{99EB265A-493A-E455-907B-7F9E0BE7BB65}"/>
              </a:ext>
            </a:extLst>
          </p:cNvPr>
          <p:cNvSpPr txBox="1"/>
          <p:nvPr/>
        </p:nvSpPr>
        <p:spPr>
          <a:xfrm>
            <a:off x="8463176" y="5473847"/>
            <a:ext cx="1184040" cy="307777"/>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400" b="1" dirty="0">
                <a:solidFill>
                  <a:srgbClr val="0CADDC"/>
                </a:solidFill>
                <a:latin typeface="Arial" panose="020B0604020202020204" pitchFamily="34" charset="0"/>
                <a:cs typeface="Arial" panose="020B0604020202020204" pitchFamily="34" charset="0"/>
              </a:rPr>
              <a:t>3</a:t>
            </a:r>
            <a:r>
              <a:rPr lang="en-US" sz="1400" b="1" dirty="0">
                <a:solidFill>
                  <a:srgbClr val="0CADDC"/>
                </a:solidFill>
                <a:latin typeface="Arial" panose="020B0604020202020204" pitchFamily="34" charset="0"/>
                <a:cs typeface="Arial" panose="020B0604020202020204" pitchFamily="34" charset="0"/>
              </a:rPr>
              <a:t>3,4</a:t>
            </a:r>
            <a:r>
              <a:rPr lang="el-GR" sz="1400" b="1" dirty="0">
                <a:solidFill>
                  <a:srgbClr val="0CADDC"/>
                </a:solidFill>
                <a:latin typeface="Arial" panose="020B0604020202020204" pitchFamily="34" charset="0"/>
                <a:cs typeface="Arial" panose="020B0604020202020204" pitchFamily="34" charset="0"/>
              </a:rPr>
              <a:t> εκ.€</a:t>
            </a:r>
          </a:p>
        </p:txBody>
      </p:sp>
      <p:sp>
        <p:nvSpPr>
          <p:cNvPr id="13" name="TextBox 12">
            <a:extLst>
              <a:ext uri="{FF2B5EF4-FFF2-40B4-BE49-F238E27FC236}">
                <a16:creationId xmlns:a16="http://schemas.microsoft.com/office/drawing/2014/main" id="{2B7D13CD-49AD-E42E-F180-6A5100987F0C}"/>
              </a:ext>
            </a:extLst>
          </p:cNvPr>
          <p:cNvSpPr txBox="1"/>
          <p:nvPr/>
        </p:nvSpPr>
        <p:spPr>
          <a:xfrm>
            <a:off x="7165141" y="5473847"/>
            <a:ext cx="1200931" cy="307777"/>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400" b="1" dirty="0">
                <a:solidFill>
                  <a:srgbClr val="A6A6A6"/>
                </a:solidFill>
                <a:latin typeface="Arial" panose="020B0604020202020204" pitchFamily="34" charset="0"/>
                <a:cs typeface="Arial" panose="020B0604020202020204" pitchFamily="34" charset="0"/>
              </a:rPr>
              <a:t>27</a:t>
            </a:r>
            <a:r>
              <a:rPr lang="el-GR" sz="1400" b="1" dirty="0">
                <a:solidFill>
                  <a:srgbClr val="A6A6A6"/>
                </a:solidFill>
                <a:latin typeface="Arial" panose="020B0604020202020204" pitchFamily="34" charset="0"/>
                <a:cs typeface="Arial" panose="020B0604020202020204" pitchFamily="34" charset="0"/>
              </a:rPr>
              <a:t>,</a:t>
            </a:r>
            <a:r>
              <a:rPr lang="en-US" sz="1400" b="1" dirty="0">
                <a:solidFill>
                  <a:srgbClr val="A6A6A6"/>
                </a:solidFill>
                <a:latin typeface="Arial" panose="020B0604020202020204" pitchFamily="34" charset="0"/>
                <a:cs typeface="Arial" panose="020B0604020202020204" pitchFamily="34" charset="0"/>
              </a:rPr>
              <a:t>8</a:t>
            </a:r>
            <a:r>
              <a:rPr lang="el-GR" sz="1400" b="1" dirty="0">
                <a:solidFill>
                  <a:srgbClr val="A6A6A6"/>
                </a:solidFill>
                <a:latin typeface="Arial" panose="020B0604020202020204" pitchFamily="34" charset="0"/>
                <a:cs typeface="Arial" panose="020B0604020202020204" pitchFamily="34" charset="0"/>
              </a:rPr>
              <a:t> εκ. €</a:t>
            </a:r>
          </a:p>
        </p:txBody>
      </p:sp>
      <p:sp>
        <p:nvSpPr>
          <p:cNvPr id="14" name="TextBox 13">
            <a:extLst>
              <a:ext uri="{FF2B5EF4-FFF2-40B4-BE49-F238E27FC236}">
                <a16:creationId xmlns:a16="http://schemas.microsoft.com/office/drawing/2014/main" id="{24987E96-9A9C-F9EC-EBB6-820BE8256F6B}"/>
              </a:ext>
            </a:extLst>
          </p:cNvPr>
          <p:cNvSpPr txBox="1"/>
          <p:nvPr/>
        </p:nvSpPr>
        <p:spPr>
          <a:xfrm>
            <a:off x="11036933" y="5473847"/>
            <a:ext cx="1297075" cy="307777"/>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400" b="1" dirty="0">
                <a:solidFill>
                  <a:srgbClr val="98CA3F"/>
                </a:solidFill>
                <a:latin typeface="Arial" panose="020B0604020202020204" pitchFamily="34" charset="0"/>
                <a:cs typeface="Arial" panose="020B0604020202020204" pitchFamily="34" charset="0"/>
              </a:rPr>
              <a:t>94</a:t>
            </a:r>
            <a:r>
              <a:rPr lang="el-GR" sz="1400" b="1" dirty="0">
                <a:solidFill>
                  <a:srgbClr val="98CA3F"/>
                </a:solidFill>
                <a:latin typeface="Arial" panose="020B0604020202020204" pitchFamily="34" charset="0"/>
                <a:cs typeface="Arial" panose="020B0604020202020204" pitchFamily="34" charset="0"/>
              </a:rPr>
              <a:t> εκ.€</a:t>
            </a:r>
          </a:p>
        </p:txBody>
      </p:sp>
      <p:sp>
        <p:nvSpPr>
          <p:cNvPr id="22" name="Rectangle 21">
            <a:extLst>
              <a:ext uri="{FF2B5EF4-FFF2-40B4-BE49-F238E27FC236}">
                <a16:creationId xmlns:a16="http://schemas.microsoft.com/office/drawing/2014/main" id="{0846CB25-2D23-AE0E-2589-9B13E7FED91D}"/>
              </a:ext>
            </a:extLst>
          </p:cNvPr>
          <p:cNvSpPr/>
          <p:nvPr/>
        </p:nvSpPr>
        <p:spPr>
          <a:xfrm>
            <a:off x="6004879" y="5134703"/>
            <a:ext cx="862147" cy="899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1400"/>
          </a:p>
        </p:txBody>
      </p:sp>
      <p:sp>
        <p:nvSpPr>
          <p:cNvPr id="16" name="TextBox 15">
            <a:extLst>
              <a:ext uri="{FF2B5EF4-FFF2-40B4-BE49-F238E27FC236}">
                <a16:creationId xmlns:a16="http://schemas.microsoft.com/office/drawing/2014/main" id="{FE8B0403-563D-794E-82B3-C25E7F60DB35}"/>
              </a:ext>
            </a:extLst>
          </p:cNvPr>
          <p:cNvSpPr txBox="1"/>
          <p:nvPr/>
        </p:nvSpPr>
        <p:spPr>
          <a:xfrm>
            <a:off x="6005815" y="5178066"/>
            <a:ext cx="1200931" cy="338554"/>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600" b="1" dirty="0">
                <a:solidFill>
                  <a:srgbClr val="F4B183"/>
                </a:solidFill>
                <a:latin typeface="Arial" panose="020B0604020202020204" pitchFamily="34" charset="0"/>
                <a:cs typeface="Arial" panose="020B0604020202020204" pitchFamily="34" charset="0"/>
              </a:rPr>
              <a:t>Π/Υ </a:t>
            </a:r>
            <a:r>
              <a:rPr lang="el-GR" sz="1600" b="1" dirty="0" err="1">
                <a:solidFill>
                  <a:srgbClr val="F4B183"/>
                </a:solidFill>
                <a:latin typeface="Arial" panose="020B0604020202020204" pitchFamily="34" charset="0"/>
                <a:cs typeface="Arial" panose="020B0604020202020204" pitchFamily="34" charset="0"/>
              </a:rPr>
              <a:t>Επιχ</a:t>
            </a:r>
            <a:r>
              <a:rPr lang="el-GR" sz="1600" b="1" dirty="0">
                <a:solidFill>
                  <a:srgbClr val="F4B183"/>
                </a:solidFill>
                <a:latin typeface="Arial" panose="020B0604020202020204" pitchFamily="34" charset="0"/>
                <a:cs typeface="Arial" panose="020B0604020202020204" pitchFamily="34" charset="0"/>
              </a:rPr>
              <a:t>:</a:t>
            </a:r>
          </a:p>
        </p:txBody>
      </p:sp>
      <p:sp>
        <p:nvSpPr>
          <p:cNvPr id="21" name="TextBox 20">
            <a:extLst>
              <a:ext uri="{FF2B5EF4-FFF2-40B4-BE49-F238E27FC236}">
                <a16:creationId xmlns:a16="http://schemas.microsoft.com/office/drawing/2014/main" id="{25C4742A-4761-26E6-CEC9-74FDD109EB92}"/>
              </a:ext>
            </a:extLst>
          </p:cNvPr>
          <p:cNvSpPr txBox="1"/>
          <p:nvPr/>
        </p:nvSpPr>
        <p:spPr>
          <a:xfrm>
            <a:off x="6036350" y="5524081"/>
            <a:ext cx="1072527" cy="338554"/>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600" b="1" dirty="0">
                <a:solidFill>
                  <a:srgbClr val="F4B183"/>
                </a:solidFill>
                <a:latin typeface="Arial" panose="020B0604020202020204" pitchFamily="34" charset="0"/>
                <a:cs typeface="Arial" panose="020B0604020202020204" pitchFamily="34" charset="0"/>
              </a:rPr>
              <a:t>Π/Υ ΔΔ:</a:t>
            </a:r>
          </a:p>
        </p:txBody>
      </p:sp>
      <p:cxnSp>
        <p:nvCxnSpPr>
          <p:cNvPr id="24" name="Straight Connector 23">
            <a:extLst>
              <a:ext uri="{FF2B5EF4-FFF2-40B4-BE49-F238E27FC236}">
                <a16:creationId xmlns:a16="http://schemas.microsoft.com/office/drawing/2014/main" id="{55F0BD3B-7944-020A-477F-EA082B90C7F0}"/>
              </a:ext>
            </a:extLst>
          </p:cNvPr>
          <p:cNvCxnSpPr>
            <a:cxnSpLocks/>
          </p:cNvCxnSpPr>
          <p:nvPr/>
        </p:nvCxnSpPr>
        <p:spPr>
          <a:xfrm flipV="1">
            <a:off x="6096002" y="5506069"/>
            <a:ext cx="5966407" cy="3127"/>
          </a:xfrm>
          <a:prstGeom prst="line">
            <a:avLst/>
          </a:prstGeom>
          <a:ln w="12700">
            <a:solidFill>
              <a:srgbClr val="1F497D"/>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C8A33AF-C947-97CA-15EC-9E3C0D482CA9}"/>
              </a:ext>
            </a:extLst>
          </p:cNvPr>
          <p:cNvCxnSpPr/>
          <p:nvPr/>
        </p:nvCxnSpPr>
        <p:spPr>
          <a:xfrm>
            <a:off x="7131000" y="5178065"/>
            <a:ext cx="0" cy="665115"/>
          </a:xfrm>
          <a:prstGeom prst="line">
            <a:avLst/>
          </a:prstGeom>
          <a:ln w="12700">
            <a:solidFill>
              <a:srgbClr val="1F497D"/>
            </a:solidFill>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05756B-83A5-7E15-477A-87F80BF68B0E}"/>
              </a:ext>
            </a:extLst>
          </p:cNvPr>
          <p:cNvCxnSpPr/>
          <p:nvPr/>
        </p:nvCxnSpPr>
        <p:spPr>
          <a:xfrm>
            <a:off x="8429448" y="5173511"/>
            <a:ext cx="0" cy="665115"/>
          </a:xfrm>
          <a:prstGeom prst="line">
            <a:avLst/>
          </a:prstGeom>
          <a:ln w="12700">
            <a:solidFill>
              <a:srgbClr val="1F497D"/>
            </a:solidFill>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3B04476-45ED-F4BA-81BA-A59A40CB6BF3}"/>
              </a:ext>
            </a:extLst>
          </p:cNvPr>
          <p:cNvCxnSpPr/>
          <p:nvPr/>
        </p:nvCxnSpPr>
        <p:spPr>
          <a:xfrm>
            <a:off x="9579953" y="5184016"/>
            <a:ext cx="0" cy="665115"/>
          </a:xfrm>
          <a:prstGeom prst="line">
            <a:avLst/>
          </a:prstGeom>
          <a:ln w="12700">
            <a:solidFill>
              <a:srgbClr val="1F497D"/>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B297748-5257-C049-1CE0-78BD507CC272}"/>
              </a:ext>
            </a:extLst>
          </p:cNvPr>
          <p:cNvCxnSpPr/>
          <p:nvPr/>
        </p:nvCxnSpPr>
        <p:spPr>
          <a:xfrm>
            <a:off x="10892232" y="5162676"/>
            <a:ext cx="0" cy="665115"/>
          </a:xfrm>
          <a:prstGeom prst="line">
            <a:avLst/>
          </a:prstGeom>
          <a:ln w="12700">
            <a:solidFill>
              <a:srgbClr val="1F497D"/>
            </a:solidFill>
            <a:prstDash val="sysDash"/>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73E20B07-7698-46A7-98CD-81D50A18FF89}"/>
              </a:ext>
            </a:extLst>
          </p:cNvPr>
          <p:cNvSpPr txBox="1"/>
          <p:nvPr/>
        </p:nvSpPr>
        <p:spPr>
          <a:xfrm>
            <a:off x="7915560" y="6015161"/>
            <a:ext cx="1477565" cy="584775"/>
          </a:xfrm>
          <a:prstGeom prst="rect">
            <a:avLst/>
          </a:prstGeom>
          <a:noFill/>
          <a:ln w="28575">
            <a:noFill/>
          </a:ln>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l-GR" sz="1600" b="1" dirty="0">
                <a:solidFill>
                  <a:srgbClr val="0CADDC"/>
                </a:solidFill>
                <a:latin typeface="Arial" panose="020B0604020202020204" pitchFamily="34" charset="0"/>
                <a:ea typeface="Urbanist" panose="020B0604020202020204" charset="0"/>
                <a:cs typeface="Arial" panose="020B0604020202020204" pitchFamily="34" charset="0"/>
              </a:rPr>
              <a:t>Νέες Θέσεις Εργασίας</a:t>
            </a:r>
          </a:p>
        </p:txBody>
      </p:sp>
      <p:sp>
        <p:nvSpPr>
          <p:cNvPr id="62" name="object 62">
            <a:extLst>
              <a:ext uri="{FF2B5EF4-FFF2-40B4-BE49-F238E27FC236}">
                <a16:creationId xmlns:a16="http://schemas.microsoft.com/office/drawing/2014/main" id="{4548080D-90B4-495C-A089-B451F2FFFB53}"/>
              </a:ext>
            </a:extLst>
          </p:cNvPr>
          <p:cNvSpPr/>
          <p:nvPr/>
        </p:nvSpPr>
        <p:spPr>
          <a:xfrm>
            <a:off x="7522920" y="6038567"/>
            <a:ext cx="419213" cy="599440"/>
          </a:xfrm>
          <a:custGeom>
            <a:avLst/>
            <a:gdLst/>
            <a:ahLst/>
            <a:cxnLst/>
            <a:rect l="l" t="t" r="r" b="b"/>
            <a:pathLst>
              <a:path w="988695" h="1333500">
                <a:moveTo>
                  <a:pt x="382168" y="645655"/>
                </a:moveTo>
                <a:lnTo>
                  <a:pt x="378714" y="628561"/>
                </a:lnTo>
                <a:lnTo>
                  <a:pt x="369303" y="614591"/>
                </a:lnTo>
                <a:lnTo>
                  <a:pt x="355346" y="605180"/>
                </a:lnTo>
                <a:lnTo>
                  <a:pt x="338239" y="601726"/>
                </a:lnTo>
                <a:lnTo>
                  <a:pt x="321144" y="605180"/>
                </a:lnTo>
                <a:lnTo>
                  <a:pt x="307187" y="614591"/>
                </a:lnTo>
                <a:lnTo>
                  <a:pt x="297764" y="628561"/>
                </a:lnTo>
                <a:lnTo>
                  <a:pt x="294322" y="645655"/>
                </a:lnTo>
                <a:lnTo>
                  <a:pt x="294322" y="1051928"/>
                </a:lnTo>
                <a:lnTo>
                  <a:pt x="297764" y="1069022"/>
                </a:lnTo>
                <a:lnTo>
                  <a:pt x="307187" y="1082992"/>
                </a:lnTo>
                <a:lnTo>
                  <a:pt x="321144" y="1092403"/>
                </a:lnTo>
                <a:lnTo>
                  <a:pt x="338239" y="1095857"/>
                </a:lnTo>
                <a:lnTo>
                  <a:pt x="355346" y="1092403"/>
                </a:lnTo>
                <a:lnTo>
                  <a:pt x="369303" y="1082992"/>
                </a:lnTo>
                <a:lnTo>
                  <a:pt x="378714" y="1069022"/>
                </a:lnTo>
                <a:lnTo>
                  <a:pt x="382168" y="1051928"/>
                </a:lnTo>
                <a:lnTo>
                  <a:pt x="382168" y="645655"/>
                </a:lnTo>
                <a:close/>
              </a:path>
              <a:path w="988695" h="1333500">
                <a:moveTo>
                  <a:pt x="694016" y="645655"/>
                </a:moveTo>
                <a:lnTo>
                  <a:pt x="690562" y="628561"/>
                </a:lnTo>
                <a:lnTo>
                  <a:pt x="681151" y="614591"/>
                </a:lnTo>
                <a:lnTo>
                  <a:pt x="667181" y="605180"/>
                </a:lnTo>
                <a:lnTo>
                  <a:pt x="650087" y="601726"/>
                </a:lnTo>
                <a:lnTo>
                  <a:pt x="632993" y="605180"/>
                </a:lnTo>
                <a:lnTo>
                  <a:pt x="619023" y="614591"/>
                </a:lnTo>
                <a:lnTo>
                  <a:pt x="609612" y="628561"/>
                </a:lnTo>
                <a:lnTo>
                  <a:pt x="606158" y="645655"/>
                </a:lnTo>
                <a:lnTo>
                  <a:pt x="606158" y="1289100"/>
                </a:lnTo>
                <a:lnTo>
                  <a:pt x="609612" y="1306207"/>
                </a:lnTo>
                <a:lnTo>
                  <a:pt x="619023" y="1320165"/>
                </a:lnTo>
                <a:lnTo>
                  <a:pt x="632993" y="1329575"/>
                </a:lnTo>
                <a:lnTo>
                  <a:pt x="650087" y="1333030"/>
                </a:lnTo>
                <a:lnTo>
                  <a:pt x="667181" y="1329575"/>
                </a:lnTo>
                <a:lnTo>
                  <a:pt x="681151" y="1320165"/>
                </a:lnTo>
                <a:lnTo>
                  <a:pt x="690562" y="1306207"/>
                </a:lnTo>
                <a:lnTo>
                  <a:pt x="694016" y="1289100"/>
                </a:lnTo>
                <a:lnTo>
                  <a:pt x="694016" y="645655"/>
                </a:lnTo>
                <a:close/>
              </a:path>
              <a:path w="988695" h="1333500">
                <a:moveTo>
                  <a:pt x="988326" y="668312"/>
                </a:moveTo>
                <a:lnTo>
                  <a:pt x="529856" y="18313"/>
                </a:lnTo>
                <a:lnTo>
                  <a:pt x="494169" y="0"/>
                </a:lnTo>
                <a:lnTo>
                  <a:pt x="483781" y="1244"/>
                </a:lnTo>
                <a:lnTo>
                  <a:pt x="8115" y="645960"/>
                </a:lnTo>
                <a:lnTo>
                  <a:pt x="0" y="668312"/>
                </a:lnTo>
                <a:lnTo>
                  <a:pt x="736" y="680186"/>
                </a:lnTo>
                <a:lnTo>
                  <a:pt x="31813" y="713816"/>
                </a:lnTo>
                <a:lnTo>
                  <a:pt x="43802" y="715492"/>
                </a:lnTo>
                <a:lnTo>
                  <a:pt x="194310" y="715492"/>
                </a:lnTo>
                <a:lnTo>
                  <a:pt x="234784" y="688657"/>
                </a:lnTo>
                <a:lnTo>
                  <a:pt x="225374" y="640511"/>
                </a:lnTo>
                <a:lnTo>
                  <a:pt x="129387" y="627646"/>
                </a:lnTo>
                <a:lnTo>
                  <a:pt x="494169" y="119265"/>
                </a:lnTo>
                <a:lnTo>
                  <a:pt x="858939" y="627646"/>
                </a:lnTo>
                <a:lnTo>
                  <a:pt x="794016" y="627646"/>
                </a:lnTo>
                <a:lnTo>
                  <a:pt x="776909" y="631101"/>
                </a:lnTo>
                <a:lnTo>
                  <a:pt x="762952" y="640511"/>
                </a:lnTo>
                <a:lnTo>
                  <a:pt x="753541" y="654469"/>
                </a:lnTo>
                <a:lnTo>
                  <a:pt x="750087" y="671563"/>
                </a:lnTo>
                <a:lnTo>
                  <a:pt x="753541" y="688657"/>
                </a:lnTo>
                <a:lnTo>
                  <a:pt x="762952" y="702627"/>
                </a:lnTo>
                <a:lnTo>
                  <a:pt x="776909" y="712038"/>
                </a:lnTo>
                <a:lnTo>
                  <a:pt x="794016" y="715492"/>
                </a:lnTo>
                <a:lnTo>
                  <a:pt x="944524" y="715492"/>
                </a:lnTo>
                <a:lnTo>
                  <a:pt x="983602" y="691629"/>
                </a:lnTo>
                <a:lnTo>
                  <a:pt x="987590" y="680186"/>
                </a:lnTo>
                <a:lnTo>
                  <a:pt x="988326" y="668312"/>
                </a:lnTo>
                <a:close/>
              </a:path>
            </a:pathLst>
          </a:custGeom>
          <a:solidFill>
            <a:srgbClr val="F4B183"/>
          </a:solidFill>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051">
              <a:solidFill>
                <a:srgbClr val="F4B183"/>
              </a:solidFill>
              <a:latin typeface="Urbanist" panose="020B0604020202020204" charset="0"/>
              <a:ea typeface="Urbanist" panose="020B0604020202020204" charset="0"/>
              <a:cs typeface="Urbanist" panose="020B0604020202020204" charset="0"/>
            </a:endParaRPr>
          </a:p>
        </p:txBody>
      </p:sp>
      <p:grpSp>
        <p:nvGrpSpPr>
          <p:cNvPr id="63" name="Ομάδα 62">
            <a:extLst>
              <a:ext uri="{FF2B5EF4-FFF2-40B4-BE49-F238E27FC236}">
                <a16:creationId xmlns:a16="http://schemas.microsoft.com/office/drawing/2014/main" id="{F9C6D275-D5A7-43A6-9FE9-94FD708A9183}"/>
              </a:ext>
            </a:extLst>
          </p:cNvPr>
          <p:cNvGrpSpPr/>
          <p:nvPr/>
        </p:nvGrpSpPr>
        <p:grpSpPr>
          <a:xfrm>
            <a:off x="6708175" y="6099499"/>
            <a:ext cx="650064" cy="462816"/>
            <a:chOff x="7372770" y="2920113"/>
            <a:chExt cx="1111885" cy="579755"/>
          </a:xfrm>
        </p:grpSpPr>
        <p:sp>
          <p:nvSpPr>
            <p:cNvPr id="64" name="object 54">
              <a:extLst>
                <a:ext uri="{FF2B5EF4-FFF2-40B4-BE49-F238E27FC236}">
                  <a16:creationId xmlns:a16="http://schemas.microsoft.com/office/drawing/2014/main" id="{66EF4816-8F70-45AA-AE11-F2309D2BF4F9}"/>
                </a:ext>
              </a:extLst>
            </p:cNvPr>
            <p:cNvSpPr/>
            <p:nvPr/>
          </p:nvSpPr>
          <p:spPr>
            <a:xfrm>
              <a:off x="7806994" y="2920113"/>
              <a:ext cx="243375" cy="243072"/>
            </a:xfrm>
            <a:custGeom>
              <a:avLst/>
              <a:gdLst/>
              <a:ahLst/>
              <a:cxnLst/>
              <a:rect l="l" t="t" r="r" b="b"/>
              <a:pathLst>
                <a:path w="236855" h="236854">
                  <a:moveTo>
                    <a:pt x="236631" y="118321"/>
                  </a:moveTo>
                  <a:lnTo>
                    <a:pt x="227333" y="164377"/>
                  </a:lnTo>
                  <a:lnTo>
                    <a:pt x="201976" y="201987"/>
                  </a:lnTo>
                  <a:lnTo>
                    <a:pt x="164367" y="227344"/>
                  </a:lnTo>
                  <a:lnTo>
                    <a:pt x="118310" y="236642"/>
                  </a:lnTo>
                  <a:lnTo>
                    <a:pt x="72259" y="227344"/>
                  </a:lnTo>
                  <a:lnTo>
                    <a:pt x="34653" y="201987"/>
                  </a:lnTo>
                  <a:lnTo>
                    <a:pt x="9297" y="164377"/>
                  </a:lnTo>
                  <a:lnTo>
                    <a:pt x="0" y="118321"/>
                  </a:lnTo>
                  <a:lnTo>
                    <a:pt x="9297" y="72264"/>
                  </a:lnTo>
                  <a:lnTo>
                    <a:pt x="34653" y="34654"/>
                  </a:lnTo>
                  <a:lnTo>
                    <a:pt x="72259" y="9297"/>
                  </a:lnTo>
                  <a:lnTo>
                    <a:pt x="118310" y="0"/>
                  </a:lnTo>
                  <a:lnTo>
                    <a:pt x="164367" y="9297"/>
                  </a:lnTo>
                  <a:lnTo>
                    <a:pt x="201976" y="34654"/>
                  </a:lnTo>
                  <a:lnTo>
                    <a:pt x="227333" y="72264"/>
                  </a:lnTo>
                  <a:lnTo>
                    <a:pt x="236631" y="118321"/>
                  </a:lnTo>
                  <a:close/>
                </a:path>
              </a:pathLst>
            </a:custGeom>
            <a:ln w="29684">
              <a:solidFill>
                <a:srgbClr val="0CADDC"/>
              </a:solidFill>
            </a:ln>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051">
                <a:latin typeface="Urbanist" panose="020B0604020202020204" charset="0"/>
                <a:ea typeface="Urbanist" panose="020B0604020202020204" charset="0"/>
                <a:cs typeface="Urbanist" panose="020B0604020202020204" charset="0"/>
              </a:endParaRPr>
            </a:p>
          </p:txBody>
        </p:sp>
        <p:grpSp>
          <p:nvGrpSpPr>
            <p:cNvPr id="65" name="Ομάδα 64">
              <a:extLst>
                <a:ext uri="{FF2B5EF4-FFF2-40B4-BE49-F238E27FC236}">
                  <a16:creationId xmlns:a16="http://schemas.microsoft.com/office/drawing/2014/main" id="{744DDC69-1509-47BC-8051-8F40C26CF382}"/>
                </a:ext>
              </a:extLst>
            </p:cNvPr>
            <p:cNvGrpSpPr/>
            <p:nvPr/>
          </p:nvGrpSpPr>
          <p:grpSpPr>
            <a:xfrm>
              <a:off x="7372770" y="2958968"/>
              <a:ext cx="1111885" cy="540900"/>
              <a:chOff x="7372770" y="2958968"/>
              <a:chExt cx="1111885" cy="540900"/>
            </a:xfrm>
          </p:grpSpPr>
          <p:sp>
            <p:nvSpPr>
              <p:cNvPr id="66" name="object 49">
                <a:extLst>
                  <a:ext uri="{FF2B5EF4-FFF2-40B4-BE49-F238E27FC236}">
                    <a16:creationId xmlns:a16="http://schemas.microsoft.com/office/drawing/2014/main" id="{6D7E75BE-4C33-4F5B-B869-25BF922A19FA}"/>
                  </a:ext>
                </a:extLst>
              </p:cNvPr>
              <p:cNvSpPr/>
              <p:nvPr/>
            </p:nvSpPr>
            <p:spPr>
              <a:xfrm>
                <a:off x="8249109" y="3250287"/>
                <a:ext cx="235546" cy="76245"/>
              </a:xfrm>
              <a:custGeom>
                <a:avLst/>
                <a:gdLst/>
                <a:ahLst/>
                <a:cxnLst/>
                <a:rect l="l" t="t" r="r" b="b"/>
                <a:pathLst>
                  <a:path w="229235" h="74295">
                    <a:moveTo>
                      <a:pt x="0" y="34156"/>
                    </a:moveTo>
                    <a:lnTo>
                      <a:pt x="10135" y="37154"/>
                    </a:lnTo>
                    <a:lnTo>
                      <a:pt x="20699" y="39350"/>
                    </a:lnTo>
                    <a:lnTo>
                      <a:pt x="31638" y="40701"/>
                    </a:lnTo>
                    <a:lnTo>
                      <a:pt x="42899" y="41161"/>
                    </a:lnTo>
                    <a:lnTo>
                      <a:pt x="65097" y="39346"/>
                    </a:lnTo>
                    <a:lnTo>
                      <a:pt x="85818" y="34140"/>
                    </a:lnTo>
                    <a:lnTo>
                      <a:pt x="104620" y="25894"/>
                    </a:lnTo>
                    <a:lnTo>
                      <a:pt x="121064" y="14962"/>
                    </a:lnTo>
                    <a:lnTo>
                      <a:pt x="130441" y="8627"/>
                    </a:lnTo>
                    <a:lnTo>
                      <a:pt x="140635" y="3927"/>
                    </a:lnTo>
                    <a:lnTo>
                      <a:pt x="151460" y="1005"/>
                    </a:lnTo>
                    <a:lnTo>
                      <a:pt x="162728" y="0"/>
                    </a:lnTo>
                    <a:lnTo>
                      <a:pt x="163597" y="0"/>
                    </a:lnTo>
                    <a:lnTo>
                      <a:pt x="189037" y="5139"/>
                    </a:lnTo>
                    <a:lnTo>
                      <a:pt x="209816" y="19153"/>
                    </a:lnTo>
                    <a:lnTo>
                      <a:pt x="223828" y="39933"/>
                    </a:lnTo>
                    <a:lnTo>
                      <a:pt x="228966" y="65369"/>
                    </a:lnTo>
                    <a:lnTo>
                      <a:pt x="228966" y="74102"/>
                    </a:lnTo>
                  </a:path>
                </a:pathLst>
              </a:custGeom>
              <a:ln w="29684">
                <a:solidFill>
                  <a:srgbClr val="0CADDC"/>
                </a:solidFill>
              </a:ln>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051">
                  <a:latin typeface="Urbanist" panose="020B0604020202020204" charset="0"/>
                  <a:ea typeface="Urbanist" panose="020B0604020202020204" charset="0"/>
                  <a:cs typeface="Urbanist" panose="020B0604020202020204" charset="0"/>
                </a:endParaRPr>
              </a:p>
            </p:txBody>
          </p:sp>
          <p:sp>
            <p:nvSpPr>
              <p:cNvPr id="67" name="object 51">
                <a:extLst>
                  <a:ext uri="{FF2B5EF4-FFF2-40B4-BE49-F238E27FC236}">
                    <a16:creationId xmlns:a16="http://schemas.microsoft.com/office/drawing/2014/main" id="{9E81B84B-3FA1-4800-A852-CA115888747A}"/>
                  </a:ext>
                </a:extLst>
              </p:cNvPr>
              <p:cNvSpPr/>
              <p:nvPr/>
            </p:nvSpPr>
            <p:spPr>
              <a:xfrm>
                <a:off x="7689980" y="3194840"/>
                <a:ext cx="477617" cy="289341"/>
              </a:xfrm>
              <a:custGeom>
                <a:avLst/>
                <a:gdLst/>
                <a:ahLst/>
                <a:cxnLst/>
                <a:rect l="l" t="t" r="r" b="b"/>
                <a:pathLst>
                  <a:path w="464819" h="281940">
                    <a:moveTo>
                      <a:pt x="0" y="281939"/>
                    </a:moveTo>
                    <a:lnTo>
                      <a:pt x="0" y="81557"/>
                    </a:lnTo>
                    <a:lnTo>
                      <a:pt x="6408" y="49810"/>
                    </a:lnTo>
                    <a:lnTo>
                      <a:pt x="23886" y="23886"/>
                    </a:lnTo>
                    <a:lnTo>
                      <a:pt x="49810" y="6408"/>
                    </a:lnTo>
                    <a:lnTo>
                      <a:pt x="81557" y="0"/>
                    </a:lnTo>
                    <a:lnTo>
                      <a:pt x="82688" y="0"/>
                    </a:lnTo>
                    <a:lnTo>
                      <a:pt x="96726" y="1252"/>
                    </a:lnTo>
                    <a:lnTo>
                      <a:pt x="110229" y="4896"/>
                    </a:lnTo>
                    <a:lnTo>
                      <a:pt x="122951" y="10765"/>
                    </a:lnTo>
                    <a:lnTo>
                      <a:pt x="134645" y="18690"/>
                    </a:lnTo>
                    <a:lnTo>
                      <a:pt x="155180" y="32319"/>
                    </a:lnTo>
                    <a:lnTo>
                      <a:pt x="178641" y="42598"/>
                    </a:lnTo>
                    <a:lnTo>
                      <a:pt x="204493" y="49088"/>
                    </a:lnTo>
                    <a:lnTo>
                      <a:pt x="232202" y="51349"/>
                    </a:lnTo>
                    <a:lnTo>
                      <a:pt x="259911" y="49088"/>
                    </a:lnTo>
                    <a:lnTo>
                      <a:pt x="285763" y="42598"/>
                    </a:lnTo>
                    <a:lnTo>
                      <a:pt x="309224" y="32319"/>
                    </a:lnTo>
                    <a:lnTo>
                      <a:pt x="329759" y="18690"/>
                    </a:lnTo>
                    <a:lnTo>
                      <a:pt x="341452" y="10765"/>
                    </a:lnTo>
                    <a:lnTo>
                      <a:pt x="354175" y="4896"/>
                    </a:lnTo>
                    <a:lnTo>
                      <a:pt x="367678" y="1252"/>
                    </a:lnTo>
                    <a:lnTo>
                      <a:pt x="381716" y="0"/>
                    </a:lnTo>
                    <a:lnTo>
                      <a:pt x="382826" y="0"/>
                    </a:lnTo>
                    <a:lnTo>
                      <a:pt x="414573" y="6408"/>
                    </a:lnTo>
                    <a:lnTo>
                      <a:pt x="440497" y="23886"/>
                    </a:lnTo>
                    <a:lnTo>
                      <a:pt x="457974" y="49810"/>
                    </a:lnTo>
                    <a:lnTo>
                      <a:pt x="464383" y="81557"/>
                    </a:lnTo>
                    <a:lnTo>
                      <a:pt x="464383" y="281939"/>
                    </a:lnTo>
                  </a:path>
                </a:pathLst>
              </a:custGeom>
              <a:ln w="29684">
                <a:solidFill>
                  <a:srgbClr val="0CADDC"/>
                </a:solidFill>
              </a:ln>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051">
                  <a:latin typeface="Urbanist" panose="020B0604020202020204" charset="0"/>
                  <a:ea typeface="Urbanist" panose="020B0604020202020204" charset="0"/>
                  <a:cs typeface="Urbanist" panose="020B0604020202020204" charset="0"/>
                </a:endParaRPr>
              </a:p>
            </p:txBody>
          </p:sp>
          <p:sp>
            <p:nvSpPr>
              <p:cNvPr id="68" name="object 52">
                <a:extLst>
                  <a:ext uri="{FF2B5EF4-FFF2-40B4-BE49-F238E27FC236}">
                    <a16:creationId xmlns:a16="http://schemas.microsoft.com/office/drawing/2014/main" id="{A50D5483-6573-4CD0-919C-93A500786434}"/>
                  </a:ext>
                </a:extLst>
              </p:cNvPr>
              <p:cNvSpPr/>
              <p:nvPr/>
            </p:nvSpPr>
            <p:spPr>
              <a:xfrm>
                <a:off x="7804174" y="3404724"/>
                <a:ext cx="0" cy="95144"/>
              </a:xfrm>
              <a:custGeom>
                <a:avLst/>
                <a:gdLst/>
                <a:ahLst/>
                <a:cxnLst/>
                <a:rect l="l" t="t" r="r" b="b"/>
                <a:pathLst>
                  <a:path h="92709">
                    <a:moveTo>
                      <a:pt x="0" y="0"/>
                    </a:moveTo>
                    <a:lnTo>
                      <a:pt x="0" y="92677"/>
                    </a:lnTo>
                  </a:path>
                </a:pathLst>
              </a:custGeom>
              <a:ln w="29684">
                <a:solidFill>
                  <a:srgbClr val="0CADDC"/>
                </a:solidFill>
              </a:ln>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051">
                  <a:latin typeface="Urbanist" panose="020B0604020202020204" charset="0"/>
                  <a:ea typeface="Urbanist" panose="020B0604020202020204" charset="0"/>
                  <a:cs typeface="Urbanist" panose="020B0604020202020204" charset="0"/>
                </a:endParaRPr>
              </a:p>
            </p:txBody>
          </p:sp>
          <p:sp>
            <p:nvSpPr>
              <p:cNvPr id="69" name="object 53">
                <a:extLst>
                  <a:ext uri="{FF2B5EF4-FFF2-40B4-BE49-F238E27FC236}">
                    <a16:creationId xmlns:a16="http://schemas.microsoft.com/office/drawing/2014/main" id="{3DB1CF21-E4E1-4DC2-8E62-A8B45F5442D2}"/>
                  </a:ext>
                </a:extLst>
              </p:cNvPr>
              <p:cNvSpPr/>
              <p:nvPr/>
            </p:nvSpPr>
            <p:spPr>
              <a:xfrm>
                <a:off x="8063753" y="3404724"/>
                <a:ext cx="0" cy="95144"/>
              </a:xfrm>
              <a:custGeom>
                <a:avLst/>
                <a:gdLst/>
                <a:ahLst/>
                <a:cxnLst/>
                <a:rect l="l" t="t" r="r" b="b"/>
                <a:pathLst>
                  <a:path h="92709">
                    <a:moveTo>
                      <a:pt x="0" y="0"/>
                    </a:moveTo>
                    <a:lnTo>
                      <a:pt x="0" y="92677"/>
                    </a:lnTo>
                  </a:path>
                </a:pathLst>
              </a:custGeom>
              <a:ln w="29684">
                <a:solidFill>
                  <a:srgbClr val="0CADDC"/>
                </a:solidFill>
              </a:ln>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051">
                  <a:latin typeface="Urbanist" panose="020B0604020202020204" charset="0"/>
                  <a:ea typeface="Urbanist" panose="020B0604020202020204" charset="0"/>
                  <a:cs typeface="Urbanist" panose="020B0604020202020204" charset="0"/>
                </a:endParaRPr>
              </a:p>
            </p:txBody>
          </p:sp>
          <p:sp>
            <p:nvSpPr>
              <p:cNvPr id="70" name="object 55">
                <a:extLst>
                  <a:ext uri="{FF2B5EF4-FFF2-40B4-BE49-F238E27FC236}">
                    <a16:creationId xmlns:a16="http://schemas.microsoft.com/office/drawing/2014/main" id="{08242274-A54A-4EE6-A6FB-B35D1CF96193}"/>
                  </a:ext>
                </a:extLst>
              </p:cNvPr>
              <p:cNvSpPr/>
              <p:nvPr/>
            </p:nvSpPr>
            <p:spPr>
              <a:xfrm>
                <a:off x="7372770" y="3250294"/>
                <a:ext cx="235546" cy="67122"/>
              </a:xfrm>
              <a:custGeom>
                <a:avLst/>
                <a:gdLst/>
                <a:ahLst/>
                <a:cxnLst/>
                <a:rect l="l" t="t" r="r" b="b"/>
                <a:pathLst>
                  <a:path w="229234" h="65404">
                    <a:moveTo>
                      <a:pt x="229008" y="34135"/>
                    </a:moveTo>
                    <a:lnTo>
                      <a:pt x="218865" y="37139"/>
                    </a:lnTo>
                    <a:lnTo>
                      <a:pt x="208292" y="39339"/>
                    </a:lnTo>
                    <a:lnTo>
                      <a:pt x="197341" y="40690"/>
                    </a:lnTo>
                    <a:lnTo>
                      <a:pt x="186067" y="41150"/>
                    </a:lnTo>
                    <a:lnTo>
                      <a:pt x="163870" y="39336"/>
                    </a:lnTo>
                    <a:lnTo>
                      <a:pt x="143152" y="34131"/>
                    </a:lnTo>
                    <a:lnTo>
                      <a:pt x="124350" y="25888"/>
                    </a:lnTo>
                    <a:lnTo>
                      <a:pt x="107902" y="14962"/>
                    </a:lnTo>
                    <a:lnTo>
                      <a:pt x="98527" y="8622"/>
                    </a:lnTo>
                    <a:lnTo>
                      <a:pt x="88335" y="3923"/>
                    </a:lnTo>
                    <a:lnTo>
                      <a:pt x="77510" y="1003"/>
                    </a:lnTo>
                    <a:lnTo>
                      <a:pt x="66238" y="0"/>
                    </a:lnTo>
                    <a:lnTo>
                      <a:pt x="65369" y="0"/>
                    </a:lnTo>
                    <a:lnTo>
                      <a:pt x="39928" y="5138"/>
                    </a:lnTo>
                    <a:lnTo>
                      <a:pt x="19149" y="19148"/>
                    </a:lnTo>
                    <a:lnTo>
                      <a:pt x="5138" y="39924"/>
                    </a:lnTo>
                    <a:lnTo>
                      <a:pt x="0" y="65359"/>
                    </a:lnTo>
                  </a:path>
                </a:pathLst>
              </a:custGeom>
              <a:ln w="29684">
                <a:solidFill>
                  <a:srgbClr val="0CADDC"/>
                </a:solidFill>
              </a:ln>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051">
                  <a:latin typeface="Urbanist" panose="020B0604020202020204" charset="0"/>
                  <a:ea typeface="Urbanist" panose="020B0604020202020204" charset="0"/>
                  <a:cs typeface="Urbanist" panose="020B0604020202020204" charset="0"/>
                </a:endParaRPr>
              </a:p>
            </p:txBody>
          </p:sp>
          <p:sp>
            <p:nvSpPr>
              <p:cNvPr id="71" name="object 54">
                <a:extLst>
                  <a:ext uri="{FF2B5EF4-FFF2-40B4-BE49-F238E27FC236}">
                    <a16:creationId xmlns:a16="http://schemas.microsoft.com/office/drawing/2014/main" id="{653BBE1A-0874-4D95-AD44-55CF162175FD}"/>
                  </a:ext>
                </a:extLst>
              </p:cNvPr>
              <p:cNvSpPr/>
              <p:nvPr/>
            </p:nvSpPr>
            <p:spPr>
              <a:xfrm>
                <a:off x="8179681" y="2972551"/>
                <a:ext cx="198404" cy="243072"/>
              </a:xfrm>
              <a:custGeom>
                <a:avLst/>
                <a:gdLst/>
                <a:ahLst/>
                <a:cxnLst/>
                <a:rect l="l" t="t" r="r" b="b"/>
                <a:pathLst>
                  <a:path w="236855" h="236854">
                    <a:moveTo>
                      <a:pt x="236631" y="118321"/>
                    </a:moveTo>
                    <a:lnTo>
                      <a:pt x="227333" y="164377"/>
                    </a:lnTo>
                    <a:lnTo>
                      <a:pt x="201976" y="201987"/>
                    </a:lnTo>
                    <a:lnTo>
                      <a:pt x="164367" y="227344"/>
                    </a:lnTo>
                    <a:lnTo>
                      <a:pt x="118310" y="236642"/>
                    </a:lnTo>
                    <a:lnTo>
                      <a:pt x="72259" y="227344"/>
                    </a:lnTo>
                    <a:lnTo>
                      <a:pt x="34653" y="201987"/>
                    </a:lnTo>
                    <a:lnTo>
                      <a:pt x="9297" y="164377"/>
                    </a:lnTo>
                    <a:lnTo>
                      <a:pt x="0" y="118321"/>
                    </a:lnTo>
                    <a:lnTo>
                      <a:pt x="9297" y="72264"/>
                    </a:lnTo>
                    <a:lnTo>
                      <a:pt x="34653" y="34654"/>
                    </a:lnTo>
                    <a:lnTo>
                      <a:pt x="72259" y="9297"/>
                    </a:lnTo>
                    <a:lnTo>
                      <a:pt x="118310" y="0"/>
                    </a:lnTo>
                    <a:lnTo>
                      <a:pt x="164367" y="9297"/>
                    </a:lnTo>
                    <a:lnTo>
                      <a:pt x="201976" y="34654"/>
                    </a:lnTo>
                    <a:lnTo>
                      <a:pt x="227333" y="72264"/>
                    </a:lnTo>
                    <a:lnTo>
                      <a:pt x="236631" y="118321"/>
                    </a:lnTo>
                    <a:close/>
                  </a:path>
                </a:pathLst>
              </a:custGeom>
              <a:ln w="29684">
                <a:solidFill>
                  <a:srgbClr val="0CADDC"/>
                </a:solidFill>
              </a:ln>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051">
                  <a:latin typeface="Urbanist" panose="020B0604020202020204" charset="0"/>
                  <a:ea typeface="Urbanist" panose="020B0604020202020204" charset="0"/>
                  <a:cs typeface="Urbanist" panose="020B0604020202020204" charset="0"/>
                </a:endParaRPr>
              </a:p>
            </p:txBody>
          </p:sp>
          <p:sp>
            <p:nvSpPr>
              <p:cNvPr id="72" name="object 54">
                <a:extLst>
                  <a:ext uri="{FF2B5EF4-FFF2-40B4-BE49-F238E27FC236}">
                    <a16:creationId xmlns:a16="http://schemas.microsoft.com/office/drawing/2014/main" id="{8630DB52-86C7-4BC6-ADE0-C3B5FAF79F92}"/>
                  </a:ext>
                </a:extLst>
              </p:cNvPr>
              <p:cNvSpPr/>
              <p:nvPr/>
            </p:nvSpPr>
            <p:spPr>
              <a:xfrm>
                <a:off x="7461466" y="2958968"/>
                <a:ext cx="198404" cy="243072"/>
              </a:xfrm>
              <a:custGeom>
                <a:avLst/>
                <a:gdLst/>
                <a:ahLst/>
                <a:cxnLst/>
                <a:rect l="l" t="t" r="r" b="b"/>
                <a:pathLst>
                  <a:path w="236855" h="236854">
                    <a:moveTo>
                      <a:pt x="236631" y="118321"/>
                    </a:moveTo>
                    <a:lnTo>
                      <a:pt x="227333" y="164377"/>
                    </a:lnTo>
                    <a:lnTo>
                      <a:pt x="201976" y="201987"/>
                    </a:lnTo>
                    <a:lnTo>
                      <a:pt x="164367" y="227344"/>
                    </a:lnTo>
                    <a:lnTo>
                      <a:pt x="118310" y="236642"/>
                    </a:lnTo>
                    <a:lnTo>
                      <a:pt x="72259" y="227344"/>
                    </a:lnTo>
                    <a:lnTo>
                      <a:pt x="34653" y="201987"/>
                    </a:lnTo>
                    <a:lnTo>
                      <a:pt x="9297" y="164377"/>
                    </a:lnTo>
                    <a:lnTo>
                      <a:pt x="0" y="118321"/>
                    </a:lnTo>
                    <a:lnTo>
                      <a:pt x="9297" y="72264"/>
                    </a:lnTo>
                    <a:lnTo>
                      <a:pt x="34653" y="34654"/>
                    </a:lnTo>
                    <a:lnTo>
                      <a:pt x="72259" y="9297"/>
                    </a:lnTo>
                    <a:lnTo>
                      <a:pt x="118310" y="0"/>
                    </a:lnTo>
                    <a:lnTo>
                      <a:pt x="164367" y="9297"/>
                    </a:lnTo>
                    <a:lnTo>
                      <a:pt x="201976" y="34654"/>
                    </a:lnTo>
                    <a:lnTo>
                      <a:pt x="227333" y="72264"/>
                    </a:lnTo>
                    <a:lnTo>
                      <a:pt x="236631" y="118321"/>
                    </a:lnTo>
                    <a:close/>
                  </a:path>
                </a:pathLst>
              </a:custGeom>
              <a:ln w="29684">
                <a:solidFill>
                  <a:srgbClr val="0CADDC"/>
                </a:solidFill>
              </a:ln>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051">
                  <a:latin typeface="Urbanist" panose="020B0604020202020204" charset="0"/>
                  <a:ea typeface="Urbanist" panose="020B0604020202020204" charset="0"/>
                  <a:cs typeface="Urbanist" panose="020B0604020202020204" charset="0"/>
                </a:endParaRPr>
              </a:p>
            </p:txBody>
          </p:sp>
        </p:grpSp>
      </p:grpSp>
      <p:sp>
        <p:nvSpPr>
          <p:cNvPr id="23" name="Ορθογώνιο 22">
            <a:extLst>
              <a:ext uri="{FF2B5EF4-FFF2-40B4-BE49-F238E27FC236}">
                <a16:creationId xmlns:a16="http://schemas.microsoft.com/office/drawing/2014/main" id="{7BE3F46B-499E-4653-AB5E-7F25695ACD43}"/>
              </a:ext>
            </a:extLst>
          </p:cNvPr>
          <p:cNvSpPr/>
          <p:nvPr/>
        </p:nvSpPr>
        <p:spPr>
          <a:xfrm>
            <a:off x="9402466" y="6091555"/>
            <a:ext cx="1101156" cy="461665"/>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1" dirty="0">
                <a:solidFill>
                  <a:srgbClr val="F4B183"/>
                </a:solidFill>
                <a:latin typeface="Arial" panose="020B0604020202020204" pitchFamily="34" charset="0"/>
                <a:cs typeface="Arial" panose="020B0604020202020204" pitchFamily="34" charset="0"/>
              </a:rPr>
              <a:t>2.8</a:t>
            </a:r>
            <a:r>
              <a:rPr lang="en-US" sz="2400" b="1" dirty="0">
                <a:solidFill>
                  <a:srgbClr val="F4B183"/>
                </a:solidFill>
                <a:latin typeface="Arial" panose="020B0604020202020204" pitchFamily="34" charset="0"/>
                <a:cs typeface="Arial" panose="020B0604020202020204" pitchFamily="34" charset="0"/>
              </a:rPr>
              <a:t>1</a:t>
            </a:r>
            <a:r>
              <a:rPr lang="el-GR" sz="2400" b="1" dirty="0">
                <a:solidFill>
                  <a:srgbClr val="F4B183"/>
                </a:solidFill>
                <a:latin typeface="Arial" panose="020B0604020202020204" pitchFamily="34" charset="0"/>
                <a:cs typeface="Arial" panose="020B0604020202020204" pitchFamily="34" charset="0"/>
              </a:rPr>
              <a:t>8 </a:t>
            </a:r>
            <a:endParaRPr lang="el-GR" sz="2400" dirty="0">
              <a:solidFill>
                <a:srgbClr val="F4B183"/>
              </a:solidFill>
            </a:endParaRPr>
          </a:p>
        </p:txBody>
      </p:sp>
      <p:sp>
        <p:nvSpPr>
          <p:cNvPr id="74" name="Title 1">
            <a:extLst>
              <a:ext uri="{FF2B5EF4-FFF2-40B4-BE49-F238E27FC236}">
                <a16:creationId xmlns:a16="http://schemas.microsoft.com/office/drawing/2014/main" id="{43D1529E-2718-E672-D1B5-1416AE3C03A1}"/>
              </a:ext>
            </a:extLst>
          </p:cNvPr>
          <p:cNvSpPr txBox="1">
            <a:spLocks/>
          </p:cNvSpPr>
          <p:nvPr/>
        </p:nvSpPr>
        <p:spPr>
          <a:xfrm>
            <a:off x="25400" y="42865"/>
            <a:ext cx="11992704" cy="660793"/>
          </a:xfrm>
          <a:prstGeom prst="rect">
            <a:avLst/>
          </a:prstGeom>
        </p:spPr>
        <p:txBody>
          <a:bodyPr vert="horz">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dirty="0">
                <a:solidFill>
                  <a:srgbClr val="085195"/>
                </a:solidFill>
                <a:latin typeface="+mn-lt"/>
                <a:ea typeface="Urbanist" panose="020B0604020202020204" charset="0"/>
                <a:cs typeface="Urbanist" panose="020B0604020202020204" charset="0"/>
              </a:rPr>
              <a:t>Δράσεις Επιχειρηματικότητας στην Δυτική Μακεδονία</a:t>
            </a:r>
          </a:p>
        </p:txBody>
      </p:sp>
      <p:cxnSp>
        <p:nvCxnSpPr>
          <p:cNvPr id="75" name="Ευθεία γραμμή σύνδεσης 74">
            <a:extLst>
              <a:ext uri="{FF2B5EF4-FFF2-40B4-BE49-F238E27FC236}">
                <a16:creationId xmlns:a16="http://schemas.microsoft.com/office/drawing/2014/main" id="{0FD93CB1-946D-44E9-80E7-12967CFF20CA}"/>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76" name="Ομάδα 75">
            <a:extLst>
              <a:ext uri="{FF2B5EF4-FFF2-40B4-BE49-F238E27FC236}">
                <a16:creationId xmlns:a16="http://schemas.microsoft.com/office/drawing/2014/main" id="{9F6CEFAC-C0CF-4EFA-9B96-8E2E95AD79E3}"/>
              </a:ext>
            </a:extLst>
          </p:cNvPr>
          <p:cNvGrpSpPr/>
          <p:nvPr/>
        </p:nvGrpSpPr>
        <p:grpSpPr>
          <a:xfrm>
            <a:off x="9142669" y="114941"/>
            <a:ext cx="3049332" cy="667839"/>
            <a:chOff x="6857001" y="38580"/>
            <a:chExt cx="2286999" cy="500879"/>
          </a:xfrm>
        </p:grpSpPr>
        <p:sp>
          <p:nvSpPr>
            <p:cNvPr id="77" name="Google Shape;95;p11">
              <a:extLst>
                <a:ext uri="{FF2B5EF4-FFF2-40B4-BE49-F238E27FC236}">
                  <a16:creationId xmlns:a16="http://schemas.microsoft.com/office/drawing/2014/main" id="{1338C048-8E12-46A4-A076-795B4CA47F3F}"/>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78" name="Picture 2" descr="Εικόνα που μεταφορτώθηκε">
              <a:extLst>
                <a:ext uri="{FF2B5EF4-FFF2-40B4-BE49-F238E27FC236}">
                  <a16:creationId xmlns:a16="http://schemas.microsoft.com/office/drawing/2014/main" id="{31DDBF13-8C66-4E7F-9761-2A8B4C23CEC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Εικόνα 18"/>
          <p:cNvPicPr>
            <a:picLocks noChangeAspect="1"/>
          </p:cNvPicPr>
          <p:nvPr/>
        </p:nvPicPr>
        <p:blipFill>
          <a:blip r:embed="rId7"/>
          <a:stretch>
            <a:fillRect/>
          </a:stretch>
        </p:blipFill>
        <p:spPr>
          <a:xfrm>
            <a:off x="7033189" y="1009720"/>
            <a:ext cx="4913553" cy="4088813"/>
          </a:xfrm>
          <a:prstGeom prst="rect">
            <a:avLst/>
          </a:prstGeom>
        </p:spPr>
      </p:pic>
    </p:spTree>
    <p:extLst>
      <p:ext uri="{BB962C8B-B14F-4D97-AF65-F5344CB8AC3E}">
        <p14:creationId xmlns:p14="http://schemas.microsoft.com/office/powerpoint/2010/main" val="2004633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29C5E-2858-8A78-96E2-BAED4F57F4DE}"/>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5A911901-3CA0-7714-C018-682C71AD8D0D}"/>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52" name="think-cell Slide" r:id="rId4" imgW="350" imgH="350" progId="TCLayout.ActiveDocument.1">
                  <p:embed/>
                </p:oleObj>
              </mc:Choice>
              <mc:Fallback>
                <p:oleObj name="think-cell Slide" r:id="rId4" imgW="350" imgH="350" progId="TCLayout.ActiveDocument.1">
                  <p:embed/>
                  <p:pic>
                    <p:nvPicPr>
                      <p:cNvPr id="20" name="think-cell data - do not delete" hidden="1">
                        <a:extLst>
                          <a:ext uri="{FF2B5EF4-FFF2-40B4-BE49-F238E27FC236}">
                            <a16:creationId xmlns:a16="http://schemas.microsoft.com/office/drawing/2014/main" id="{5A911901-3CA0-7714-C018-682C71AD8D0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C6681AF5-EA59-197B-3876-3CF85FE7B727}"/>
              </a:ext>
            </a:extLst>
          </p:cNvPr>
          <p:cNvSpPr txBox="1"/>
          <p:nvPr/>
        </p:nvSpPr>
        <p:spPr>
          <a:xfrm>
            <a:off x="3378264" y="5408543"/>
            <a:ext cx="2974477" cy="502573"/>
          </a:xfrm>
          <a:prstGeom prst="rect">
            <a:avLst/>
          </a:prstGeom>
          <a:noFill/>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ct val="100000"/>
              </a:lnSpc>
            </a:pPr>
            <a:endParaRPr lang="el-GR" sz="1333">
              <a:latin typeface="Arial" panose="020B0604020202020204" pitchFamily="34" charset="0"/>
              <a:cs typeface="Arial" panose="020B0604020202020204" pitchFamily="34" charset="0"/>
            </a:endParaRPr>
          </a:p>
          <a:p>
            <a:endParaRPr lang="el-GR" sz="1333" b="1">
              <a:solidFill>
                <a:schemeClr val="accent6">
                  <a:lumMod val="75000"/>
                </a:schemeClr>
              </a:solidFill>
              <a:latin typeface="Trebuchet MS" panose="020B0603020202020204" pitchFamily="34" charset="0"/>
            </a:endParaRPr>
          </a:p>
        </p:txBody>
      </p:sp>
      <p:pic>
        <p:nvPicPr>
          <p:cNvPr id="48" name="Graphic 4" descr="Coins outline">
            <a:extLst>
              <a:ext uri="{FF2B5EF4-FFF2-40B4-BE49-F238E27FC236}">
                <a16:creationId xmlns:a16="http://schemas.microsoft.com/office/drawing/2014/main" id="{B935514B-1DAC-7B41-5825-674AD1C940F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43241" y="2592529"/>
            <a:ext cx="743291" cy="555851"/>
          </a:xfrm>
          <a:prstGeom prst="rect">
            <a:avLst/>
          </a:prstGeom>
        </p:spPr>
      </p:pic>
      <p:sp>
        <p:nvSpPr>
          <p:cNvPr id="2"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8471951" cy="795145"/>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Arial" panose="020B0604020202020204" pitchFamily="34" charset="0"/>
                <a:ea typeface="Urbanist" panose="020B0604020202020204" charset="0"/>
                <a:cs typeface="Arial" panose="020B0604020202020204" pitchFamily="34" charset="0"/>
              </a:rPr>
              <a:t>Ταμείο Χαρτοφυλακίου </a:t>
            </a:r>
            <a:r>
              <a:rPr lang="el-GR" sz="2400" b="0" dirty="0" smtClean="0">
                <a:solidFill>
                  <a:srgbClr val="085195"/>
                </a:solidFill>
                <a:latin typeface="Arial" panose="020B0604020202020204" pitchFamily="34" charset="0"/>
                <a:ea typeface="Urbanist" panose="020B0604020202020204" charset="0"/>
                <a:cs typeface="Arial" panose="020B0604020202020204" pitchFamily="34" charset="0"/>
              </a:rPr>
              <a:t>ΔΑΜ</a:t>
            </a:r>
            <a:r>
              <a:rPr lang="en-US" sz="2400" b="0" dirty="0" smtClean="0">
                <a:solidFill>
                  <a:srgbClr val="085195"/>
                </a:solidFill>
                <a:latin typeface="Arial" panose="020B0604020202020204" pitchFamily="34" charset="0"/>
                <a:ea typeface="Urbanist" panose="020B0604020202020204" charset="0"/>
                <a:cs typeface="Arial" panose="020B0604020202020204" pitchFamily="34" charset="0"/>
              </a:rPr>
              <a:t> </a:t>
            </a:r>
            <a:r>
              <a:rPr lang="el-GR" sz="2400" b="0" dirty="0" smtClean="0">
                <a:solidFill>
                  <a:srgbClr val="085195"/>
                </a:solidFill>
                <a:latin typeface="Arial" panose="020B0604020202020204" pitchFamily="34" charset="0"/>
                <a:ea typeface="Urbanist" panose="020B0604020202020204" charset="0"/>
                <a:cs typeface="Arial" panose="020B0604020202020204" pitchFamily="34" charset="0"/>
              </a:rPr>
              <a:t>στην Δυτική Μακεδονία</a:t>
            </a:r>
            <a:endParaRPr lang="el-GR" sz="2400" b="0" dirty="0">
              <a:solidFill>
                <a:srgbClr val="085195"/>
              </a:solidFill>
              <a:latin typeface="Arial" panose="020B0604020202020204" pitchFamily="34" charset="0"/>
              <a:ea typeface="Urbanist" panose="020B0604020202020204" charset="0"/>
              <a:cs typeface="Arial" panose="020B0604020202020204" pitchFamily="34" charset="0"/>
            </a:endParaRPr>
          </a:p>
        </p:txBody>
      </p:sp>
      <p:graphicFrame>
        <p:nvGraphicFramePr>
          <p:cNvPr id="72" name="Table 71">
            <a:extLst>
              <a:ext uri="{FF2B5EF4-FFF2-40B4-BE49-F238E27FC236}">
                <a16:creationId xmlns:a16="http://schemas.microsoft.com/office/drawing/2014/main" id="{47778515-31B9-9366-7B69-C253B1D3E0AE}"/>
              </a:ext>
            </a:extLst>
          </p:cNvPr>
          <p:cNvGraphicFramePr>
            <a:graphicFrameLocks noGrp="1"/>
          </p:cNvGraphicFramePr>
          <p:nvPr>
            <p:extLst>
              <p:ext uri="{D42A27DB-BD31-4B8C-83A1-F6EECF244321}">
                <p14:modId xmlns:p14="http://schemas.microsoft.com/office/powerpoint/2010/main" val="4039549041"/>
              </p:ext>
            </p:extLst>
          </p:nvPr>
        </p:nvGraphicFramePr>
        <p:xfrm>
          <a:off x="733089" y="4664139"/>
          <a:ext cx="5168687" cy="1762314"/>
        </p:xfrm>
        <a:graphic>
          <a:graphicData uri="http://schemas.openxmlformats.org/drawingml/2006/table">
            <a:tbl>
              <a:tblPr firstRow="1" bandRow="1">
                <a:tableStyleId>{85BE263C-DBD7-4A20-BB59-AAB30ACAA65A}</a:tableStyleId>
              </a:tblPr>
              <a:tblGrid>
                <a:gridCol w="1310063">
                  <a:extLst>
                    <a:ext uri="{9D8B030D-6E8A-4147-A177-3AD203B41FA5}">
                      <a16:colId xmlns:a16="http://schemas.microsoft.com/office/drawing/2014/main" val="2553689569"/>
                    </a:ext>
                  </a:extLst>
                </a:gridCol>
                <a:gridCol w="1135823">
                  <a:extLst>
                    <a:ext uri="{9D8B030D-6E8A-4147-A177-3AD203B41FA5}">
                      <a16:colId xmlns:a16="http://schemas.microsoft.com/office/drawing/2014/main" val="4262157633"/>
                    </a:ext>
                  </a:extLst>
                </a:gridCol>
                <a:gridCol w="1193481">
                  <a:extLst>
                    <a:ext uri="{9D8B030D-6E8A-4147-A177-3AD203B41FA5}">
                      <a16:colId xmlns:a16="http://schemas.microsoft.com/office/drawing/2014/main" val="3286230142"/>
                    </a:ext>
                  </a:extLst>
                </a:gridCol>
                <a:gridCol w="1529320">
                  <a:extLst>
                    <a:ext uri="{9D8B030D-6E8A-4147-A177-3AD203B41FA5}">
                      <a16:colId xmlns:a16="http://schemas.microsoft.com/office/drawing/2014/main" val="1271727725"/>
                    </a:ext>
                  </a:extLst>
                </a:gridCol>
              </a:tblGrid>
              <a:tr h="457200">
                <a:tc>
                  <a:txBody>
                    <a:bodyPr/>
                    <a:lstStyle/>
                    <a:p>
                      <a:pPr algn="ctr"/>
                      <a:r>
                        <a:rPr lang="el-GR" sz="1200" b="1" i="0" u="none" strike="noStrike" cap="none" dirty="0">
                          <a:solidFill>
                            <a:schemeClr val="lt1"/>
                          </a:solidFill>
                          <a:latin typeface="Arial" panose="020B0604020202020204" pitchFamily="34" charset="0"/>
                          <a:ea typeface="+mn-ea"/>
                          <a:cs typeface="Arial" panose="020B0604020202020204" pitchFamily="34" charset="0"/>
                          <a:sym typeface="Arial"/>
                        </a:rPr>
                        <a:t>Υλοποίηση:</a:t>
                      </a:r>
                    </a:p>
                  </a:txBody>
                  <a:tcPr anchor="ctr">
                    <a:solidFill>
                      <a:srgbClr val="369089"/>
                    </a:solidFill>
                  </a:tcPr>
                </a:tc>
                <a:tc>
                  <a:txBody>
                    <a:bodyPr/>
                    <a:lstStyle/>
                    <a:p>
                      <a:pPr algn="ctr"/>
                      <a:r>
                        <a:rPr lang="el-GR" sz="1200" dirty="0" smtClean="0">
                          <a:solidFill>
                            <a:srgbClr val="FF9900"/>
                          </a:solidFill>
                          <a:latin typeface="Arial" panose="020B0604020202020204" pitchFamily="34" charset="0"/>
                          <a:cs typeface="Arial" panose="020B0604020202020204" pitchFamily="34" charset="0"/>
                        </a:rPr>
                        <a:t>190 </a:t>
                      </a:r>
                      <a:r>
                        <a:rPr lang="el-GR" sz="1200" dirty="0">
                          <a:latin typeface="Arial" panose="020B0604020202020204" pitchFamily="34" charset="0"/>
                          <a:cs typeface="Arial" panose="020B0604020202020204" pitchFamily="34" charset="0"/>
                        </a:rPr>
                        <a:t>Εγκρίσεις</a:t>
                      </a:r>
                      <a:endParaRPr lang="el-GR" sz="1200" b="0" dirty="0">
                        <a:solidFill>
                          <a:srgbClr val="0F4E8C"/>
                        </a:solidFill>
                        <a:latin typeface="Arial" panose="020B0604020202020204" pitchFamily="34" charset="0"/>
                        <a:ea typeface="Urbanist" panose="020B0604020202020204" charset="0"/>
                        <a:cs typeface="Arial" panose="020B0604020202020204" pitchFamily="34" charset="0"/>
                      </a:endParaRPr>
                    </a:p>
                  </a:txBody>
                  <a:tcPr marL="68580" marR="68580" marT="34290" marB="34290" anchor="ctr">
                    <a:solidFill>
                      <a:srgbClr val="369089"/>
                    </a:solidFill>
                  </a:tcPr>
                </a:tc>
                <a:tc>
                  <a:txBody>
                    <a:bodyPr/>
                    <a:lstStyle/>
                    <a:p>
                      <a:pPr algn="ctr"/>
                      <a:r>
                        <a:rPr lang="el-GR" sz="1200" dirty="0" smtClean="0">
                          <a:solidFill>
                            <a:srgbClr val="FF9900"/>
                          </a:solidFill>
                          <a:latin typeface="Arial" panose="020B0604020202020204" pitchFamily="34" charset="0"/>
                          <a:cs typeface="Arial" panose="020B0604020202020204" pitchFamily="34" charset="0"/>
                        </a:rPr>
                        <a:t>160 </a:t>
                      </a:r>
                      <a:r>
                        <a:rPr lang="el-GR" sz="1200" dirty="0">
                          <a:latin typeface="Arial" panose="020B0604020202020204" pitchFamily="34" charset="0"/>
                          <a:cs typeface="Arial" panose="020B0604020202020204" pitchFamily="34" charset="0"/>
                        </a:rPr>
                        <a:t>Συμβάσεις </a:t>
                      </a:r>
                      <a:endParaRPr lang="el-GR" sz="1200" b="0" dirty="0">
                        <a:solidFill>
                          <a:srgbClr val="00B050"/>
                        </a:solidFill>
                        <a:latin typeface="Arial" panose="020B0604020202020204" pitchFamily="34" charset="0"/>
                        <a:ea typeface="Urbanist" panose="020B0604020202020204" charset="0"/>
                        <a:cs typeface="Arial" panose="020B0604020202020204" pitchFamily="34" charset="0"/>
                      </a:endParaRPr>
                    </a:p>
                  </a:txBody>
                  <a:tcPr marL="68580" marR="68580" marT="34290" marB="34290" anchor="ctr">
                    <a:solidFill>
                      <a:srgbClr val="369089"/>
                    </a:solidFill>
                  </a:tcPr>
                </a:tc>
                <a:tc>
                  <a:txBody>
                    <a:bodyPr/>
                    <a:lstStyle/>
                    <a:p>
                      <a:pPr algn="ctr"/>
                      <a:r>
                        <a:rPr lang="el-GR" sz="1200" kern="1200" dirty="0" smtClean="0">
                          <a:solidFill>
                            <a:srgbClr val="FF9900"/>
                          </a:solidFill>
                          <a:latin typeface="Arial" panose="020B0604020202020204" pitchFamily="34" charset="0"/>
                          <a:cs typeface="Arial" panose="020B0604020202020204" pitchFamily="34" charset="0"/>
                        </a:rPr>
                        <a:t>130</a:t>
                      </a:r>
                      <a:endParaRPr lang="el-GR" sz="1200" kern="0" dirty="0">
                        <a:solidFill>
                          <a:srgbClr val="FF9900"/>
                        </a:solidFill>
                        <a:latin typeface="Arial" panose="020B0604020202020204" pitchFamily="34" charset="0"/>
                        <a:cs typeface="Arial" panose="020B0604020202020204" pitchFamily="34" charset="0"/>
                      </a:endParaRPr>
                    </a:p>
                    <a:p>
                      <a:pPr algn="ctr"/>
                      <a:r>
                        <a:rPr lang="el-GR" sz="1200" dirty="0">
                          <a:latin typeface="Arial" panose="020B0604020202020204" pitchFamily="34" charset="0"/>
                          <a:cs typeface="Arial" panose="020B0604020202020204" pitchFamily="34" charset="0"/>
                        </a:rPr>
                        <a:t>Εκταμιεύσεις</a:t>
                      </a:r>
                      <a:endParaRPr lang="el-GR" sz="1200" b="0" dirty="0">
                        <a:solidFill>
                          <a:srgbClr val="0F4E8C"/>
                        </a:solidFill>
                        <a:latin typeface="Arial" panose="020B0604020202020204" pitchFamily="34" charset="0"/>
                        <a:ea typeface="Urbanist" panose="020B0604020202020204" charset="0"/>
                        <a:cs typeface="Arial" panose="020B0604020202020204" pitchFamily="34" charset="0"/>
                      </a:endParaRPr>
                    </a:p>
                  </a:txBody>
                  <a:tcPr marL="68580" marR="68580" marT="34290" marB="34290" anchor="ctr">
                    <a:solidFill>
                      <a:srgbClr val="369089"/>
                    </a:solidFill>
                  </a:tcPr>
                </a:tc>
                <a:extLst>
                  <a:ext uri="{0D108BD9-81ED-4DB2-BD59-A6C34878D82A}">
                    <a16:rowId xmlns:a16="http://schemas.microsoft.com/office/drawing/2014/main" val="2621305253"/>
                  </a:ext>
                </a:extLst>
              </a:tr>
              <a:tr h="334296">
                <a:tc>
                  <a:txBody>
                    <a:bodyPr/>
                    <a:lstStyle/>
                    <a:p>
                      <a:pPr algn="ctr"/>
                      <a:r>
                        <a:rPr lang="el-GR" sz="1200" kern="1200" dirty="0">
                          <a:latin typeface="Arial" panose="020B0604020202020204" pitchFamily="34" charset="0"/>
                          <a:cs typeface="Arial" panose="020B0604020202020204" pitchFamily="34" charset="0"/>
                        </a:rPr>
                        <a:t>Συνολικός Π/Υ</a:t>
                      </a:r>
                      <a:endParaRPr lang="el-GR" sz="1200" kern="1200" dirty="0">
                        <a:solidFill>
                          <a:srgbClr val="286098"/>
                        </a:solidFill>
                        <a:latin typeface="Arial" panose="020B0604020202020204" pitchFamily="34" charset="0"/>
                        <a:ea typeface="Urbanist" panose="020B0604020202020204" charset="0"/>
                        <a:cs typeface="Arial" panose="020B0604020202020204" pitchFamily="34" charset="0"/>
                      </a:endParaRPr>
                    </a:p>
                  </a:txBody>
                  <a:tcPr anchor="ctr">
                    <a:noFill/>
                  </a:tcPr>
                </a:tc>
                <a:tc>
                  <a:txBody>
                    <a:bodyPr/>
                    <a:lstStyle/>
                    <a:p>
                      <a:pPr marR="0" algn="ctr" rtl="0">
                        <a:lnSpc>
                          <a:spcPct val="100000"/>
                        </a:lnSpc>
                        <a:spcBef>
                          <a:spcPts val="0"/>
                        </a:spcBef>
                        <a:spcAft>
                          <a:spcPts val="0"/>
                        </a:spcAft>
                        <a:buClr>
                          <a:srgbClr val="000000"/>
                        </a:buClr>
                        <a:buFont typeface="Arial"/>
                      </a:pPr>
                      <a:r>
                        <a:rPr lang="el-GR" sz="1200" b="1" i="0" u="none" strike="noStrike" cap="none" dirty="0" smtClean="0">
                          <a:solidFill>
                            <a:srgbClr val="286098"/>
                          </a:solidFill>
                          <a:latin typeface="Arial" panose="020B0604020202020204" pitchFamily="34" charset="0"/>
                          <a:ea typeface="Urbanist" panose="020B0604020202020204" charset="0"/>
                          <a:cs typeface="Arial" panose="020B0604020202020204" pitchFamily="34" charset="0"/>
                          <a:sym typeface="Arial"/>
                        </a:rPr>
                        <a:t>32,1 </a:t>
                      </a:r>
                      <a:r>
                        <a:rPr lang="el-GR" sz="1200" b="1" i="0" u="none" strike="noStrike" cap="none" dirty="0">
                          <a:solidFill>
                            <a:srgbClr val="286098"/>
                          </a:solidFill>
                          <a:latin typeface="Arial" panose="020B0604020202020204" pitchFamily="34" charset="0"/>
                          <a:ea typeface="Urbanist" panose="020B0604020202020204" charset="0"/>
                          <a:cs typeface="Arial" panose="020B0604020202020204" pitchFamily="34" charset="0"/>
                          <a:sym typeface="Arial"/>
                        </a:rPr>
                        <a:t>εκ. €</a:t>
                      </a:r>
                    </a:p>
                  </a:txBody>
                  <a:tcPr marL="68580" marR="68580" marT="34290" marB="34290" anchor="ctr">
                    <a:noFill/>
                  </a:tcP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28,6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εκ. €</a:t>
                      </a:r>
                    </a:p>
                  </a:txBody>
                  <a:tcPr marL="68580" marR="68580" marT="34290" marB="34290" anchor="ctr">
                    <a:noFill/>
                  </a:tcP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15,6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εκ. €</a:t>
                      </a:r>
                    </a:p>
                  </a:txBody>
                  <a:tcPr marL="68580" marR="68580" marT="34290" marB="34290" anchor="ctr">
                    <a:noFill/>
                  </a:tcPr>
                </a:tc>
                <a:extLst>
                  <a:ext uri="{0D108BD9-81ED-4DB2-BD59-A6C34878D82A}">
                    <a16:rowId xmlns:a16="http://schemas.microsoft.com/office/drawing/2014/main" val="2551371102"/>
                  </a:ext>
                </a:extLst>
              </a:tr>
              <a:tr h="485409">
                <a:tc>
                  <a:txBody>
                    <a:bodyPr/>
                    <a:lstStyle/>
                    <a:p>
                      <a:pPr algn="ctr"/>
                      <a:r>
                        <a:rPr lang="el-GR" sz="1200" kern="1200" dirty="0">
                          <a:latin typeface="Arial" panose="020B0604020202020204" pitchFamily="34" charset="0"/>
                          <a:cs typeface="Arial" panose="020B0604020202020204" pitchFamily="34" charset="0"/>
                        </a:rPr>
                        <a:t>Π/Υ Ταμείου (50%)</a:t>
                      </a:r>
                      <a:endParaRPr lang="el-GR" sz="1200" kern="1200" dirty="0">
                        <a:solidFill>
                          <a:srgbClr val="286098"/>
                        </a:solidFill>
                        <a:latin typeface="Arial" panose="020B0604020202020204" pitchFamily="34" charset="0"/>
                        <a:ea typeface="Urbanist" panose="020B0604020202020204" charset="0"/>
                        <a:cs typeface="Arial" panose="020B0604020202020204" pitchFamily="34" charset="0"/>
                      </a:endParaRPr>
                    </a:p>
                  </a:txBody>
                  <a:tcPr anchor="ct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16,0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εκ. €</a:t>
                      </a:r>
                    </a:p>
                  </a:txBody>
                  <a:tcPr marL="68580" marR="68580" marT="34290" marB="34290" anchor="ct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14,3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εκ. €</a:t>
                      </a:r>
                    </a:p>
                  </a:txBody>
                  <a:tcPr marL="68580" marR="68580" marT="34290" marB="34290" anchor="ct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7,8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εκ. €</a:t>
                      </a:r>
                    </a:p>
                  </a:txBody>
                  <a:tcPr marL="68580" marR="68580" marT="34290" marB="34290" anchor="ctr"/>
                </a:tc>
                <a:extLst>
                  <a:ext uri="{0D108BD9-81ED-4DB2-BD59-A6C34878D82A}">
                    <a16:rowId xmlns:a16="http://schemas.microsoft.com/office/drawing/2014/main" val="4103997727"/>
                  </a:ext>
                </a:extLst>
              </a:tr>
              <a:tr h="485409">
                <a:tc>
                  <a:txBody>
                    <a:bodyPr/>
                    <a:lstStyle/>
                    <a:p>
                      <a:pPr algn="ctr"/>
                      <a:r>
                        <a:rPr lang="el-GR" sz="1200" kern="1200" dirty="0">
                          <a:latin typeface="Arial" panose="020B0604020202020204" pitchFamily="34" charset="0"/>
                          <a:cs typeface="Arial" panose="020B0604020202020204" pitchFamily="34" charset="0"/>
                        </a:rPr>
                        <a:t>Π/Υ </a:t>
                      </a:r>
                      <a:r>
                        <a:rPr lang="el-GR" sz="1200" kern="1200" dirty="0" err="1">
                          <a:latin typeface="Arial" panose="020B0604020202020204" pitchFamily="34" charset="0"/>
                          <a:cs typeface="Arial" panose="020B0604020202020204" pitchFamily="34" charset="0"/>
                        </a:rPr>
                        <a:t>Επιδ</a:t>
                      </a:r>
                      <a:r>
                        <a:rPr lang="el-GR" sz="1200" kern="1200" dirty="0">
                          <a:latin typeface="Arial" panose="020B0604020202020204" pitchFamily="34" charset="0"/>
                          <a:cs typeface="Arial" panose="020B0604020202020204" pitchFamily="34" charset="0"/>
                        </a:rPr>
                        <a:t>. Τόκων</a:t>
                      </a:r>
                      <a:endParaRPr lang="el-GR" sz="1200" kern="1200" dirty="0">
                        <a:solidFill>
                          <a:srgbClr val="286098"/>
                        </a:solidFill>
                        <a:latin typeface="Arial" panose="020B0604020202020204" pitchFamily="34" charset="0"/>
                        <a:ea typeface="Urbanist" panose="020B0604020202020204" charset="0"/>
                        <a:cs typeface="Arial" panose="020B0604020202020204" pitchFamily="34" charset="0"/>
                      </a:endParaRPr>
                    </a:p>
                  </a:txBody>
                  <a:tcPr anchor="ctr">
                    <a:noFill/>
                  </a:tcP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1,2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εκ. €</a:t>
                      </a:r>
                    </a:p>
                  </a:txBody>
                  <a:tcPr marL="68580" marR="68580" marT="34290" marB="34290" anchor="ctr">
                    <a:noFill/>
                  </a:tcP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1,0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εκ. €</a:t>
                      </a:r>
                    </a:p>
                  </a:txBody>
                  <a:tcPr marL="68580" marR="68580" marT="34290" marB="34290" anchor="ctr">
                    <a:noFill/>
                  </a:tcPr>
                </a:tc>
                <a:tc>
                  <a:txBody>
                    <a:bodyPr/>
                    <a:lstStyle/>
                    <a:p>
                      <a:pPr algn="ctr"/>
                      <a:endParaRPr lang="el-GR" sz="1200" b="1" dirty="0">
                        <a:solidFill>
                          <a:srgbClr val="286098"/>
                        </a:solidFill>
                        <a:latin typeface="Arial" panose="020B0604020202020204" pitchFamily="34" charset="0"/>
                        <a:ea typeface="Urbanist" panose="020B0604020202020204" charset="0"/>
                        <a:cs typeface="Arial" panose="020B0604020202020204" pitchFamily="34" charset="0"/>
                      </a:endParaRPr>
                    </a:p>
                  </a:txBody>
                  <a:tcPr marL="68580" marR="68580" marT="34290" marB="34290" anchor="ctr">
                    <a:noFill/>
                  </a:tcPr>
                </a:tc>
                <a:extLst>
                  <a:ext uri="{0D108BD9-81ED-4DB2-BD59-A6C34878D82A}">
                    <a16:rowId xmlns:a16="http://schemas.microsoft.com/office/drawing/2014/main" val="829425361"/>
                  </a:ext>
                </a:extLst>
              </a:tr>
            </a:tbl>
          </a:graphicData>
        </a:graphic>
      </p:graphicFrame>
      <p:sp>
        <p:nvSpPr>
          <p:cNvPr id="28" name="Google Shape;335;p25">
            <a:extLst>
              <a:ext uri="{FF2B5EF4-FFF2-40B4-BE49-F238E27FC236}">
                <a16:creationId xmlns:a16="http://schemas.microsoft.com/office/drawing/2014/main" id="{B829E28A-5404-4991-8B53-92B9AE49CB8F}"/>
              </a:ext>
            </a:extLst>
          </p:cNvPr>
          <p:cNvSpPr/>
          <p:nvPr/>
        </p:nvSpPr>
        <p:spPr>
          <a:xfrm>
            <a:off x="1854012" y="1461909"/>
            <a:ext cx="3097349" cy="841795"/>
          </a:xfrm>
          <a:prstGeom prst="roundRect">
            <a:avLst>
              <a:gd name="adj" fmla="val 17347"/>
            </a:avLst>
          </a:prstGeom>
          <a:solidFill>
            <a:srgbClr val="286098"/>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l-GR" sz="2133" dirty="0">
                <a:solidFill>
                  <a:schemeClr val="bg1"/>
                </a:solidFill>
                <a:latin typeface="Arial" panose="020B0604020202020204" pitchFamily="34" charset="0"/>
                <a:ea typeface="Montserrat SemiBold"/>
                <a:cs typeface="Arial" panose="020B0604020202020204" pitchFamily="34" charset="0"/>
                <a:sym typeface="Montserrat SemiBold"/>
              </a:rPr>
              <a:t>Ταμείο Δανείων</a:t>
            </a:r>
          </a:p>
        </p:txBody>
      </p:sp>
      <p:sp>
        <p:nvSpPr>
          <p:cNvPr id="29" name="Google Shape;337;p25">
            <a:extLst>
              <a:ext uri="{FF2B5EF4-FFF2-40B4-BE49-F238E27FC236}">
                <a16:creationId xmlns:a16="http://schemas.microsoft.com/office/drawing/2014/main" id="{12C2F692-6DDA-4994-80F7-66882AE1ABB8}"/>
              </a:ext>
            </a:extLst>
          </p:cNvPr>
          <p:cNvSpPr/>
          <p:nvPr/>
        </p:nvSpPr>
        <p:spPr>
          <a:xfrm>
            <a:off x="2419828" y="2087725"/>
            <a:ext cx="184400" cy="184400"/>
          </a:xfrm>
          <a:prstGeom prst="ellipse">
            <a:avLst/>
          </a:prstGeom>
          <a:solidFill>
            <a:srgbClr val="FFFFFB"/>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solidFill>
                <a:schemeClr val="dk2"/>
              </a:solidFill>
              <a:latin typeface="Montserrat Medium"/>
              <a:ea typeface="Montserrat Medium"/>
              <a:cs typeface="Montserrat Medium"/>
              <a:sym typeface="Montserrat Medium"/>
            </a:endParaRPr>
          </a:p>
        </p:txBody>
      </p:sp>
      <p:sp>
        <p:nvSpPr>
          <p:cNvPr id="30" name="Google Shape;338;p25">
            <a:extLst>
              <a:ext uri="{FF2B5EF4-FFF2-40B4-BE49-F238E27FC236}">
                <a16:creationId xmlns:a16="http://schemas.microsoft.com/office/drawing/2014/main" id="{A0C6A73C-0FF1-4FF5-ADA1-061067695B02}"/>
              </a:ext>
            </a:extLst>
          </p:cNvPr>
          <p:cNvSpPr/>
          <p:nvPr/>
        </p:nvSpPr>
        <p:spPr>
          <a:xfrm>
            <a:off x="2419828" y="2538335"/>
            <a:ext cx="184400" cy="184400"/>
          </a:xfrm>
          <a:prstGeom prst="ellipse">
            <a:avLst/>
          </a:prstGeom>
          <a:solidFill>
            <a:srgbClr val="FFFFFB"/>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latin typeface="Montserrat Medium"/>
              <a:ea typeface="Montserrat Medium"/>
              <a:cs typeface="Montserrat Medium"/>
              <a:sym typeface="Montserrat Medium"/>
            </a:endParaRPr>
          </a:p>
        </p:txBody>
      </p:sp>
      <p:sp>
        <p:nvSpPr>
          <p:cNvPr id="31" name="Google Shape;339;p25">
            <a:extLst>
              <a:ext uri="{FF2B5EF4-FFF2-40B4-BE49-F238E27FC236}">
                <a16:creationId xmlns:a16="http://schemas.microsoft.com/office/drawing/2014/main" id="{69F235DE-7E8B-47E9-9F06-465EF0BDC704}"/>
              </a:ext>
            </a:extLst>
          </p:cNvPr>
          <p:cNvSpPr/>
          <p:nvPr/>
        </p:nvSpPr>
        <p:spPr>
          <a:xfrm>
            <a:off x="2459628" y="2132479"/>
            <a:ext cx="104800" cy="543600"/>
          </a:xfrm>
          <a:prstGeom prst="roundRect">
            <a:avLst>
              <a:gd name="adj" fmla="val 50000"/>
            </a:avLst>
          </a:prstGeom>
          <a:solidFill>
            <a:srgbClr val="F4B183"/>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solidFill>
                <a:schemeClr val="dk2"/>
              </a:solidFill>
              <a:latin typeface="Montserrat Medium"/>
              <a:ea typeface="Montserrat Medium"/>
              <a:cs typeface="Montserrat Medium"/>
              <a:sym typeface="Montserrat Medium"/>
            </a:endParaRPr>
          </a:p>
        </p:txBody>
      </p:sp>
      <p:sp>
        <p:nvSpPr>
          <p:cNvPr id="32" name="Google Shape;340;p25">
            <a:extLst>
              <a:ext uri="{FF2B5EF4-FFF2-40B4-BE49-F238E27FC236}">
                <a16:creationId xmlns:a16="http://schemas.microsoft.com/office/drawing/2014/main" id="{BC17F02C-5CEC-47ED-A8E7-A2186376C16D}"/>
              </a:ext>
            </a:extLst>
          </p:cNvPr>
          <p:cNvSpPr/>
          <p:nvPr/>
        </p:nvSpPr>
        <p:spPr>
          <a:xfrm>
            <a:off x="3275595" y="2087725"/>
            <a:ext cx="184400" cy="184400"/>
          </a:xfrm>
          <a:prstGeom prst="ellipse">
            <a:avLst/>
          </a:prstGeom>
          <a:solidFill>
            <a:srgbClr val="FFFFFB"/>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solidFill>
                <a:schemeClr val="dk2"/>
              </a:solidFill>
              <a:latin typeface="Montserrat Medium"/>
              <a:ea typeface="Montserrat Medium"/>
              <a:cs typeface="Montserrat Medium"/>
              <a:sym typeface="Montserrat Medium"/>
            </a:endParaRPr>
          </a:p>
        </p:txBody>
      </p:sp>
      <p:sp>
        <p:nvSpPr>
          <p:cNvPr id="33" name="Google Shape;341;p25">
            <a:extLst>
              <a:ext uri="{FF2B5EF4-FFF2-40B4-BE49-F238E27FC236}">
                <a16:creationId xmlns:a16="http://schemas.microsoft.com/office/drawing/2014/main" id="{B6F60444-9CD5-41B9-9D2C-FA4BBC2D71DD}"/>
              </a:ext>
            </a:extLst>
          </p:cNvPr>
          <p:cNvSpPr/>
          <p:nvPr/>
        </p:nvSpPr>
        <p:spPr>
          <a:xfrm>
            <a:off x="3275595" y="2538335"/>
            <a:ext cx="184400" cy="184400"/>
          </a:xfrm>
          <a:prstGeom prst="ellipse">
            <a:avLst/>
          </a:prstGeom>
          <a:solidFill>
            <a:srgbClr val="FFFFFB"/>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latin typeface="Montserrat Medium"/>
              <a:ea typeface="Montserrat Medium"/>
              <a:cs typeface="Montserrat Medium"/>
              <a:sym typeface="Montserrat Medium"/>
            </a:endParaRPr>
          </a:p>
        </p:txBody>
      </p:sp>
      <p:sp>
        <p:nvSpPr>
          <p:cNvPr id="34" name="Google Shape;342;p25">
            <a:extLst>
              <a:ext uri="{FF2B5EF4-FFF2-40B4-BE49-F238E27FC236}">
                <a16:creationId xmlns:a16="http://schemas.microsoft.com/office/drawing/2014/main" id="{712C3AB6-030D-41FF-BC56-A9E3F5E4C464}"/>
              </a:ext>
            </a:extLst>
          </p:cNvPr>
          <p:cNvSpPr/>
          <p:nvPr/>
        </p:nvSpPr>
        <p:spPr>
          <a:xfrm>
            <a:off x="3315395" y="2132479"/>
            <a:ext cx="104800" cy="543600"/>
          </a:xfrm>
          <a:prstGeom prst="roundRect">
            <a:avLst>
              <a:gd name="adj" fmla="val 50000"/>
            </a:avLst>
          </a:prstGeom>
          <a:solidFill>
            <a:srgbClr val="F4B183"/>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solidFill>
                <a:schemeClr val="dk2"/>
              </a:solidFill>
              <a:latin typeface="Montserrat Medium"/>
              <a:ea typeface="Montserrat Medium"/>
              <a:cs typeface="Montserrat Medium"/>
              <a:sym typeface="Montserrat Medium"/>
            </a:endParaRPr>
          </a:p>
        </p:txBody>
      </p:sp>
      <p:sp>
        <p:nvSpPr>
          <p:cNvPr id="35" name="Google Shape;343;p25">
            <a:extLst>
              <a:ext uri="{FF2B5EF4-FFF2-40B4-BE49-F238E27FC236}">
                <a16:creationId xmlns:a16="http://schemas.microsoft.com/office/drawing/2014/main" id="{CDCAA63C-4C02-45FC-B184-F2952B091930}"/>
              </a:ext>
            </a:extLst>
          </p:cNvPr>
          <p:cNvSpPr/>
          <p:nvPr/>
        </p:nvSpPr>
        <p:spPr>
          <a:xfrm>
            <a:off x="4131361" y="2087725"/>
            <a:ext cx="184400" cy="184400"/>
          </a:xfrm>
          <a:prstGeom prst="ellipse">
            <a:avLst/>
          </a:prstGeom>
          <a:solidFill>
            <a:srgbClr val="FFFFFB"/>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solidFill>
                <a:schemeClr val="dk2"/>
              </a:solidFill>
              <a:latin typeface="Montserrat Medium"/>
              <a:ea typeface="Montserrat Medium"/>
              <a:cs typeface="Montserrat Medium"/>
              <a:sym typeface="Montserrat Medium"/>
            </a:endParaRPr>
          </a:p>
        </p:txBody>
      </p:sp>
      <p:sp>
        <p:nvSpPr>
          <p:cNvPr id="36" name="Google Shape;344;p25">
            <a:extLst>
              <a:ext uri="{FF2B5EF4-FFF2-40B4-BE49-F238E27FC236}">
                <a16:creationId xmlns:a16="http://schemas.microsoft.com/office/drawing/2014/main" id="{33C794F9-DF6D-4B91-B120-EEC41585A998}"/>
              </a:ext>
            </a:extLst>
          </p:cNvPr>
          <p:cNvSpPr/>
          <p:nvPr/>
        </p:nvSpPr>
        <p:spPr>
          <a:xfrm>
            <a:off x="4131361" y="2538335"/>
            <a:ext cx="184400" cy="184400"/>
          </a:xfrm>
          <a:prstGeom prst="ellipse">
            <a:avLst/>
          </a:prstGeom>
          <a:solidFill>
            <a:srgbClr val="FFFFFB"/>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latin typeface="Montserrat Medium"/>
              <a:ea typeface="Montserrat Medium"/>
              <a:cs typeface="Montserrat Medium"/>
              <a:sym typeface="Montserrat Medium"/>
            </a:endParaRPr>
          </a:p>
        </p:txBody>
      </p:sp>
      <p:sp>
        <p:nvSpPr>
          <p:cNvPr id="37" name="Google Shape;345;p25">
            <a:extLst>
              <a:ext uri="{FF2B5EF4-FFF2-40B4-BE49-F238E27FC236}">
                <a16:creationId xmlns:a16="http://schemas.microsoft.com/office/drawing/2014/main" id="{CB40AE9C-3E4B-41A2-B9F6-41A0DDA3904B}"/>
              </a:ext>
            </a:extLst>
          </p:cNvPr>
          <p:cNvSpPr/>
          <p:nvPr/>
        </p:nvSpPr>
        <p:spPr>
          <a:xfrm>
            <a:off x="4171161" y="2132479"/>
            <a:ext cx="104800" cy="543600"/>
          </a:xfrm>
          <a:prstGeom prst="roundRect">
            <a:avLst>
              <a:gd name="adj" fmla="val 50000"/>
            </a:avLst>
          </a:prstGeom>
          <a:solidFill>
            <a:srgbClr val="F4B183"/>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solidFill>
                <a:schemeClr val="dk2"/>
              </a:solidFill>
              <a:latin typeface="Montserrat Medium"/>
              <a:ea typeface="Montserrat Medium"/>
              <a:cs typeface="Montserrat Medium"/>
              <a:sym typeface="Montserrat Medium"/>
            </a:endParaRPr>
          </a:p>
        </p:txBody>
      </p:sp>
      <p:sp>
        <p:nvSpPr>
          <p:cNvPr id="39" name="Google Shape;335;p25">
            <a:extLst>
              <a:ext uri="{FF2B5EF4-FFF2-40B4-BE49-F238E27FC236}">
                <a16:creationId xmlns:a16="http://schemas.microsoft.com/office/drawing/2014/main" id="{D4AF4E98-1B42-4A2F-A7D4-8DD3B3FF02D5}"/>
              </a:ext>
            </a:extLst>
          </p:cNvPr>
          <p:cNvSpPr/>
          <p:nvPr/>
        </p:nvSpPr>
        <p:spPr>
          <a:xfrm>
            <a:off x="6896794" y="1480647"/>
            <a:ext cx="3097349" cy="841796"/>
          </a:xfrm>
          <a:prstGeom prst="roundRect">
            <a:avLst>
              <a:gd name="adj" fmla="val 17347"/>
            </a:avLst>
          </a:prstGeom>
          <a:solidFill>
            <a:srgbClr val="286098"/>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l-GR" sz="2133" dirty="0">
                <a:solidFill>
                  <a:schemeClr val="bg1"/>
                </a:solidFill>
                <a:latin typeface="Arial" panose="020B0604020202020204" pitchFamily="34" charset="0"/>
                <a:ea typeface="Montserrat SemiBold"/>
                <a:cs typeface="Arial" panose="020B0604020202020204" pitchFamily="34" charset="0"/>
                <a:sym typeface="Montserrat SemiBold"/>
              </a:rPr>
              <a:t>Ταμείο Εγγυήσεων</a:t>
            </a:r>
          </a:p>
        </p:txBody>
      </p:sp>
      <p:sp>
        <p:nvSpPr>
          <p:cNvPr id="40" name="Google Shape;337;p25">
            <a:extLst>
              <a:ext uri="{FF2B5EF4-FFF2-40B4-BE49-F238E27FC236}">
                <a16:creationId xmlns:a16="http://schemas.microsoft.com/office/drawing/2014/main" id="{ACA16602-B44E-4741-8C8F-44100D74CC4B}"/>
              </a:ext>
            </a:extLst>
          </p:cNvPr>
          <p:cNvSpPr/>
          <p:nvPr/>
        </p:nvSpPr>
        <p:spPr>
          <a:xfrm>
            <a:off x="7480279" y="2106465"/>
            <a:ext cx="184400" cy="184400"/>
          </a:xfrm>
          <a:prstGeom prst="ellipse">
            <a:avLst/>
          </a:prstGeom>
          <a:solidFill>
            <a:srgbClr val="FFFFFB"/>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solidFill>
                <a:schemeClr val="dk2"/>
              </a:solidFill>
              <a:latin typeface="Montserrat Medium"/>
              <a:ea typeface="Montserrat Medium"/>
              <a:cs typeface="Montserrat Medium"/>
              <a:sym typeface="Montserrat Medium"/>
            </a:endParaRPr>
          </a:p>
        </p:txBody>
      </p:sp>
      <p:sp>
        <p:nvSpPr>
          <p:cNvPr id="41" name="Google Shape;338;p25">
            <a:extLst>
              <a:ext uri="{FF2B5EF4-FFF2-40B4-BE49-F238E27FC236}">
                <a16:creationId xmlns:a16="http://schemas.microsoft.com/office/drawing/2014/main" id="{1D5DCA18-5405-4102-BA0B-096AD18E296F}"/>
              </a:ext>
            </a:extLst>
          </p:cNvPr>
          <p:cNvSpPr/>
          <p:nvPr/>
        </p:nvSpPr>
        <p:spPr>
          <a:xfrm>
            <a:off x="7480279" y="2557075"/>
            <a:ext cx="184400" cy="184400"/>
          </a:xfrm>
          <a:prstGeom prst="ellipse">
            <a:avLst/>
          </a:prstGeom>
          <a:solidFill>
            <a:srgbClr val="FFFFFB"/>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latin typeface="Montserrat Medium"/>
              <a:ea typeface="Montserrat Medium"/>
              <a:cs typeface="Montserrat Medium"/>
              <a:sym typeface="Montserrat Medium"/>
            </a:endParaRPr>
          </a:p>
        </p:txBody>
      </p:sp>
      <p:sp>
        <p:nvSpPr>
          <p:cNvPr id="42" name="Google Shape;339;p25">
            <a:extLst>
              <a:ext uri="{FF2B5EF4-FFF2-40B4-BE49-F238E27FC236}">
                <a16:creationId xmlns:a16="http://schemas.microsoft.com/office/drawing/2014/main" id="{0B2A8343-6989-464E-A42B-BBD82F22ED52}"/>
              </a:ext>
            </a:extLst>
          </p:cNvPr>
          <p:cNvSpPr/>
          <p:nvPr/>
        </p:nvSpPr>
        <p:spPr>
          <a:xfrm>
            <a:off x="7520079" y="2151219"/>
            <a:ext cx="104800" cy="543600"/>
          </a:xfrm>
          <a:prstGeom prst="roundRect">
            <a:avLst>
              <a:gd name="adj" fmla="val 50000"/>
            </a:avLst>
          </a:prstGeom>
          <a:solidFill>
            <a:srgbClr val="F4B183"/>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solidFill>
                <a:schemeClr val="dk2"/>
              </a:solidFill>
              <a:latin typeface="Montserrat Medium"/>
              <a:ea typeface="Montserrat Medium"/>
              <a:cs typeface="Montserrat Medium"/>
              <a:sym typeface="Montserrat Medium"/>
            </a:endParaRPr>
          </a:p>
        </p:txBody>
      </p:sp>
      <p:sp>
        <p:nvSpPr>
          <p:cNvPr id="43" name="Google Shape;340;p25">
            <a:extLst>
              <a:ext uri="{FF2B5EF4-FFF2-40B4-BE49-F238E27FC236}">
                <a16:creationId xmlns:a16="http://schemas.microsoft.com/office/drawing/2014/main" id="{5053B81F-46FF-4AE8-9BC4-4A09C0555702}"/>
              </a:ext>
            </a:extLst>
          </p:cNvPr>
          <p:cNvSpPr/>
          <p:nvPr/>
        </p:nvSpPr>
        <p:spPr>
          <a:xfrm>
            <a:off x="8336045" y="2106465"/>
            <a:ext cx="184400" cy="184400"/>
          </a:xfrm>
          <a:prstGeom prst="ellipse">
            <a:avLst/>
          </a:prstGeom>
          <a:solidFill>
            <a:srgbClr val="FFFFFB"/>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solidFill>
                <a:schemeClr val="dk2"/>
              </a:solidFill>
              <a:latin typeface="Montserrat Medium"/>
              <a:ea typeface="Montserrat Medium"/>
              <a:cs typeface="Montserrat Medium"/>
              <a:sym typeface="Montserrat Medium"/>
            </a:endParaRPr>
          </a:p>
        </p:txBody>
      </p:sp>
      <p:sp>
        <p:nvSpPr>
          <p:cNvPr id="44" name="Google Shape;341;p25">
            <a:extLst>
              <a:ext uri="{FF2B5EF4-FFF2-40B4-BE49-F238E27FC236}">
                <a16:creationId xmlns:a16="http://schemas.microsoft.com/office/drawing/2014/main" id="{6C6E731B-2168-4E8D-9DDB-D72916026521}"/>
              </a:ext>
            </a:extLst>
          </p:cNvPr>
          <p:cNvSpPr/>
          <p:nvPr/>
        </p:nvSpPr>
        <p:spPr>
          <a:xfrm>
            <a:off x="8336045" y="2557075"/>
            <a:ext cx="184400" cy="184400"/>
          </a:xfrm>
          <a:prstGeom prst="ellipse">
            <a:avLst/>
          </a:prstGeom>
          <a:solidFill>
            <a:srgbClr val="FFFFFB"/>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latin typeface="Montserrat Medium"/>
              <a:ea typeface="Montserrat Medium"/>
              <a:cs typeface="Montserrat Medium"/>
              <a:sym typeface="Montserrat Medium"/>
            </a:endParaRPr>
          </a:p>
        </p:txBody>
      </p:sp>
      <p:sp>
        <p:nvSpPr>
          <p:cNvPr id="45" name="Google Shape;342;p25">
            <a:extLst>
              <a:ext uri="{FF2B5EF4-FFF2-40B4-BE49-F238E27FC236}">
                <a16:creationId xmlns:a16="http://schemas.microsoft.com/office/drawing/2014/main" id="{D0608E20-AF2E-4600-9135-2B15BA67EEA3}"/>
              </a:ext>
            </a:extLst>
          </p:cNvPr>
          <p:cNvSpPr/>
          <p:nvPr/>
        </p:nvSpPr>
        <p:spPr>
          <a:xfrm>
            <a:off x="8375845" y="2151219"/>
            <a:ext cx="104800" cy="543600"/>
          </a:xfrm>
          <a:prstGeom prst="roundRect">
            <a:avLst>
              <a:gd name="adj" fmla="val 50000"/>
            </a:avLst>
          </a:prstGeom>
          <a:solidFill>
            <a:srgbClr val="F4B183"/>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solidFill>
                <a:schemeClr val="dk2"/>
              </a:solidFill>
              <a:latin typeface="Montserrat Medium"/>
              <a:ea typeface="Montserrat Medium"/>
              <a:cs typeface="Montserrat Medium"/>
              <a:sym typeface="Montserrat Medium"/>
            </a:endParaRPr>
          </a:p>
        </p:txBody>
      </p:sp>
      <p:sp>
        <p:nvSpPr>
          <p:cNvPr id="46" name="Google Shape;343;p25">
            <a:extLst>
              <a:ext uri="{FF2B5EF4-FFF2-40B4-BE49-F238E27FC236}">
                <a16:creationId xmlns:a16="http://schemas.microsoft.com/office/drawing/2014/main" id="{23478478-DEC7-4ADC-B0DE-050E851651B2}"/>
              </a:ext>
            </a:extLst>
          </p:cNvPr>
          <p:cNvSpPr/>
          <p:nvPr/>
        </p:nvSpPr>
        <p:spPr>
          <a:xfrm>
            <a:off x="9191812" y="2106465"/>
            <a:ext cx="184400" cy="184400"/>
          </a:xfrm>
          <a:prstGeom prst="ellipse">
            <a:avLst/>
          </a:prstGeom>
          <a:solidFill>
            <a:srgbClr val="FFFFFB"/>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solidFill>
                <a:schemeClr val="dk2"/>
              </a:solidFill>
              <a:latin typeface="Montserrat Medium"/>
              <a:ea typeface="Montserrat Medium"/>
              <a:cs typeface="Montserrat Medium"/>
              <a:sym typeface="Montserrat Medium"/>
            </a:endParaRPr>
          </a:p>
        </p:txBody>
      </p:sp>
      <p:sp>
        <p:nvSpPr>
          <p:cNvPr id="47" name="Google Shape;344;p25">
            <a:extLst>
              <a:ext uri="{FF2B5EF4-FFF2-40B4-BE49-F238E27FC236}">
                <a16:creationId xmlns:a16="http://schemas.microsoft.com/office/drawing/2014/main" id="{8F21E9D9-6C3D-4990-BA85-7C91209FCFB9}"/>
              </a:ext>
            </a:extLst>
          </p:cNvPr>
          <p:cNvSpPr/>
          <p:nvPr/>
        </p:nvSpPr>
        <p:spPr>
          <a:xfrm>
            <a:off x="9191812" y="2557075"/>
            <a:ext cx="184400" cy="184400"/>
          </a:xfrm>
          <a:prstGeom prst="ellipse">
            <a:avLst/>
          </a:prstGeom>
          <a:solidFill>
            <a:srgbClr val="FFFFFB"/>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latin typeface="Montserrat Medium"/>
              <a:ea typeface="Montserrat Medium"/>
              <a:cs typeface="Montserrat Medium"/>
              <a:sym typeface="Montserrat Medium"/>
            </a:endParaRPr>
          </a:p>
        </p:txBody>
      </p:sp>
      <p:sp>
        <p:nvSpPr>
          <p:cNvPr id="49" name="Google Shape;345;p25">
            <a:extLst>
              <a:ext uri="{FF2B5EF4-FFF2-40B4-BE49-F238E27FC236}">
                <a16:creationId xmlns:a16="http://schemas.microsoft.com/office/drawing/2014/main" id="{F183EE5C-C581-4937-9660-D9110B0F1C67}"/>
              </a:ext>
            </a:extLst>
          </p:cNvPr>
          <p:cNvSpPr/>
          <p:nvPr/>
        </p:nvSpPr>
        <p:spPr>
          <a:xfrm>
            <a:off x="9231612" y="2151219"/>
            <a:ext cx="104800" cy="543600"/>
          </a:xfrm>
          <a:prstGeom prst="roundRect">
            <a:avLst>
              <a:gd name="adj" fmla="val 50000"/>
            </a:avLst>
          </a:prstGeom>
          <a:solidFill>
            <a:srgbClr val="F4B183"/>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endParaRPr sz="1600">
              <a:solidFill>
                <a:schemeClr val="dk2"/>
              </a:solidFill>
              <a:latin typeface="Montserrat Medium"/>
              <a:ea typeface="Montserrat Medium"/>
              <a:cs typeface="Montserrat Medium"/>
              <a:sym typeface="Montserrat Medium"/>
            </a:endParaRPr>
          </a:p>
        </p:txBody>
      </p:sp>
      <p:cxnSp>
        <p:nvCxnSpPr>
          <p:cNvPr id="50" name="Ευθεία γραμμή σύνδεσης 49">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52" name="Ομάδα 51">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53"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54"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Ορθογώνιο: Στρογγύλεμα γωνιών 1">
            <a:extLst>
              <a:ext uri="{FF2B5EF4-FFF2-40B4-BE49-F238E27FC236}">
                <a16:creationId xmlns:a16="http://schemas.microsoft.com/office/drawing/2014/main" id="{394E08D2-80DA-FF08-E0C8-9D2C0732A6C9}"/>
              </a:ext>
            </a:extLst>
          </p:cNvPr>
          <p:cNvSpPr/>
          <p:nvPr/>
        </p:nvSpPr>
        <p:spPr>
          <a:xfrm>
            <a:off x="134945" y="887739"/>
            <a:ext cx="9858799" cy="471648"/>
          </a:xfrm>
          <a:prstGeom prst="roundRect">
            <a:avLst/>
          </a:prstGeom>
          <a:solidFill>
            <a:srgbClr val="369089"/>
          </a:solidFill>
          <a:ln w="28575" cap="flat" cmpd="sng" algn="ctr">
            <a:noFill/>
            <a:prstDash val="solid"/>
            <a:miter lim="800000"/>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l-GR" sz="2489" b="1" i="0" u="none" strike="noStrike" kern="1200" cap="none" spc="0" normalizeH="0" baseline="0" noProof="0" dirty="0">
              <a:ln>
                <a:noFill/>
              </a:ln>
              <a:solidFill>
                <a:srgbClr val="0F4E8C"/>
              </a:solidFill>
              <a:effectLst/>
              <a:uLnTx/>
              <a:uFillTx/>
              <a:latin typeface="+mn-lt"/>
              <a:ea typeface="+mn-ea"/>
              <a:cs typeface="Arial" panose="020B0604020202020204" pitchFamily="34" charset="0"/>
            </a:endParaRPr>
          </a:p>
          <a:p>
            <a:pPr marL="0" marR="0" lvl="0" indent="0" algn="ctr" defTabSz="1219170" eaLnBrk="1" fontAlgn="auto" latinLnBrk="0" hangingPunct="1">
              <a:lnSpc>
                <a:spcPct val="100000"/>
              </a:lnSpc>
              <a:spcBef>
                <a:spcPts val="0"/>
              </a:spcBef>
              <a:spcAft>
                <a:spcPts val="0"/>
              </a:spcAft>
              <a:buClrTx/>
              <a:buSzTx/>
              <a:buFontTx/>
              <a:buNone/>
              <a:tabLst/>
              <a:defRPr/>
            </a:pPr>
            <a:r>
              <a:rPr kumimoji="0" lang="el-GR" sz="2489" b="1" i="0" u="none" strike="noStrike" kern="1200" cap="none" spc="0" normalizeH="0" baseline="0" noProof="0" dirty="0">
                <a:ln>
                  <a:noFill/>
                </a:ln>
                <a:solidFill>
                  <a:prstClr val="white"/>
                </a:solidFill>
                <a:effectLst/>
                <a:uLnTx/>
                <a:uFillTx/>
                <a:latin typeface="+mn-lt"/>
                <a:ea typeface="+mn-ea"/>
                <a:cs typeface="Arial" panose="020B0604020202020204" pitchFamily="34" charset="0"/>
              </a:rPr>
              <a:t>Διευρυμένο και στις νησιωτικές περιοχές ΔΑΜ (νησιά &lt; 3.100 κατοίκων)</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el-GR" sz="2489" b="1" i="0" u="none" strike="noStrike" kern="1200" cap="none" spc="0" normalizeH="0" baseline="0" noProof="0" dirty="0">
                <a:ln>
                  <a:noFill/>
                </a:ln>
                <a:solidFill>
                  <a:srgbClr val="0F4E8C"/>
                </a:solidFill>
                <a:effectLst/>
                <a:uLnTx/>
                <a:uFillTx/>
                <a:latin typeface="+mn-lt"/>
                <a:ea typeface="+mn-ea"/>
                <a:cs typeface="Arial" panose="020B0604020202020204" pitchFamily="34" charset="0"/>
              </a:rPr>
              <a:t> </a:t>
            </a:r>
          </a:p>
        </p:txBody>
      </p:sp>
      <p:sp>
        <p:nvSpPr>
          <p:cNvPr id="56" name="Rounded Rectangle 5">
            <a:extLst>
              <a:ext uri="{FF2B5EF4-FFF2-40B4-BE49-F238E27FC236}">
                <a16:creationId xmlns:a16="http://schemas.microsoft.com/office/drawing/2014/main" id="{9C648723-CE58-4C94-8209-91BB17966EDC}"/>
              </a:ext>
            </a:extLst>
          </p:cNvPr>
          <p:cNvSpPr/>
          <p:nvPr/>
        </p:nvSpPr>
        <p:spPr>
          <a:xfrm>
            <a:off x="1572827" y="2621036"/>
            <a:ext cx="3694736" cy="1629096"/>
          </a:xfrm>
          <a:prstGeom prst="roundRect">
            <a:avLst>
              <a:gd name="adj" fmla="val 11634"/>
            </a:avLst>
          </a:prstGeom>
          <a:solidFill>
            <a:schemeClr val="accent5">
              <a:lumMod val="40000"/>
              <a:lumOff val="60000"/>
            </a:schemeClr>
          </a:solidFill>
          <a:ln w="19050">
            <a:solidFill>
              <a:srgbClr val="36908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28594" indent="-228594">
              <a:spcBef>
                <a:spcPts val="1067"/>
              </a:spcBef>
              <a:spcAft>
                <a:spcPts val="533"/>
              </a:spcAft>
              <a:buFont typeface="Wingdings" panose="05000000000000000000" pitchFamily="2" charset="2"/>
              <a:buChar char="ü"/>
            </a:pPr>
            <a:r>
              <a:rPr lang="el-GR" sz="1333" kern="1200" dirty="0">
                <a:solidFill>
                  <a:srgbClr val="0F4E8C"/>
                </a:solidFill>
                <a:ea typeface="Urbanist" panose="020B0604020202020204" charset="0"/>
                <a:cs typeface="Urbanist" panose="020B0604020202020204" charset="0"/>
              </a:rPr>
              <a:t>Ύψος Δανείου: </a:t>
            </a:r>
            <a:r>
              <a:rPr lang="el-GR" sz="1333" b="1" kern="1200" dirty="0">
                <a:solidFill>
                  <a:srgbClr val="00B0F0"/>
                </a:solidFill>
                <a:ea typeface="Urbanist" panose="020B0604020202020204" charset="0"/>
                <a:cs typeface="Urbanist" panose="020B0604020202020204" charset="0"/>
              </a:rPr>
              <a:t>5.000€ έως  500.000€</a:t>
            </a:r>
          </a:p>
          <a:p>
            <a:pPr marL="228594" indent="-228594">
              <a:spcBef>
                <a:spcPts val="1067"/>
              </a:spcBef>
              <a:spcAft>
                <a:spcPts val="533"/>
              </a:spcAft>
              <a:buFont typeface="Wingdings" panose="05000000000000000000" pitchFamily="2" charset="2"/>
              <a:buChar char="ü"/>
            </a:pPr>
            <a:r>
              <a:rPr lang="el-GR" sz="1333" dirty="0" err="1">
                <a:solidFill>
                  <a:srgbClr val="286098"/>
                </a:solidFill>
                <a:ea typeface="Urbanist" panose="020B0604020202020204" charset="0"/>
                <a:cs typeface="Urbanist" panose="020B0604020202020204" charset="0"/>
              </a:rPr>
              <a:t>Συγχρ</a:t>
            </a:r>
            <a:r>
              <a:rPr lang="el-GR" sz="1333" dirty="0">
                <a:solidFill>
                  <a:srgbClr val="286098"/>
                </a:solidFill>
                <a:ea typeface="Urbanist" panose="020B0604020202020204" charset="0"/>
                <a:cs typeface="Urbanist" panose="020B0604020202020204" charset="0"/>
              </a:rPr>
              <a:t>/</a:t>
            </a:r>
            <a:r>
              <a:rPr lang="el-GR" sz="1333" dirty="0" err="1">
                <a:solidFill>
                  <a:srgbClr val="286098"/>
                </a:solidFill>
                <a:ea typeface="Urbanist" panose="020B0604020202020204" charset="0"/>
                <a:cs typeface="Urbanist" panose="020B0604020202020204" charset="0"/>
              </a:rPr>
              <a:t>τηση</a:t>
            </a:r>
            <a:r>
              <a:rPr lang="el-GR" sz="1333" dirty="0">
                <a:solidFill>
                  <a:srgbClr val="286098"/>
                </a:solidFill>
                <a:ea typeface="Urbanist" panose="020B0604020202020204" charset="0"/>
                <a:cs typeface="Urbanist" panose="020B0604020202020204" charset="0"/>
              </a:rPr>
              <a:t> δανείων: </a:t>
            </a:r>
            <a:r>
              <a:rPr lang="el-GR" sz="1333" b="1" dirty="0">
                <a:solidFill>
                  <a:srgbClr val="00B0F0"/>
                </a:solidFill>
                <a:ea typeface="Urbanist" panose="020B0604020202020204" charset="0"/>
                <a:cs typeface="Urbanist" panose="020B0604020202020204" charset="0"/>
              </a:rPr>
              <a:t>50% άτοκη</a:t>
            </a:r>
          </a:p>
          <a:p>
            <a:pPr marL="228594" lvl="1" indent="-228594" defTabSz="829713">
              <a:lnSpc>
                <a:spcPct val="90000"/>
              </a:lnSpc>
              <a:spcBef>
                <a:spcPct val="0"/>
              </a:spcBef>
              <a:spcAft>
                <a:spcPts val="800"/>
              </a:spcAft>
              <a:buClr>
                <a:srgbClr val="436297"/>
              </a:buClr>
              <a:buFont typeface="Wingdings" panose="05000000000000000000" pitchFamily="2" charset="2"/>
              <a:buChar char="ü"/>
            </a:pPr>
            <a:r>
              <a:rPr lang="el-GR" sz="1333" dirty="0">
                <a:solidFill>
                  <a:srgbClr val="286098"/>
                </a:solidFill>
                <a:ea typeface="Urbanist" panose="020B0604020202020204" charset="0"/>
                <a:cs typeface="Urbanist" panose="020B0604020202020204" charset="0"/>
              </a:rPr>
              <a:t>Επιδότηση Επιτοκίου: </a:t>
            </a:r>
            <a:r>
              <a:rPr lang="el-GR" sz="1333" b="1" dirty="0">
                <a:solidFill>
                  <a:srgbClr val="00B0F0"/>
                </a:solidFill>
                <a:ea typeface="Urbanist" panose="020B0604020202020204" charset="0"/>
                <a:cs typeface="Urbanist" panose="020B0604020202020204" charset="0"/>
              </a:rPr>
              <a:t>3% στο 50% των πιστωτικών ιδρυμάτων για 3 έτη</a:t>
            </a:r>
          </a:p>
          <a:p>
            <a:pPr marL="228594" lvl="1" indent="-228594" defTabSz="829713">
              <a:lnSpc>
                <a:spcPct val="90000"/>
              </a:lnSpc>
              <a:spcBef>
                <a:spcPct val="0"/>
              </a:spcBef>
              <a:spcAft>
                <a:spcPts val="800"/>
              </a:spcAft>
              <a:buClr>
                <a:srgbClr val="436297"/>
              </a:buClr>
              <a:buFont typeface="Wingdings" panose="05000000000000000000" pitchFamily="2" charset="2"/>
              <a:buChar char="ü"/>
            </a:pPr>
            <a:r>
              <a:rPr lang="el-GR" sz="1333" dirty="0">
                <a:solidFill>
                  <a:srgbClr val="286098"/>
                </a:solidFill>
                <a:ea typeface="Urbanist" panose="020B0604020202020204" charset="0"/>
                <a:cs typeface="Urbanist" panose="020B0604020202020204" charset="0"/>
              </a:rPr>
              <a:t>Διάρκεια δανείου: </a:t>
            </a:r>
            <a:r>
              <a:rPr lang="el-GR" sz="1333" b="1" dirty="0">
                <a:solidFill>
                  <a:srgbClr val="00B0F0"/>
                </a:solidFill>
                <a:ea typeface="Urbanist" panose="020B0604020202020204" charset="0"/>
                <a:cs typeface="Urbanist" panose="020B0604020202020204" charset="0"/>
              </a:rPr>
              <a:t>1-10 έτη </a:t>
            </a:r>
            <a:endParaRPr lang="el-GR" sz="1333" b="1" kern="1200" dirty="0">
              <a:solidFill>
                <a:srgbClr val="00B0F0"/>
              </a:solidFill>
              <a:ea typeface="Urbanist" panose="020B0604020202020204" charset="0"/>
              <a:cs typeface="Urbanist" panose="020B0604020202020204" charset="0"/>
            </a:endParaRPr>
          </a:p>
        </p:txBody>
      </p:sp>
      <p:graphicFrame>
        <p:nvGraphicFramePr>
          <p:cNvPr id="57" name="Table 71">
            <a:extLst>
              <a:ext uri="{FF2B5EF4-FFF2-40B4-BE49-F238E27FC236}">
                <a16:creationId xmlns:a16="http://schemas.microsoft.com/office/drawing/2014/main" id="{377A411C-C647-403F-9EC3-FD23DA44CFB5}"/>
              </a:ext>
            </a:extLst>
          </p:cNvPr>
          <p:cNvGraphicFramePr>
            <a:graphicFrameLocks noGrp="1"/>
          </p:cNvGraphicFramePr>
          <p:nvPr>
            <p:extLst>
              <p:ext uri="{D42A27DB-BD31-4B8C-83A1-F6EECF244321}">
                <p14:modId xmlns:p14="http://schemas.microsoft.com/office/powerpoint/2010/main" val="312637898"/>
              </p:ext>
            </p:extLst>
          </p:nvPr>
        </p:nvGraphicFramePr>
        <p:xfrm>
          <a:off x="6352742" y="4650621"/>
          <a:ext cx="5168687" cy="1762314"/>
        </p:xfrm>
        <a:graphic>
          <a:graphicData uri="http://schemas.openxmlformats.org/drawingml/2006/table">
            <a:tbl>
              <a:tblPr firstRow="1" bandRow="1">
                <a:tableStyleId>{85BE263C-DBD7-4A20-BB59-AAB30ACAA65A}</a:tableStyleId>
              </a:tblPr>
              <a:tblGrid>
                <a:gridCol w="1461659">
                  <a:extLst>
                    <a:ext uri="{9D8B030D-6E8A-4147-A177-3AD203B41FA5}">
                      <a16:colId xmlns:a16="http://schemas.microsoft.com/office/drawing/2014/main" val="2553689569"/>
                    </a:ext>
                  </a:extLst>
                </a:gridCol>
                <a:gridCol w="984227">
                  <a:extLst>
                    <a:ext uri="{9D8B030D-6E8A-4147-A177-3AD203B41FA5}">
                      <a16:colId xmlns:a16="http://schemas.microsoft.com/office/drawing/2014/main" val="4262157633"/>
                    </a:ext>
                  </a:extLst>
                </a:gridCol>
                <a:gridCol w="1193481">
                  <a:extLst>
                    <a:ext uri="{9D8B030D-6E8A-4147-A177-3AD203B41FA5}">
                      <a16:colId xmlns:a16="http://schemas.microsoft.com/office/drawing/2014/main" val="3286230142"/>
                    </a:ext>
                  </a:extLst>
                </a:gridCol>
                <a:gridCol w="1529320">
                  <a:extLst>
                    <a:ext uri="{9D8B030D-6E8A-4147-A177-3AD203B41FA5}">
                      <a16:colId xmlns:a16="http://schemas.microsoft.com/office/drawing/2014/main" val="1271727725"/>
                    </a:ext>
                  </a:extLst>
                </a:gridCol>
              </a:tblGrid>
              <a:tr h="457200">
                <a:tc>
                  <a:txBody>
                    <a:bodyPr/>
                    <a:lstStyle/>
                    <a:p>
                      <a:pPr algn="ctr"/>
                      <a:r>
                        <a:rPr lang="el-GR" sz="1200" b="1" i="0" u="none" strike="noStrike" cap="none" dirty="0">
                          <a:solidFill>
                            <a:schemeClr val="lt1"/>
                          </a:solidFill>
                          <a:latin typeface="Arial" panose="020B0604020202020204" pitchFamily="34" charset="0"/>
                          <a:ea typeface="+mn-ea"/>
                          <a:cs typeface="Arial" panose="020B0604020202020204" pitchFamily="34" charset="0"/>
                          <a:sym typeface="Arial"/>
                        </a:rPr>
                        <a:t>Υλοποίηση:</a:t>
                      </a:r>
                    </a:p>
                  </a:txBody>
                  <a:tcPr anchor="ctr">
                    <a:solidFill>
                      <a:srgbClr val="369089"/>
                    </a:solidFill>
                  </a:tcPr>
                </a:tc>
                <a:tc>
                  <a:txBody>
                    <a:bodyPr/>
                    <a:lstStyle/>
                    <a:p>
                      <a:pPr marR="0" algn="ctr" rtl="0">
                        <a:lnSpc>
                          <a:spcPct val="100000"/>
                        </a:lnSpc>
                        <a:spcBef>
                          <a:spcPts val="0"/>
                        </a:spcBef>
                        <a:spcAft>
                          <a:spcPts val="0"/>
                        </a:spcAft>
                        <a:buClr>
                          <a:srgbClr val="000000"/>
                        </a:buClr>
                        <a:buFont typeface="Arial"/>
                      </a:pPr>
                      <a:r>
                        <a:rPr lang="el-GR" sz="1200" b="1" i="0" u="none" strike="noStrike" cap="none" dirty="0" smtClean="0">
                          <a:solidFill>
                            <a:srgbClr val="FF9900"/>
                          </a:solidFill>
                          <a:latin typeface="Arial" panose="020B0604020202020204" pitchFamily="34" charset="0"/>
                          <a:ea typeface="+mn-ea"/>
                          <a:cs typeface="Arial" panose="020B0604020202020204" pitchFamily="34" charset="0"/>
                          <a:sym typeface="Arial"/>
                        </a:rPr>
                        <a:t>3</a:t>
                      </a:r>
                      <a:r>
                        <a:rPr lang="el-GR" sz="1200" b="1" i="0" u="none" strike="noStrike" cap="none" dirty="0" smtClean="0">
                          <a:solidFill>
                            <a:schemeClr val="lt1"/>
                          </a:solidFill>
                          <a:latin typeface="Arial" panose="020B0604020202020204" pitchFamily="34" charset="0"/>
                          <a:ea typeface="+mn-ea"/>
                          <a:cs typeface="Arial" panose="020B0604020202020204" pitchFamily="34" charset="0"/>
                          <a:sym typeface="Arial"/>
                        </a:rPr>
                        <a:t> </a:t>
                      </a:r>
                      <a:r>
                        <a:rPr lang="el-GR" sz="1200" b="1" i="0" u="none" strike="noStrike" cap="none" dirty="0">
                          <a:solidFill>
                            <a:schemeClr val="lt1"/>
                          </a:solidFill>
                          <a:latin typeface="Arial" panose="020B0604020202020204" pitchFamily="34" charset="0"/>
                          <a:ea typeface="+mn-ea"/>
                          <a:cs typeface="Arial" panose="020B0604020202020204" pitchFamily="34" charset="0"/>
                          <a:sym typeface="Arial"/>
                        </a:rPr>
                        <a:t>Εγκρίσεις</a:t>
                      </a:r>
                    </a:p>
                  </a:txBody>
                  <a:tcPr marL="68580" marR="68580" marT="34290" marB="34290" anchor="ctr">
                    <a:solidFill>
                      <a:srgbClr val="369089"/>
                    </a:solidFill>
                  </a:tcPr>
                </a:tc>
                <a:tc>
                  <a:txBody>
                    <a:bodyPr/>
                    <a:lstStyle/>
                    <a:p>
                      <a:pPr marR="0" algn="ctr" rtl="0">
                        <a:lnSpc>
                          <a:spcPct val="100000"/>
                        </a:lnSpc>
                        <a:spcBef>
                          <a:spcPts val="0"/>
                        </a:spcBef>
                        <a:spcAft>
                          <a:spcPts val="0"/>
                        </a:spcAft>
                        <a:buClr>
                          <a:srgbClr val="000000"/>
                        </a:buClr>
                        <a:buFont typeface="Arial"/>
                      </a:pPr>
                      <a:r>
                        <a:rPr lang="el-GR" sz="1200" b="1" i="0" u="none" strike="noStrike" cap="none" dirty="0" smtClean="0">
                          <a:solidFill>
                            <a:schemeClr val="lt1"/>
                          </a:solidFill>
                          <a:latin typeface="Arial" panose="020B0604020202020204" pitchFamily="34" charset="0"/>
                          <a:ea typeface="+mn-ea"/>
                          <a:cs typeface="Arial" panose="020B0604020202020204" pitchFamily="34" charset="0"/>
                          <a:sym typeface="Arial"/>
                        </a:rPr>
                        <a:t> </a:t>
                      </a:r>
                      <a:r>
                        <a:rPr lang="el-GR" sz="1200" b="1" i="0" u="none" strike="noStrike" cap="none" dirty="0">
                          <a:solidFill>
                            <a:srgbClr val="FF9900"/>
                          </a:solidFill>
                          <a:latin typeface="Arial" panose="020B0604020202020204" pitchFamily="34" charset="0"/>
                          <a:ea typeface="+mn-ea"/>
                          <a:cs typeface="Arial" panose="020B0604020202020204" pitchFamily="34" charset="0"/>
                          <a:sym typeface="Arial"/>
                        </a:rPr>
                        <a:t>1</a:t>
                      </a:r>
                    </a:p>
                    <a:p>
                      <a:pPr marR="0" algn="ctr" rtl="0">
                        <a:lnSpc>
                          <a:spcPct val="100000"/>
                        </a:lnSpc>
                        <a:spcBef>
                          <a:spcPts val="0"/>
                        </a:spcBef>
                        <a:spcAft>
                          <a:spcPts val="0"/>
                        </a:spcAft>
                        <a:buClr>
                          <a:srgbClr val="000000"/>
                        </a:buClr>
                        <a:buFont typeface="Arial"/>
                      </a:pPr>
                      <a:r>
                        <a:rPr lang="el-GR" sz="1200" b="1" i="0" u="none" strike="noStrike" cap="none" dirty="0">
                          <a:solidFill>
                            <a:schemeClr val="lt1"/>
                          </a:solidFill>
                          <a:latin typeface="Arial" panose="020B0604020202020204" pitchFamily="34" charset="0"/>
                          <a:ea typeface="+mn-ea"/>
                          <a:cs typeface="Arial" panose="020B0604020202020204" pitchFamily="34" charset="0"/>
                          <a:sym typeface="Arial"/>
                        </a:rPr>
                        <a:t> Συμβάσεις </a:t>
                      </a:r>
                    </a:p>
                  </a:txBody>
                  <a:tcPr marL="68580" marR="68580" marT="34290" marB="34290" anchor="ctr">
                    <a:solidFill>
                      <a:srgbClr val="369089"/>
                    </a:solidFill>
                  </a:tcPr>
                </a:tc>
                <a:tc>
                  <a:txBody>
                    <a:bodyPr/>
                    <a:lstStyle/>
                    <a:p>
                      <a:pPr marR="0" algn="ctr" rtl="0">
                        <a:lnSpc>
                          <a:spcPct val="100000"/>
                        </a:lnSpc>
                        <a:spcBef>
                          <a:spcPts val="0"/>
                        </a:spcBef>
                        <a:spcAft>
                          <a:spcPts val="0"/>
                        </a:spcAft>
                        <a:buClr>
                          <a:srgbClr val="000000"/>
                        </a:buClr>
                        <a:buFont typeface="Arial"/>
                      </a:pPr>
                      <a:r>
                        <a:rPr lang="el-GR" sz="1200" b="1" i="0" u="none" strike="noStrike" cap="none" dirty="0" smtClean="0">
                          <a:solidFill>
                            <a:schemeClr val="lt1"/>
                          </a:solidFill>
                          <a:latin typeface="Arial" panose="020B0604020202020204" pitchFamily="34" charset="0"/>
                          <a:ea typeface="+mn-ea"/>
                          <a:cs typeface="Arial" panose="020B0604020202020204" pitchFamily="34" charset="0"/>
                          <a:sym typeface="Arial"/>
                        </a:rPr>
                        <a:t> </a:t>
                      </a:r>
                      <a:r>
                        <a:rPr lang="el-GR" sz="1200" b="1" i="0" u="none" strike="noStrike" cap="none" dirty="0">
                          <a:solidFill>
                            <a:srgbClr val="FF9900"/>
                          </a:solidFill>
                          <a:latin typeface="Arial" panose="020B0604020202020204" pitchFamily="34" charset="0"/>
                          <a:ea typeface="+mn-ea"/>
                          <a:cs typeface="Arial" panose="020B0604020202020204" pitchFamily="34" charset="0"/>
                          <a:sym typeface="Arial"/>
                        </a:rPr>
                        <a:t>1</a:t>
                      </a:r>
                    </a:p>
                    <a:p>
                      <a:pPr marR="0" algn="ctr" rtl="0">
                        <a:lnSpc>
                          <a:spcPct val="100000"/>
                        </a:lnSpc>
                        <a:spcBef>
                          <a:spcPts val="0"/>
                        </a:spcBef>
                        <a:spcAft>
                          <a:spcPts val="0"/>
                        </a:spcAft>
                        <a:buClr>
                          <a:srgbClr val="000000"/>
                        </a:buClr>
                        <a:buFont typeface="Arial"/>
                      </a:pPr>
                      <a:r>
                        <a:rPr lang="el-GR" sz="1200" b="1" i="0" u="none" strike="noStrike" cap="none" dirty="0">
                          <a:solidFill>
                            <a:schemeClr val="lt1"/>
                          </a:solidFill>
                          <a:latin typeface="Arial" panose="020B0604020202020204" pitchFamily="34" charset="0"/>
                          <a:ea typeface="+mn-ea"/>
                          <a:cs typeface="Arial" panose="020B0604020202020204" pitchFamily="34" charset="0"/>
                          <a:sym typeface="Arial"/>
                        </a:rPr>
                        <a:t>Εκταμιεύσεις</a:t>
                      </a:r>
                    </a:p>
                  </a:txBody>
                  <a:tcPr marL="68580" marR="68580" marT="34290" marB="34290" anchor="ctr">
                    <a:solidFill>
                      <a:srgbClr val="369089"/>
                    </a:solidFill>
                  </a:tcPr>
                </a:tc>
                <a:extLst>
                  <a:ext uri="{0D108BD9-81ED-4DB2-BD59-A6C34878D82A}">
                    <a16:rowId xmlns:a16="http://schemas.microsoft.com/office/drawing/2014/main" val="2621305253"/>
                  </a:ext>
                </a:extLst>
              </a:tr>
              <a:tr h="334296">
                <a:tc>
                  <a:txBody>
                    <a:bodyPr/>
                    <a:lstStyle/>
                    <a:p>
                      <a:pPr algn="ctr"/>
                      <a:r>
                        <a:rPr lang="el-GR" sz="1200" kern="1200" dirty="0">
                          <a:latin typeface="Arial" panose="020B0604020202020204" pitchFamily="34" charset="0"/>
                          <a:cs typeface="Arial" panose="020B0604020202020204" pitchFamily="34" charset="0"/>
                        </a:rPr>
                        <a:t>Συν</a:t>
                      </a:r>
                      <a:r>
                        <a:rPr lang="en-US" sz="1200" kern="1200" dirty="0">
                          <a:latin typeface="Arial" panose="020B0604020202020204" pitchFamily="34" charset="0"/>
                          <a:cs typeface="Arial" panose="020B0604020202020204" pitchFamily="34" charset="0"/>
                        </a:rPr>
                        <a:t>o</a:t>
                      </a:r>
                      <a:r>
                        <a:rPr lang="el-GR" sz="1200" kern="1200" dirty="0" err="1">
                          <a:latin typeface="Arial" panose="020B0604020202020204" pitchFamily="34" charset="0"/>
                          <a:cs typeface="Arial" panose="020B0604020202020204" pitchFamily="34" charset="0"/>
                        </a:rPr>
                        <a:t>λικός</a:t>
                      </a:r>
                      <a:r>
                        <a:rPr lang="el-GR" sz="1200" kern="1200" dirty="0">
                          <a:latin typeface="Arial" panose="020B0604020202020204" pitchFamily="34" charset="0"/>
                          <a:cs typeface="Arial" panose="020B0604020202020204" pitchFamily="34" charset="0"/>
                        </a:rPr>
                        <a:t> Π/Υ</a:t>
                      </a:r>
                      <a:endParaRPr lang="el-GR" sz="1200" kern="1200" dirty="0">
                        <a:solidFill>
                          <a:srgbClr val="286098"/>
                        </a:solidFill>
                        <a:latin typeface="Arial" panose="020B0604020202020204" pitchFamily="34" charset="0"/>
                        <a:ea typeface="Urbanist" panose="020B0604020202020204" charset="0"/>
                        <a:cs typeface="Arial" panose="020B0604020202020204" pitchFamily="34" charset="0"/>
                      </a:endParaRPr>
                    </a:p>
                  </a:txBody>
                  <a:tcPr anchor="ctr">
                    <a:noFill/>
                  </a:tcP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2,2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εκ. €</a:t>
                      </a:r>
                    </a:p>
                  </a:txBody>
                  <a:tcPr marL="68580" marR="68580" marT="34290" marB="34290" anchor="ctr">
                    <a:noFill/>
                  </a:tcP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58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χιλ. €</a:t>
                      </a:r>
                    </a:p>
                  </a:txBody>
                  <a:tcPr marL="68580" marR="68580" marT="34290" marB="34290" anchor="ctr">
                    <a:noFill/>
                  </a:tcP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58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χιλ. €</a:t>
                      </a:r>
                    </a:p>
                  </a:txBody>
                  <a:tcPr marL="68580" marR="68580" marT="34290" marB="34290" anchor="ctr">
                    <a:noFill/>
                  </a:tcPr>
                </a:tc>
                <a:extLst>
                  <a:ext uri="{0D108BD9-81ED-4DB2-BD59-A6C34878D82A}">
                    <a16:rowId xmlns:a16="http://schemas.microsoft.com/office/drawing/2014/main" val="2551371102"/>
                  </a:ext>
                </a:extLst>
              </a:tr>
              <a:tr h="485409">
                <a:tc>
                  <a:txBody>
                    <a:bodyPr/>
                    <a:lstStyle/>
                    <a:p>
                      <a:pPr algn="ctr"/>
                      <a:r>
                        <a:rPr lang="el-GR" sz="1200" kern="1200" dirty="0">
                          <a:latin typeface="Arial" panose="020B0604020202020204" pitchFamily="34" charset="0"/>
                          <a:cs typeface="Arial" panose="020B0604020202020204" pitchFamily="34" charset="0"/>
                        </a:rPr>
                        <a:t>Δεσμευμένοι Πόροι</a:t>
                      </a:r>
                      <a:endParaRPr lang="el-GR" sz="1200" kern="1200" dirty="0">
                        <a:solidFill>
                          <a:srgbClr val="286098"/>
                        </a:solidFill>
                        <a:latin typeface="Arial" panose="020B0604020202020204" pitchFamily="34" charset="0"/>
                        <a:ea typeface="Urbanist" panose="020B0604020202020204" charset="0"/>
                        <a:cs typeface="Arial" panose="020B0604020202020204" pitchFamily="34" charset="0"/>
                      </a:endParaRPr>
                    </a:p>
                  </a:txBody>
                  <a:tcPr anchor="ct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355 χιλ</a:t>
                      </a:r>
                      <a:r>
                        <a:rPr lang="en-US" sz="1200" b="1" dirty="0" smtClean="0">
                          <a:solidFill>
                            <a:srgbClr val="286098"/>
                          </a:solidFill>
                          <a:latin typeface="Arial" panose="020B0604020202020204" pitchFamily="34" charset="0"/>
                          <a:ea typeface="Urbanist" panose="020B0604020202020204" charset="0"/>
                          <a:cs typeface="Arial" panose="020B0604020202020204" pitchFamily="34" charset="0"/>
                        </a:rPr>
                        <a:t>.</a:t>
                      </a: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a:t>
                      </a:r>
                    </a:p>
                  </a:txBody>
                  <a:tcPr marL="68580" marR="68580" marT="34290" marB="34290" anchor="ct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9,3 χιλ</a:t>
                      </a:r>
                      <a:r>
                        <a:rPr lang="en-US" sz="1200" b="1" dirty="0" smtClean="0">
                          <a:solidFill>
                            <a:srgbClr val="286098"/>
                          </a:solidFill>
                          <a:latin typeface="Arial" panose="020B0604020202020204" pitchFamily="34" charset="0"/>
                          <a:ea typeface="Urbanist" panose="020B0604020202020204" charset="0"/>
                          <a:cs typeface="Arial" panose="020B0604020202020204" pitchFamily="34" charset="0"/>
                        </a:rPr>
                        <a:t>.</a:t>
                      </a: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a:t>
                      </a:r>
                    </a:p>
                  </a:txBody>
                  <a:tcPr marL="68580" marR="68580" marT="34290" marB="34290" anchor="ct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9,3 χιλ</a:t>
                      </a:r>
                      <a:r>
                        <a:rPr lang="en-US" sz="1200" b="1" dirty="0" smtClean="0">
                          <a:solidFill>
                            <a:srgbClr val="286098"/>
                          </a:solidFill>
                          <a:latin typeface="Arial" panose="020B0604020202020204" pitchFamily="34" charset="0"/>
                          <a:ea typeface="Urbanist" panose="020B0604020202020204" charset="0"/>
                          <a:cs typeface="Arial" panose="020B0604020202020204" pitchFamily="34" charset="0"/>
                        </a:rPr>
                        <a:t>.</a:t>
                      </a: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a:t>
                      </a:r>
                      <a:endParaRPr lang="el-GR" sz="1200" b="1" dirty="0">
                        <a:solidFill>
                          <a:srgbClr val="286098"/>
                        </a:solidFill>
                        <a:latin typeface="Arial" panose="020B0604020202020204" pitchFamily="34" charset="0"/>
                        <a:ea typeface="Urbanist" panose="020B0604020202020204" charset="0"/>
                        <a:cs typeface="Arial" panose="020B0604020202020204" pitchFamily="34" charset="0"/>
                      </a:endParaRPr>
                    </a:p>
                  </a:txBody>
                  <a:tcPr marL="68580" marR="68580" marT="34290" marB="34290" anchor="ctr"/>
                </a:tc>
                <a:extLst>
                  <a:ext uri="{0D108BD9-81ED-4DB2-BD59-A6C34878D82A}">
                    <a16:rowId xmlns:a16="http://schemas.microsoft.com/office/drawing/2014/main" val="4103997727"/>
                  </a:ext>
                </a:extLst>
              </a:tr>
              <a:tr h="485409">
                <a:tc>
                  <a:txBody>
                    <a:bodyPr/>
                    <a:lstStyle/>
                    <a:p>
                      <a:pPr algn="ctr"/>
                      <a:r>
                        <a:rPr lang="el-GR" sz="1200" kern="1200" dirty="0">
                          <a:latin typeface="Arial" panose="020B0604020202020204" pitchFamily="34" charset="0"/>
                          <a:cs typeface="Arial" panose="020B0604020202020204" pitchFamily="34" charset="0"/>
                        </a:rPr>
                        <a:t>Π/Υ </a:t>
                      </a:r>
                      <a:r>
                        <a:rPr lang="el-GR" sz="1200" kern="1200" dirty="0" err="1">
                          <a:latin typeface="Arial" panose="020B0604020202020204" pitchFamily="34" charset="0"/>
                          <a:cs typeface="Arial" panose="020B0604020202020204" pitchFamily="34" charset="0"/>
                        </a:rPr>
                        <a:t>Επιδ</a:t>
                      </a:r>
                      <a:r>
                        <a:rPr lang="el-GR" sz="1200" kern="1200" dirty="0">
                          <a:latin typeface="Arial" panose="020B0604020202020204" pitchFamily="34" charset="0"/>
                          <a:cs typeface="Arial" panose="020B0604020202020204" pitchFamily="34" charset="0"/>
                        </a:rPr>
                        <a:t>. Τόκων</a:t>
                      </a:r>
                      <a:endParaRPr lang="el-GR" sz="1200" kern="1200" dirty="0">
                        <a:solidFill>
                          <a:srgbClr val="286098"/>
                        </a:solidFill>
                        <a:latin typeface="Arial" panose="020B0604020202020204" pitchFamily="34" charset="0"/>
                        <a:ea typeface="Urbanist" panose="020B0604020202020204" charset="0"/>
                        <a:cs typeface="Arial" panose="020B0604020202020204" pitchFamily="34" charset="0"/>
                      </a:endParaRPr>
                    </a:p>
                  </a:txBody>
                  <a:tcPr anchor="ctr">
                    <a:noFill/>
                  </a:tcP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131 χιλ</a:t>
                      </a:r>
                      <a:r>
                        <a:rPr lang="en-US" sz="1200" b="1" dirty="0" smtClean="0">
                          <a:solidFill>
                            <a:srgbClr val="286098"/>
                          </a:solidFill>
                          <a:latin typeface="Arial" panose="020B0604020202020204" pitchFamily="34" charset="0"/>
                          <a:ea typeface="Urbanist" panose="020B0604020202020204" charset="0"/>
                          <a:cs typeface="Arial" panose="020B0604020202020204" pitchFamily="34" charset="0"/>
                        </a:rPr>
                        <a:t>.</a:t>
                      </a: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a:t>
                      </a:r>
                    </a:p>
                  </a:txBody>
                  <a:tcPr marL="68580" marR="68580" marT="34290" marB="34290" anchor="ctr">
                    <a:noFill/>
                  </a:tcPr>
                </a:tc>
                <a:tc>
                  <a:txBody>
                    <a:bodyPr/>
                    <a:lstStyle/>
                    <a:p>
                      <a:pPr algn="ct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2,8 χιλ</a:t>
                      </a:r>
                      <a:r>
                        <a:rPr lang="en-US" sz="1200" b="1" dirty="0" smtClean="0">
                          <a:solidFill>
                            <a:srgbClr val="286098"/>
                          </a:solidFill>
                          <a:latin typeface="Arial" panose="020B0604020202020204" pitchFamily="34" charset="0"/>
                          <a:ea typeface="Urbanist" panose="020B0604020202020204" charset="0"/>
                          <a:cs typeface="Arial" panose="020B0604020202020204" pitchFamily="34" charset="0"/>
                        </a:rPr>
                        <a:t>.</a:t>
                      </a:r>
                      <a:r>
                        <a:rPr lang="el-GR" sz="1200" b="1" dirty="0" smtClean="0">
                          <a:solidFill>
                            <a:srgbClr val="286098"/>
                          </a:solidFill>
                          <a:latin typeface="Arial" panose="020B0604020202020204" pitchFamily="34" charset="0"/>
                          <a:ea typeface="Urbanist" panose="020B0604020202020204" charset="0"/>
                          <a:cs typeface="Arial" panose="020B0604020202020204" pitchFamily="34" charset="0"/>
                        </a:rPr>
                        <a:t> </a:t>
                      </a:r>
                      <a:r>
                        <a:rPr lang="el-GR" sz="1200" b="1" dirty="0">
                          <a:solidFill>
                            <a:srgbClr val="286098"/>
                          </a:solidFill>
                          <a:latin typeface="Arial" panose="020B0604020202020204" pitchFamily="34" charset="0"/>
                          <a:ea typeface="Urbanist" panose="020B0604020202020204" charset="0"/>
                          <a:cs typeface="Arial" panose="020B0604020202020204" pitchFamily="34" charset="0"/>
                        </a:rPr>
                        <a:t>€</a:t>
                      </a:r>
                    </a:p>
                  </a:txBody>
                  <a:tcPr marL="68580" marR="68580" marT="34290" marB="34290" anchor="ctr">
                    <a:noFill/>
                  </a:tcPr>
                </a:tc>
                <a:tc>
                  <a:txBody>
                    <a:bodyPr/>
                    <a:lstStyle/>
                    <a:p>
                      <a:pPr algn="ctr"/>
                      <a:endParaRPr lang="el-GR" sz="1200" b="1" dirty="0">
                        <a:solidFill>
                          <a:srgbClr val="286098"/>
                        </a:solidFill>
                        <a:latin typeface="Arial" panose="020B0604020202020204" pitchFamily="34" charset="0"/>
                        <a:ea typeface="Urbanist" panose="020B0604020202020204" charset="0"/>
                        <a:cs typeface="Arial" panose="020B0604020202020204" pitchFamily="34" charset="0"/>
                      </a:endParaRPr>
                    </a:p>
                  </a:txBody>
                  <a:tcPr marL="68580" marR="68580" marT="34290" marB="34290" anchor="ctr">
                    <a:noFill/>
                  </a:tcPr>
                </a:tc>
                <a:extLst>
                  <a:ext uri="{0D108BD9-81ED-4DB2-BD59-A6C34878D82A}">
                    <a16:rowId xmlns:a16="http://schemas.microsoft.com/office/drawing/2014/main" val="829425361"/>
                  </a:ext>
                </a:extLst>
              </a:tr>
            </a:tbl>
          </a:graphicData>
        </a:graphic>
      </p:graphicFrame>
      <p:sp>
        <p:nvSpPr>
          <p:cNvPr id="58" name="Rounded Rectangle 5">
            <a:extLst>
              <a:ext uri="{FF2B5EF4-FFF2-40B4-BE49-F238E27FC236}">
                <a16:creationId xmlns:a16="http://schemas.microsoft.com/office/drawing/2014/main" id="{CE05B140-2384-4B3A-869D-EF6F21501735}"/>
              </a:ext>
            </a:extLst>
          </p:cNvPr>
          <p:cNvSpPr/>
          <p:nvPr/>
        </p:nvSpPr>
        <p:spPr>
          <a:xfrm>
            <a:off x="6673077" y="2621036"/>
            <a:ext cx="3675723" cy="1629096"/>
          </a:xfrm>
          <a:prstGeom prst="roundRect">
            <a:avLst>
              <a:gd name="adj" fmla="val 11634"/>
            </a:avLst>
          </a:prstGeom>
          <a:solidFill>
            <a:schemeClr val="accent5">
              <a:lumMod val="40000"/>
              <a:lumOff val="60000"/>
            </a:schemeClr>
          </a:solidFill>
          <a:ln w="19050">
            <a:solidFill>
              <a:srgbClr val="36908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28594" lvl="1" indent="-228594" defTabSz="829713">
              <a:lnSpc>
                <a:spcPct val="90000"/>
              </a:lnSpc>
              <a:spcBef>
                <a:spcPct val="0"/>
              </a:spcBef>
              <a:spcAft>
                <a:spcPts val="800"/>
              </a:spcAft>
              <a:buClr>
                <a:srgbClr val="436297"/>
              </a:buClr>
              <a:buFont typeface="Wingdings" panose="05000000000000000000" pitchFamily="2" charset="2"/>
              <a:buChar char="ü"/>
            </a:pPr>
            <a:r>
              <a:rPr lang="el-GR" sz="1333" kern="1200" dirty="0">
                <a:solidFill>
                  <a:srgbClr val="0F4E8C"/>
                </a:solidFill>
                <a:ea typeface="Urbanist" panose="020B0604020202020204" charset="0"/>
                <a:cs typeface="Urbanist" panose="020B0604020202020204" charset="0"/>
              </a:rPr>
              <a:t>Ύψος Δανείου: </a:t>
            </a:r>
            <a:r>
              <a:rPr lang="el-GR" sz="1333" b="1" kern="1200" dirty="0">
                <a:solidFill>
                  <a:srgbClr val="00B0F0"/>
                </a:solidFill>
                <a:ea typeface="Urbanist" panose="020B0604020202020204" charset="0"/>
                <a:cs typeface="Urbanist" panose="020B0604020202020204" charset="0"/>
              </a:rPr>
              <a:t>50.000€ έως 16,</a:t>
            </a:r>
            <a:r>
              <a:rPr lang="en-US" sz="1333" b="1" kern="1200" dirty="0">
                <a:solidFill>
                  <a:srgbClr val="00B0F0"/>
                </a:solidFill>
                <a:ea typeface="Urbanist" panose="020B0604020202020204" charset="0"/>
                <a:cs typeface="Urbanist" panose="020B0604020202020204" charset="0"/>
              </a:rPr>
              <a:t>5</a:t>
            </a:r>
            <a:r>
              <a:rPr lang="el-GR" sz="1333" b="1" kern="1200" dirty="0">
                <a:solidFill>
                  <a:srgbClr val="00B0F0"/>
                </a:solidFill>
                <a:ea typeface="Urbanist" panose="020B0604020202020204" charset="0"/>
                <a:cs typeface="Urbanist" panose="020B0604020202020204" charset="0"/>
              </a:rPr>
              <a:t> εκ.€ (ΓΑΚ) ή 50.000 € έως 1,4 εκ.€ (</a:t>
            </a:r>
            <a:r>
              <a:rPr lang="en-US" sz="1333" b="1" kern="1200" dirty="0">
                <a:solidFill>
                  <a:srgbClr val="00B0F0"/>
                </a:solidFill>
                <a:ea typeface="Urbanist" panose="020B0604020202020204" charset="0"/>
                <a:cs typeface="Urbanist" panose="020B0604020202020204" charset="0"/>
              </a:rPr>
              <a:t>De minimis</a:t>
            </a:r>
            <a:r>
              <a:rPr lang="el-GR" sz="1333" b="1" kern="1200" dirty="0">
                <a:solidFill>
                  <a:srgbClr val="00B0F0"/>
                </a:solidFill>
                <a:ea typeface="Urbanist" panose="020B0604020202020204" charset="0"/>
                <a:cs typeface="Urbanist" panose="020B0604020202020204" charset="0"/>
              </a:rPr>
              <a:t>)</a:t>
            </a:r>
          </a:p>
          <a:p>
            <a:pPr marL="228594" lvl="1" indent="-228594" defTabSz="829713">
              <a:lnSpc>
                <a:spcPct val="90000"/>
              </a:lnSpc>
              <a:spcBef>
                <a:spcPct val="0"/>
              </a:spcBef>
              <a:spcAft>
                <a:spcPts val="800"/>
              </a:spcAft>
              <a:buClr>
                <a:srgbClr val="436297"/>
              </a:buClr>
              <a:buFont typeface="Wingdings" panose="05000000000000000000" pitchFamily="2" charset="2"/>
              <a:buChar char="ü"/>
            </a:pPr>
            <a:r>
              <a:rPr lang="el-GR" sz="1333" dirty="0">
                <a:solidFill>
                  <a:srgbClr val="286098"/>
                </a:solidFill>
                <a:ea typeface="Urbanist" panose="020B0604020202020204" charset="0"/>
                <a:cs typeface="Urbanist" panose="020B0604020202020204" charset="0"/>
              </a:rPr>
              <a:t>Εγγύηση: </a:t>
            </a:r>
            <a:r>
              <a:rPr lang="el-GR" sz="1333" b="1" dirty="0">
                <a:solidFill>
                  <a:srgbClr val="00B0F0"/>
                </a:solidFill>
                <a:ea typeface="Urbanist" panose="020B0604020202020204" charset="0"/>
                <a:cs typeface="Urbanist" panose="020B0604020202020204" charset="0"/>
              </a:rPr>
              <a:t>80% ανά δάνειο</a:t>
            </a:r>
          </a:p>
          <a:p>
            <a:pPr marL="228594" lvl="1" indent="-228594" defTabSz="829713">
              <a:lnSpc>
                <a:spcPct val="90000"/>
              </a:lnSpc>
              <a:spcBef>
                <a:spcPct val="0"/>
              </a:spcBef>
              <a:spcAft>
                <a:spcPts val="800"/>
              </a:spcAft>
              <a:buClr>
                <a:srgbClr val="436297"/>
              </a:buClr>
              <a:buFont typeface="Wingdings" panose="05000000000000000000" pitchFamily="2" charset="2"/>
              <a:buChar char="ü"/>
            </a:pPr>
            <a:r>
              <a:rPr lang="el-GR" sz="1333" dirty="0">
                <a:solidFill>
                  <a:srgbClr val="286098"/>
                </a:solidFill>
                <a:ea typeface="Urbanist" panose="020B0604020202020204" charset="0"/>
                <a:cs typeface="Urbanist" panose="020B0604020202020204" charset="0"/>
              </a:rPr>
              <a:t>Επιδότηση Επιτοκίου: </a:t>
            </a:r>
            <a:r>
              <a:rPr lang="el-GR" sz="1333" b="1" dirty="0">
                <a:solidFill>
                  <a:srgbClr val="00B0F0"/>
                </a:solidFill>
                <a:ea typeface="Urbanist" panose="020B0604020202020204" charset="0"/>
                <a:cs typeface="Urbanist" panose="020B0604020202020204" charset="0"/>
              </a:rPr>
              <a:t>3% για 2 έτη</a:t>
            </a:r>
          </a:p>
          <a:p>
            <a:pPr marL="228594" lvl="1" indent="-228594" defTabSz="829713">
              <a:lnSpc>
                <a:spcPct val="90000"/>
              </a:lnSpc>
              <a:spcBef>
                <a:spcPct val="0"/>
              </a:spcBef>
              <a:spcAft>
                <a:spcPts val="800"/>
              </a:spcAft>
              <a:buClr>
                <a:srgbClr val="436297"/>
              </a:buClr>
              <a:buFont typeface="Wingdings" panose="05000000000000000000" pitchFamily="2" charset="2"/>
              <a:buChar char="ü"/>
            </a:pPr>
            <a:r>
              <a:rPr lang="el-GR" sz="1333" dirty="0">
                <a:solidFill>
                  <a:srgbClr val="286098"/>
                </a:solidFill>
                <a:ea typeface="Urbanist" panose="020B0604020202020204" charset="0"/>
                <a:cs typeface="Urbanist" panose="020B0604020202020204" charset="0"/>
              </a:rPr>
              <a:t>Διάρκεια δανείου: </a:t>
            </a:r>
            <a:r>
              <a:rPr lang="el-GR" sz="1333" b="1" dirty="0">
                <a:solidFill>
                  <a:srgbClr val="00B0F0"/>
                </a:solidFill>
                <a:ea typeface="Urbanist" panose="020B0604020202020204" charset="0"/>
                <a:cs typeface="Urbanist" panose="020B0604020202020204" charset="0"/>
              </a:rPr>
              <a:t>2-12 έτη </a:t>
            </a:r>
            <a:endParaRPr lang="el-GR" sz="1333" b="1" dirty="0">
              <a:solidFill>
                <a:srgbClr val="00B0F0"/>
              </a:solidFill>
              <a:ea typeface="Urbanist" panose="020B0604020202020204" charset="0"/>
              <a:cs typeface="Urbanist" panose="020B0604020202020204" charset="0"/>
              <a:sym typeface="Montserrat Medium"/>
            </a:endParaRPr>
          </a:p>
        </p:txBody>
      </p:sp>
    </p:spTree>
    <p:extLst>
      <p:ext uri="{BB962C8B-B14F-4D97-AF65-F5344CB8AC3E}">
        <p14:creationId xmlns:p14="http://schemas.microsoft.com/office/powerpoint/2010/main" val="34410074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6471F3-89AA-3588-1385-DF71A9FF7ECE}"/>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62BBE6CA-FE56-BA7A-2733-331A93362FD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76" name="think-cell Slide" r:id="rId4" imgW="350" imgH="350" progId="TCLayout.ActiveDocument.1">
                  <p:embed/>
                </p:oleObj>
              </mc:Choice>
              <mc:Fallback>
                <p:oleObj name="think-cell Slide" r:id="rId4" imgW="350" imgH="350" progId="TCLayout.ActiveDocument.1">
                  <p:embed/>
                  <p:pic>
                    <p:nvPicPr>
                      <p:cNvPr id="20" name="think-cell data - do not delete" hidden="1">
                        <a:extLst>
                          <a:ext uri="{FF2B5EF4-FFF2-40B4-BE49-F238E27FC236}">
                            <a16:creationId xmlns:a16="http://schemas.microsoft.com/office/drawing/2014/main" id="{62BBE6CA-FE56-BA7A-2733-331A93362FD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62" name="TextBox 161">
            <a:extLst>
              <a:ext uri="{FF2B5EF4-FFF2-40B4-BE49-F238E27FC236}">
                <a16:creationId xmlns:a16="http://schemas.microsoft.com/office/drawing/2014/main" id="{9F9F80FE-6736-ABB7-4BB2-3971261FAACA}"/>
              </a:ext>
            </a:extLst>
          </p:cNvPr>
          <p:cNvSpPr txBox="1"/>
          <p:nvPr/>
        </p:nvSpPr>
        <p:spPr>
          <a:xfrm>
            <a:off x="8514821" y="1039328"/>
            <a:ext cx="645675"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kern="1200" dirty="0">
                <a:solidFill>
                  <a:srgbClr val="16518B"/>
                </a:solidFill>
                <a:latin typeface="Arial" panose="020B0604020202020204" pitchFamily="34" charset="0"/>
                <a:ea typeface="+mn-ea"/>
                <a:cs typeface="Arial" panose="020B0604020202020204" pitchFamily="34" charset="0"/>
              </a:rPr>
              <a:t>Π/Υ</a:t>
            </a:r>
            <a:endParaRPr lang="el-GR" sz="1800" kern="1200" dirty="0">
              <a:solidFill>
                <a:srgbClr val="16518B"/>
              </a:solidFill>
              <a:latin typeface="Arial" panose="020B0604020202020204" pitchFamily="34" charset="0"/>
              <a:ea typeface="+mn-ea"/>
              <a:cs typeface="Arial" panose="020B0604020202020204" pitchFamily="34" charset="0"/>
            </a:endParaRPr>
          </a:p>
        </p:txBody>
      </p:sp>
      <p:sp>
        <p:nvSpPr>
          <p:cNvPr id="163" name="TextBox 162">
            <a:extLst>
              <a:ext uri="{FF2B5EF4-FFF2-40B4-BE49-F238E27FC236}">
                <a16:creationId xmlns:a16="http://schemas.microsoft.com/office/drawing/2014/main" id="{303EAC9D-5854-C53C-8C39-8B5363136958}"/>
              </a:ext>
            </a:extLst>
          </p:cNvPr>
          <p:cNvSpPr txBox="1"/>
          <p:nvPr/>
        </p:nvSpPr>
        <p:spPr>
          <a:xfrm>
            <a:off x="10138118" y="869012"/>
            <a:ext cx="1555511" cy="523220"/>
          </a:xfrm>
          <a:prstGeom prst="rect">
            <a:avLst/>
          </a:prstGeom>
          <a:noFill/>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just" defTabSz="457189">
              <a:buClrTx/>
              <a:defRPr/>
            </a:pPr>
            <a:r>
              <a:rPr lang="el-GR" sz="1400" b="1" dirty="0">
                <a:solidFill>
                  <a:srgbClr val="1F497D"/>
                </a:solidFill>
                <a:latin typeface="Arial" panose="020B0604020202020204" pitchFamily="34" charset="0"/>
                <a:cs typeface="Arial" panose="020B0604020202020204" pitchFamily="34" charset="0"/>
              </a:rPr>
              <a:t>Ενδεικτικοί Δικαιούχοι</a:t>
            </a:r>
            <a:endParaRPr lang="en-US" sz="1400" b="1" dirty="0">
              <a:solidFill>
                <a:srgbClr val="1F497D"/>
              </a:solidFill>
              <a:latin typeface="Arial" panose="020B0604020202020204" pitchFamily="34" charset="0"/>
              <a:cs typeface="Arial" panose="020B0604020202020204" pitchFamily="34" charset="0"/>
            </a:endParaRPr>
          </a:p>
        </p:txBody>
      </p:sp>
      <p:sp>
        <p:nvSpPr>
          <p:cNvPr id="164" name="TextBox 163">
            <a:extLst>
              <a:ext uri="{FF2B5EF4-FFF2-40B4-BE49-F238E27FC236}">
                <a16:creationId xmlns:a16="http://schemas.microsoft.com/office/drawing/2014/main" id="{59E84CBA-D511-3B73-400D-92FA6E08B898}"/>
              </a:ext>
            </a:extLst>
          </p:cNvPr>
          <p:cNvSpPr txBox="1"/>
          <p:nvPr/>
        </p:nvSpPr>
        <p:spPr>
          <a:xfrm>
            <a:off x="-573121" y="857475"/>
            <a:ext cx="5836053" cy="461665"/>
          </a:xfrm>
          <a:prstGeom prst="rect">
            <a:avLst/>
          </a:prstGeom>
          <a:noFill/>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914377">
              <a:buClrTx/>
              <a:defRPr/>
            </a:pPr>
            <a:r>
              <a:rPr lang="el-GR" sz="2400" b="1" dirty="0">
                <a:solidFill>
                  <a:srgbClr val="0F4E8C"/>
                </a:solidFill>
                <a:latin typeface="Arial" panose="020B0604020202020204" pitchFamily="34" charset="0"/>
                <a:cs typeface="Arial" panose="020B0604020202020204" pitchFamily="34" charset="0"/>
              </a:rPr>
              <a:t>Ενεργές Προσκλήσεις</a:t>
            </a:r>
          </a:p>
        </p:txBody>
      </p:sp>
      <p:cxnSp>
        <p:nvCxnSpPr>
          <p:cNvPr id="165" name="Straight Connector 40">
            <a:extLst>
              <a:ext uri="{FF2B5EF4-FFF2-40B4-BE49-F238E27FC236}">
                <a16:creationId xmlns:a16="http://schemas.microsoft.com/office/drawing/2014/main" id="{699EACF3-78CE-DEE5-382E-C41B393791B7}"/>
              </a:ext>
            </a:extLst>
          </p:cNvPr>
          <p:cNvCxnSpPr>
            <a:cxnSpLocks/>
          </p:cNvCxnSpPr>
          <p:nvPr/>
        </p:nvCxnSpPr>
        <p:spPr>
          <a:xfrm>
            <a:off x="7893291" y="685800"/>
            <a:ext cx="0" cy="5040000"/>
          </a:xfrm>
          <a:prstGeom prst="line">
            <a:avLst/>
          </a:prstGeom>
          <a:ln w="127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6" name="Straight Connector 43">
            <a:extLst>
              <a:ext uri="{FF2B5EF4-FFF2-40B4-BE49-F238E27FC236}">
                <a16:creationId xmlns:a16="http://schemas.microsoft.com/office/drawing/2014/main" id="{F4DA5DAA-93C1-914B-B2DC-E1BA338CEDEB}"/>
              </a:ext>
            </a:extLst>
          </p:cNvPr>
          <p:cNvCxnSpPr>
            <a:cxnSpLocks/>
          </p:cNvCxnSpPr>
          <p:nvPr/>
        </p:nvCxnSpPr>
        <p:spPr>
          <a:xfrm>
            <a:off x="9384193" y="685800"/>
            <a:ext cx="0" cy="5040000"/>
          </a:xfrm>
          <a:prstGeom prst="line">
            <a:avLst/>
          </a:prstGeom>
          <a:ln w="127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61" name="Google Shape;4809;p146">
            <a:extLst>
              <a:ext uri="{FF2B5EF4-FFF2-40B4-BE49-F238E27FC236}">
                <a16:creationId xmlns:a16="http://schemas.microsoft.com/office/drawing/2014/main" id="{94359526-6457-13EC-1AFE-F0296ED68216}"/>
              </a:ext>
            </a:extLst>
          </p:cNvPr>
          <p:cNvSpPr>
            <a:spLocks/>
          </p:cNvSpPr>
          <p:nvPr/>
        </p:nvSpPr>
        <p:spPr>
          <a:xfrm>
            <a:off x="800767" y="1619210"/>
            <a:ext cx="7046053" cy="246221"/>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dirty="0">
                <a:solidFill>
                  <a:srgbClr val="0F4E8C"/>
                </a:solidFill>
                <a:latin typeface="Arial" panose="020B0604020202020204" pitchFamily="34" charset="0"/>
                <a:cs typeface="Arial" panose="020B0604020202020204" pitchFamily="34" charset="0"/>
              </a:rPr>
              <a:t>Εργασίες αποκατάστασης </a:t>
            </a:r>
            <a:r>
              <a:rPr lang="el-GR" sz="1600" dirty="0">
                <a:solidFill>
                  <a:srgbClr val="0F4E8C"/>
                </a:solidFill>
                <a:latin typeface="Arial" panose="020B0604020202020204" pitchFamily="34" charset="0"/>
                <a:cs typeface="Arial" panose="020B0604020202020204" pitchFamily="34" charset="0"/>
              </a:rPr>
              <a:t>και αναγέννησης </a:t>
            </a:r>
            <a:r>
              <a:rPr lang="el-GR" sz="1600" b="1" dirty="0">
                <a:solidFill>
                  <a:srgbClr val="0F4E8C"/>
                </a:solidFill>
                <a:latin typeface="Arial" panose="020B0604020202020204" pitchFamily="34" charset="0"/>
                <a:cs typeface="Arial" panose="020B0604020202020204" pitchFamily="34" charset="0"/>
              </a:rPr>
              <a:t>Ορυχείου </a:t>
            </a:r>
            <a:r>
              <a:rPr lang="el-GR" sz="1600" b="1" dirty="0" err="1">
                <a:solidFill>
                  <a:srgbClr val="0F4E8C"/>
                </a:solidFill>
                <a:latin typeface="Arial" panose="020B0604020202020204" pitchFamily="34" charset="0"/>
                <a:cs typeface="Arial" panose="020B0604020202020204" pitchFamily="34" charset="0"/>
              </a:rPr>
              <a:t>Βεγόρας</a:t>
            </a:r>
            <a:endParaRPr lang="el-GR" sz="1600" b="1" dirty="0">
              <a:solidFill>
                <a:srgbClr val="0F4E8C"/>
              </a:solidFill>
              <a:latin typeface="Arial" panose="020B0604020202020204" pitchFamily="34" charset="0"/>
              <a:cs typeface="Arial" panose="020B0604020202020204" pitchFamily="34" charset="0"/>
            </a:endParaRPr>
          </a:p>
        </p:txBody>
      </p:sp>
      <p:sp>
        <p:nvSpPr>
          <p:cNvPr id="167" name="TextBox 166">
            <a:extLst>
              <a:ext uri="{FF2B5EF4-FFF2-40B4-BE49-F238E27FC236}">
                <a16:creationId xmlns:a16="http://schemas.microsoft.com/office/drawing/2014/main" id="{7C3F4B70-D2EC-53B8-37E4-7DB7F706239C}"/>
              </a:ext>
            </a:extLst>
          </p:cNvPr>
          <p:cNvSpPr txBox="1"/>
          <p:nvPr/>
        </p:nvSpPr>
        <p:spPr>
          <a:xfrm>
            <a:off x="8206455" y="1664108"/>
            <a:ext cx="786637"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kern="1200" dirty="0">
                <a:solidFill>
                  <a:srgbClr val="17518C"/>
                </a:solidFill>
                <a:latin typeface="Arial" panose="020B0604020202020204" pitchFamily="34" charset="0"/>
                <a:ea typeface="+mn-ea"/>
                <a:cs typeface="Arial" panose="020B0604020202020204" pitchFamily="34" charset="0"/>
              </a:rPr>
              <a:t>30 εκ.€</a:t>
            </a:r>
          </a:p>
        </p:txBody>
      </p:sp>
      <p:sp>
        <p:nvSpPr>
          <p:cNvPr id="168" name="TextBox 167">
            <a:extLst>
              <a:ext uri="{FF2B5EF4-FFF2-40B4-BE49-F238E27FC236}">
                <a16:creationId xmlns:a16="http://schemas.microsoft.com/office/drawing/2014/main" id="{3D89538E-3501-5EF2-152B-1B7877D322A0}"/>
              </a:ext>
            </a:extLst>
          </p:cNvPr>
          <p:cNvSpPr txBox="1"/>
          <p:nvPr/>
        </p:nvSpPr>
        <p:spPr>
          <a:xfrm>
            <a:off x="9610375" y="1619210"/>
            <a:ext cx="2822669"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dirty="0">
                <a:solidFill>
                  <a:srgbClr val="00B0F0"/>
                </a:solidFill>
                <a:latin typeface="Arial" panose="020B0604020202020204" pitchFamily="34" charset="0"/>
                <a:cs typeface="Arial" panose="020B0604020202020204" pitchFamily="34" charset="0"/>
              </a:rPr>
              <a:t>Δήμος Αμυνταίου</a:t>
            </a:r>
          </a:p>
        </p:txBody>
      </p:sp>
      <p:sp>
        <p:nvSpPr>
          <p:cNvPr id="175" name="TextBox 174">
            <a:extLst>
              <a:ext uri="{FF2B5EF4-FFF2-40B4-BE49-F238E27FC236}">
                <a16:creationId xmlns:a16="http://schemas.microsoft.com/office/drawing/2014/main" id="{C4951A36-9361-6D1D-9F8C-1AC21145623F}"/>
              </a:ext>
            </a:extLst>
          </p:cNvPr>
          <p:cNvSpPr txBox="1"/>
          <p:nvPr/>
        </p:nvSpPr>
        <p:spPr>
          <a:xfrm>
            <a:off x="218505" y="2095233"/>
            <a:ext cx="400001" cy="461665"/>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828754">
              <a:buClrTx/>
              <a:defRPr/>
            </a:pPr>
            <a:r>
              <a:rPr lang="el-GR" sz="2400" kern="1200" dirty="0">
                <a:solidFill>
                  <a:srgbClr val="18BFDD"/>
                </a:solidFill>
                <a:latin typeface="Trebuchet MS" panose="020B0603020202020204" pitchFamily="34" charset="0"/>
                <a:ea typeface="+mn-ea"/>
                <a:cs typeface="+mn-cs"/>
                <a:sym typeface="Wingdings" panose="05000000000000000000" pitchFamily="2" charset="2"/>
              </a:rPr>
              <a:t></a:t>
            </a:r>
            <a:endParaRPr lang="el-GR" sz="2400" kern="1200" dirty="0">
              <a:solidFill>
                <a:srgbClr val="18BFDD"/>
              </a:solidFill>
              <a:latin typeface="Trebuchet MS" panose="020B0603020202020204" pitchFamily="34" charset="0"/>
              <a:ea typeface="+mn-ea"/>
              <a:cs typeface="+mn-cs"/>
            </a:endParaRPr>
          </a:p>
        </p:txBody>
      </p:sp>
      <p:cxnSp>
        <p:nvCxnSpPr>
          <p:cNvPr id="177" name="Ευθεία γραμμή σύνδεσης 34">
            <a:extLst>
              <a:ext uri="{FF2B5EF4-FFF2-40B4-BE49-F238E27FC236}">
                <a16:creationId xmlns:a16="http://schemas.microsoft.com/office/drawing/2014/main" id="{C5C77E59-B643-7BD1-56D6-B6F5441A28DB}"/>
              </a:ext>
            </a:extLst>
          </p:cNvPr>
          <p:cNvCxnSpPr>
            <a:cxnSpLocks/>
          </p:cNvCxnSpPr>
          <p:nvPr/>
        </p:nvCxnSpPr>
        <p:spPr>
          <a:xfrm>
            <a:off x="181819" y="1352014"/>
            <a:ext cx="11657999" cy="30847"/>
          </a:xfrm>
          <a:prstGeom prst="line">
            <a:avLst/>
          </a:prstGeom>
          <a:noFill/>
          <a:ln w="9525" cap="flat">
            <a:solidFill>
              <a:srgbClr val="00B0F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sp>
        <p:nvSpPr>
          <p:cNvPr id="215" name="TextBox 214">
            <a:extLst>
              <a:ext uri="{FF2B5EF4-FFF2-40B4-BE49-F238E27FC236}">
                <a16:creationId xmlns:a16="http://schemas.microsoft.com/office/drawing/2014/main" id="{D519AE6C-7767-C4D3-DA9E-511CEB01A55D}"/>
              </a:ext>
            </a:extLst>
          </p:cNvPr>
          <p:cNvSpPr txBox="1"/>
          <p:nvPr/>
        </p:nvSpPr>
        <p:spPr>
          <a:xfrm>
            <a:off x="8237929" y="2201202"/>
            <a:ext cx="786631"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kern="1200" dirty="0">
                <a:solidFill>
                  <a:srgbClr val="17518C"/>
                </a:solidFill>
                <a:latin typeface="Arial" panose="020B0604020202020204" pitchFamily="34" charset="0"/>
                <a:ea typeface="+mn-ea"/>
                <a:cs typeface="Arial" panose="020B0604020202020204" pitchFamily="34" charset="0"/>
              </a:rPr>
              <a:t>7,9 εκ.€</a:t>
            </a:r>
          </a:p>
        </p:txBody>
      </p:sp>
      <p:sp>
        <p:nvSpPr>
          <p:cNvPr id="216" name="TextBox 215">
            <a:extLst>
              <a:ext uri="{FF2B5EF4-FFF2-40B4-BE49-F238E27FC236}">
                <a16:creationId xmlns:a16="http://schemas.microsoft.com/office/drawing/2014/main" id="{F7EACE12-1EAB-2C54-4832-2A090FDF0E8B}"/>
              </a:ext>
            </a:extLst>
          </p:cNvPr>
          <p:cNvSpPr txBox="1"/>
          <p:nvPr/>
        </p:nvSpPr>
        <p:spPr>
          <a:xfrm>
            <a:off x="771999" y="2112384"/>
            <a:ext cx="7092524" cy="492443"/>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kern="1200" dirty="0">
                <a:solidFill>
                  <a:srgbClr val="17518C"/>
                </a:solidFill>
                <a:latin typeface="Arial" panose="020B0604020202020204" pitchFamily="34" charset="0"/>
                <a:ea typeface="+mn-ea"/>
                <a:cs typeface="Arial" panose="020B0604020202020204" pitchFamily="34" charset="0"/>
              </a:rPr>
              <a:t>Εγκατάσταση και </a:t>
            </a:r>
            <a:r>
              <a:rPr lang="el-GR" sz="1600" b="1" kern="1200" dirty="0">
                <a:solidFill>
                  <a:srgbClr val="17518C"/>
                </a:solidFill>
                <a:latin typeface="Arial" panose="020B0604020202020204" pitchFamily="34" charset="0"/>
                <a:ea typeface="+mn-ea"/>
                <a:cs typeface="Arial" panose="020B0604020202020204" pitchFamily="34" charset="0"/>
              </a:rPr>
              <a:t>Λειτουργία Πιλοτικής Μονάδας ΣΗΘΥΑ </a:t>
            </a:r>
            <a:r>
              <a:rPr lang="el-GR" sz="1600" kern="1200" dirty="0">
                <a:solidFill>
                  <a:srgbClr val="17518C"/>
                </a:solidFill>
                <a:latin typeface="Arial" panose="020B0604020202020204" pitchFamily="34" charset="0"/>
                <a:ea typeface="+mn-ea"/>
                <a:cs typeface="Arial" panose="020B0604020202020204" pitchFamily="34" charset="0"/>
              </a:rPr>
              <a:t>κελιού καυσίμου &amp; ΑΠΕ </a:t>
            </a:r>
            <a:r>
              <a:rPr lang="el-GR" sz="1600" b="1" kern="1200" dirty="0">
                <a:solidFill>
                  <a:srgbClr val="17518C"/>
                </a:solidFill>
                <a:latin typeface="Arial" panose="020B0604020202020204" pitchFamily="34" charset="0"/>
                <a:ea typeface="+mn-ea"/>
                <a:cs typeface="Arial" panose="020B0604020202020204" pitchFamily="34" charset="0"/>
              </a:rPr>
              <a:t>με χρήση Η2 </a:t>
            </a:r>
            <a:r>
              <a:rPr lang="el-GR" sz="1600" kern="1200" dirty="0">
                <a:solidFill>
                  <a:srgbClr val="17518C"/>
                </a:solidFill>
                <a:latin typeface="Arial" panose="020B0604020202020204" pitchFamily="34" charset="0"/>
                <a:cs typeface="Arial" panose="020B0604020202020204" pitchFamily="34" charset="0"/>
              </a:rPr>
              <a:t>(</a:t>
            </a:r>
            <a:r>
              <a:rPr lang="el-GR" sz="1600" b="1" kern="1200" dirty="0" err="1">
                <a:solidFill>
                  <a:srgbClr val="17518C"/>
                </a:solidFill>
                <a:latin typeface="Arial" panose="020B0604020202020204" pitchFamily="34" charset="0"/>
                <a:cs typeface="Arial" panose="020B0604020202020204" pitchFamily="34" charset="0"/>
              </a:rPr>
              <a:t>Μποδοσάκειο</a:t>
            </a:r>
            <a:r>
              <a:rPr lang="el-GR" sz="1600" b="1" kern="1200" dirty="0">
                <a:solidFill>
                  <a:srgbClr val="17518C"/>
                </a:solidFill>
                <a:latin typeface="Arial" panose="020B0604020202020204" pitchFamily="34" charset="0"/>
                <a:cs typeface="Arial" panose="020B0604020202020204" pitchFamily="34" charset="0"/>
              </a:rPr>
              <a:t> Γενικό Νοσοκομείο Πτολεμαΐδας</a:t>
            </a:r>
            <a:r>
              <a:rPr lang="el-GR" sz="1600" kern="1200" dirty="0">
                <a:solidFill>
                  <a:srgbClr val="17518C"/>
                </a:solidFill>
                <a:latin typeface="Arial" panose="020B0604020202020204" pitchFamily="34" charset="0"/>
                <a:cs typeface="Arial" panose="020B0604020202020204" pitchFamily="34" charset="0"/>
              </a:rPr>
              <a:t>)</a:t>
            </a:r>
            <a:endParaRPr lang="el-GR" sz="1600" kern="1200" dirty="0">
              <a:solidFill>
                <a:srgbClr val="17518C"/>
              </a:solidFill>
              <a:latin typeface="Arial" panose="020B0604020202020204" pitchFamily="34" charset="0"/>
              <a:ea typeface="+mn-ea"/>
              <a:cs typeface="Arial" panose="020B0604020202020204" pitchFamily="34" charset="0"/>
            </a:endParaRPr>
          </a:p>
        </p:txBody>
      </p:sp>
      <p:sp>
        <p:nvSpPr>
          <p:cNvPr id="217" name="TextBox 216">
            <a:extLst>
              <a:ext uri="{FF2B5EF4-FFF2-40B4-BE49-F238E27FC236}">
                <a16:creationId xmlns:a16="http://schemas.microsoft.com/office/drawing/2014/main" id="{B2E89CA0-808B-206F-96AB-8AF415602C44}"/>
              </a:ext>
            </a:extLst>
          </p:cNvPr>
          <p:cNvSpPr txBox="1"/>
          <p:nvPr/>
        </p:nvSpPr>
        <p:spPr>
          <a:xfrm>
            <a:off x="207113" y="1538647"/>
            <a:ext cx="400001" cy="461665"/>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828754">
              <a:buClrTx/>
              <a:defRPr/>
            </a:pPr>
            <a:r>
              <a:rPr lang="el-GR" sz="2400" kern="1200" dirty="0">
                <a:solidFill>
                  <a:srgbClr val="18BFDD"/>
                </a:solidFill>
                <a:latin typeface="Trebuchet MS" panose="020B0603020202020204" pitchFamily="34" charset="0"/>
                <a:ea typeface="+mn-ea"/>
                <a:cs typeface="+mn-cs"/>
                <a:sym typeface="Wingdings" panose="05000000000000000000" pitchFamily="2" charset="2"/>
              </a:rPr>
              <a:t></a:t>
            </a:r>
            <a:endParaRPr lang="el-GR" sz="2400" kern="1200" dirty="0">
              <a:solidFill>
                <a:srgbClr val="18BFDD"/>
              </a:solidFill>
              <a:latin typeface="Trebuchet MS" panose="020B0603020202020204" pitchFamily="34" charset="0"/>
              <a:ea typeface="+mn-ea"/>
              <a:cs typeface="+mn-cs"/>
            </a:endParaRPr>
          </a:p>
        </p:txBody>
      </p:sp>
      <p:sp>
        <p:nvSpPr>
          <p:cNvPr id="218" name="TextBox 217">
            <a:extLst>
              <a:ext uri="{FF2B5EF4-FFF2-40B4-BE49-F238E27FC236}">
                <a16:creationId xmlns:a16="http://schemas.microsoft.com/office/drawing/2014/main" id="{C9EB1740-34E8-2D90-60BE-24F560959BAE}"/>
              </a:ext>
            </a:extLst>
          </p:cNvPr>
          <p:cNvSpPr txBox="1"/>
          <p:nvPr/>
        </p:nvSpPr>
        <p:spPr>
          <a:xfrm>
            <a:off x="9620335" y="2108359"/>
            <a:ext cx="1893936"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dirty="0">
                <a:solidFill>
                  <a:srgbClr val="00B0F0"/>
                </a:solidFill>
                <a:latin typeface="Arial" panose="020B0604020202020204" pitchFamily="34" charset="0"/>
                <a:cs typeface="Arial" panose="020B0604020202020204" pitchFamily="34" charset="0"/>
              </a:rPr>
              <a:t>ΕΚΕΤΑ / ΙΔΕΠ</a:t>
            </a:r>
          </a:p>
        </p:txBody>
      </p:sp>
      <p:sp>
        <p:nvSpPr>
          <p:cNvPr id="3" name="Google Shape;1819;p24">
            <a:extLst>
              <a:ext uri="{FF2B5EF4-FFF2-40B4-BE49-F238E27FC236}">
                <a16:creationId xmlns:a16="http://schemas.microsoft.com/office/drawing/2014/main" id="{BAC564C1-3FAA-9F4E-66EC-838A4EE8E68C}"/>
              </a:ext>
            </a:extLst>
          </p:cNvPr>
          <p:cNvSpPr/>
          <p:nvPr/>
        </p:nvSpPr>
        <p:spPr>
          <a:xfrm>
            <a:off x="9595210" y="969257"/>
            <a:ext cx="396719" cy="322732"/>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rgbClr val="1F497D"/>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buSzPts val="700"/>
            </a:pPr>
            <a:endParaRPr sz="700" b="1">
              <a:solidFill>
                <a:schemeClr val="accent1"/>
              </a:solidFill>
            </a:endParaRPr>
          </a:p>
        </p:txBody>
      </p:sp>
      <p:sp>
        <p:nvSpPr>
          <p:cNvPr id="4" name="Google Shape;1073;p16">
            <a:extLst>
              <a:ext uri="{FF2B5EF4-FFF2-40B4-BE49-F238E27FC236}">
                <a16:creationId xmlns:a16="http://schemas.microsoft.com/office/drawing/2014/main" id="{6F6EBB93-AD88-CED0-60B0-642FD6C4D174}"/>
              </a:ext>
            </a:extLst>
          </p:cNvPr>
          <p:cNvSpPr/>
          <p:nvPr/>
        </p:nvSpPr>
        <p:spPr>
          <a:xfrm>
            <a:off x="8070738" y="972749"/>
            <a:ext cx="303505" cy="322739"/>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5"/>
                  <a:pt x="24" y="25"/>
                  <a:pt x="24" y="25"/>
                </a:cubicBezTo>
                <a:cubicBezTo>
                  <a:pt x="551" y="25"/>
                  <a:pt x="551" y="25"/>
                  <a:pt x="551" y="25"/>
                </a:cubicBezTo>
                <a:lnTo>
                  <a:pt x="551" y="551"/>
                </a:lnTo>
                <a:close/>
                <a:moveTo>
                  <a:pt x="439" y="439"/>
                </a:moveTo>
                <a:cubicBezTo>
                  <a:pt x="412" y="456"/>
                  <a:pt x="381" y="464"/>
                  <a:pt x="346" y="464"/>
                </a:cubicBezTo>
                <a:cubicBezTo>
                  <a:pt x="293" y="464"/>
                  <a:pt x="250" y="447"/>
                  <a:pt x="215" y="413"/>
                </a:cubicBezTo>
                <a:cubicBezTo>
                  <a:pt x="196" y="394"/>
                  <a:pt x="182" y="373"/>
                  <a:pt x="173" y="349"/>
                </a:cubicBezTo>
                <a:cubicBezTo>
                  <a:pt x="110" y="349"/>
                  <a:pt x="110" y="349"/>
                  <a:pt x="110" y="349"/>
                </a:cubicBezTo>
                <a:cubicBezTo>
                  <a:pt x="128" y="305"/>
                  <a:pt x="128" y="305"/>
                  <a:pt x="128" y="305"/>
                </a:cubicBezTo>
                <a:cubicBezTo>
                  <a:pt x="164" y="305"/>
                  <a:pt x="164" y="305"/>
                  <a:pt x="164" y="305"/>
                </a:cubicBezTo>
                <a:cubicBezTo>
                  <a:pt x="164" y="299"/>
                  <a:pt x="163" y="293"/>
                  <a:pt x="163" y="287"/>
                </a:cubicBezTo>
                <a:cubicBezTo>
                  <a:pt x="163" y="281"/>
                  <a:pt x="164" y="275"/>
                  <a:pt x="164" y="269"/>
                </a:cubicBezTo>
                <a:cubicBezTo>
                  <a:pt x="110" y="269"/>
                  <a:pt x="110" y="269"/>
                  <a:pt x="110" y="269"/>
                </a:cubicBezTo>
                <a:cubicBezTo>
                  <a:pt x="128" y="225"/>
                  <a:pt x="128" y="225"/>
                  <a:pt x="128" y="225"/>
                </a:cubicBezTo>
                <a:cubicBezTo>
                  <a:pt x="173" y="225"/>
                  <a:pt x="173" y="225"/>
                  <a:pt x="173" y="225"/>
                </a:cubicBezTo>
                <a:cubicBezTo>
                  <a:pt x="182" y="201"/>
                  <a:pt x="196" y="179"/>
                  <a:pt x="215" y="160"/>
                </a:cubicBezTo>
                <a:cubicBezTo>
                  <a:pt x="250" y="127"/>
                  <a:pt x="293" y="110"/>
                  <a:pt x="346" y="110"/>
                </a:cubicBezTo>
                <a:cubicBezTo>
                  <a:pt x="380" y="110"/>
                  <a:pt x="410" y="118"/>
                  <a:pt x="437" y="133"/>
                </a:cubicBezTo>
                <a:cubicBezTo>
                  <a:pt x="415" y="186"/>
                  <a:pt x="415" y="186"/>
                  <a:pt x="415" y="186"/>
                </a:cubicBezTo>
                <a:cubicBezTo>
                  <a:pt x="409" y="182"/>
                  <a:pt x="402" y="178"/>
                  <a:pt x="396" y="175"/>
                </a:cubicBezTo>
                <a:cubicBezTo>
                  <a:pt x="381" y="169"/>
                  <a:pt x="364" y="166"/>
                  <a:pt x="345" y="166"/>
                </a:cubicBezTo>
                <a:cubicBezTo>
                  <a:pt x="311" y="166"/>
                  <a:pt x="282" y="177"/>
                  <a:pt x="258" y="199"/>
                </a:cubicBezTo>
                <a:cubicBezTo>
                  <a:pt x="250" y="207"/>
                  <a:pt x="243" y="216"/>
                  <a:pt x="238" y="225"/>
                </a:cubicBezTo>
                <a:cubicBezTo>
                  <a:pt x="399" y="225"/>
                  <a:pt x="399" y="225"/>
                  <a:pt x="399" y="225"/>
                </a:cubicBezTo>
                <a:cubicBezTo>
                  <a:pt x="381" y="269"/>
                  <a:pt x="381" y="269"/>
                  <a:pt x="381" y="269"/>
                </a:cubicBezTo>
                <a:cubicBezTo>
                  <a:pt x="224" y="269"/>
                  <a:pt x="224" y="269"/>
                  <a:pt x="224" y="269"/>
                </a:cubicBezTo>
                <a:cubicBezTo>
                  <a:pt x="224" y="274"/>
                  <a:pt x="223" y="279"/>
                  <a:pt x="223" y="285"/>
                </a:cubicBezTo>
                <a:cubicBezTo>
                  <a:pt x="223" y="285"/>
                  <a:pt x="223" y="286"/>
                  <a:pt x="223" y="287"/>
                </a:cubicBezTo>
                <a:cubicBezTo>
                  <a:pt x="223" y="288"/>
                  <a:pt x="223" y="288"/>
                  <a:pt x="223" y="289"/>
                </a:cubicBezTo>
                <a:cubicBezTo>
                  <a:pt x="223" y="295"/>
                  <a:pt x="224" y="300"/>
                  <a:pt x="224" y="305"/>
                </a:cubicBezTo>
                <a:cubicBezTo>
                  <a:pt x="366" y="305"/>
                  <a:pt x="366" y="305"/>
                  <a:pt x="366" y="305"/>
                </a:cubicBezTo>
                <a:cubicBezTo>
                  <a:pt x="349" y="349"/>
                  <a:pt x="349" y="349"/>
                  <a:pt x="349" y="349"/>
                </a:cubicBezTo>
                <a:cubicBezTo>
                  <a:pt x="238" y="349"/>
                  <a:pt x="238" y="349"/>
                  <a:pt x="238" y="349"/>
                </a:cubicBezTo>
                <a:cubicBezTo>
                  <a:pt x="243" y="358"/>
                  <a:pt x="250" y="366"/>
                  <a:pt x="258" y="374"/>
                </a:cubicBezTo>
                <a:cubicBezTo>
                  <a:pt x="282" y="396"/>
                  <a:pt x="311" y="408"/>
                  <a:pt x="345" y="408"/>
                </a:cubicBezTo>
                <a:cubicBezTo>
                  <a:pt x="364" y="408"/>
                  <a:pt x="381" y="404"/>
                  <a:pt x="396" y="398"/>
                </a:cubicBezTo>
                <a:cubicBezTo>
                  <a:pt x="403" y="395"/>
                  <a:pt x="409" y="392"/>
                  <a:pt x="416" y="387"/>
                </a:cubicBezTo>
                <a:cubicBezTo>
                  <a:pt x="428" y="413"/>
                  <a:pt x="430" y="419"/>
                  <a:pt x="439" y="439"/>
                </a:cubicBezTo>
                <a:close/>
              </a:path>
            </a:pathLst>
          </a:custGeom>
          <a:solidFill>
            <a:srgbClr val="104D8C"/>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buSzPts val="700"/>
            </a:pPr>
            <a:endParaRPr sz="700">
              <a:solidFill>
                <a:schemeClr val="accent1"/>
              </a:solidFill>
            </a:endParaRPr>
          </a:p>
        </p:txBody>
      </p:sp>
      <p:sp>
        <p:nvSpPr>
          <p:cNvPr id="6" name="TextBox 5">
            <a:extLst>
              <a:ext uri="{FF2B5EF4-FFF2-40B4-BE49-F238E27FC236}">
                <a16:creationId xmlns:a16="http://schemas.microsoft.com/office/drawing/2014/main" id="{490F6E7A-6590-3543-C527-FAA2A5BA23E9}"/>
              </a:ext>
            </a:extLst>
          </p:cNvPr>
          <p:cNvSpPr txBox="1"/>
          <p:nvPr/>
        </p:nvSpPr>
        <p:spPr>
          <a:xfrm>
            <a:off x="205776" y="2974967"/>
            <a:ext cx="400001" cy="461665"/>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828754">
              <a:buClrTx/>
              <a:defRPr/>
            </a:pPr>
            <a:r>
              <a:rPr lang="el-GR" sz="2400" kern="1200" dirty="0">
                <a:solidFill>
                  <a:srgbClr val="18BFDD"/>
                </a:solidFill>
                <a:latin typeface="Trebuchet MS" panose="020B0603020202020204" pitchFamily="34" charset="0"/>
                <a:ea typeface="+mn-ea"/>
                <a:cs typeface="+mn-cs"/>
                <a:sym typeface="Wingdings" panose="05000000000000000000" pitchFamily="2" charset="2"/>
              </a:rPr>
              <a:t></a:t>
            </a:r>
            <a:endParaRPr lang="el-GR" sz="2400" kern="1200" dirty="0">
              <a:solidFill>
                <a:srgbClr val="18BFDD"/>
              </a:solidFill>
              <a:latin typeface="Trebuchet MS" panose="020B0603020202020204" pitchFamily="34" charset="0"/>
              <a:ea typeface="+mn-ea"/>
              <a:cs typeface="+mn-cs"/>
            </a:endParaRPr>
          </a:p>
        </p:txBody>
      </p:sp>
      <p:sp>
        <p:nvSpPr>
          <p:cNvPr id="7" name="TextBox 6">
            <a:extLst>
              <a:ext uri="{FF2B5EF4-FFF2-40B4-BE49-F238E27FC236}">
                <a16:creationId xmlns:a16="http://schemas.microsoft.com/office/drawing/2014/main" id="{6BAD5E10-46DC-B676-34D8-9A47396ADFD2}"/>
              </a:ext>
            </a:extLst>
          </p:cNvPr>
          <p:cNvSpPr txBox="1"/>
          <p:nvPr/>
        </p:nvSpPr>
        <p:spPr>
          <a:xfrm>
            <a:off x="8147977" y="2929298"/>
            <a:ext cx="899539"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kern="1200" dirty="0">
                <a:solidFill>
                  <a:srgbClr val="17518C"/>
                </a:solidFill>
                <a:latin typeface="Arial" panose="020B0604020202020204" pitchFamily="34" charset="0"/>
                <a:ea typeface="+mn-ea"/>
                <a:cs typeface="Arial" panose="020B0604020202020204" pitchFamily="34" charset="0"/>
              </a:rPr>
              <a:t> 16,3 εκ.€</a:t>
            </a:r>
          </a:p>
        </p:txBody>
      </p:sp>
      <p:sp>
        <p:nvSpPr>
          <p:cNvPr id="8" name="TextBox 7">
            <a:extLst>
              <a:ext uri="{FF2B5EF4-FFF2-40B4-BE49-F238E27FC236}">
                <a16:creationId xmlns:a16="http://schemas.microsoft.com/office/drawing/2014/main" id="{7D484B5F-216C-7FA1-53CE-ED683C1EC4CD}"/>
              </a:ext>
            </a:extLst>
          </p:cNvPr>
          <p:cNvSpPr txBox="1"/>
          <p:nvPr/>
        </p:nvSpPr>
        <p:spPr>
          <a:xfrm>
            <a:off x="754295" y="2903997"/>
            <a:ext cx="7092524" cy="492443"/>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kern="1200" dirty="0">
                <a:solidFill>
                  <a:srgbClr val="17518C"/>
                </a:solidFill>
                <a:latin typeface="Arial" panose="020B0604020202020204" pitchFamily="34" charset="0"/>
                <a:ea typeface="+mn-ea"/>
                <a:cs typeface="Arial" panose="020B0604020202020204" pitchFamily="34" charset="0"/>
              </a:rPr>
              <a:t>Στήριξη </a:t>
            </a:r>
            <a:r>
              <a:rPr lang="el-GR" sz="1600" b="1" kern="1200" dirty="0">
                <a:solidFill>
                  <a:srgbClr val="17518C"/>
                </a:solidFill>
                <a:latin typeface="Arial" panose="020B0604020202020204" pitchFamily="34" charset="0"/>
                <a:ea typeface="+mn-ea"/>
                <a:cs typeface="Arial" panose="020B0604020202020204" pitchFamily="34" charset="0"/>
              </a:rPr>
              <a:t>Ενεργειακών Κοινοτήτων </a:t>
            </a:r>
            <a:r>
              <a:rPr lang="el-GR" sz="1600" kern="1200" dirty="0">
                <a:solidFill>
                  <a:srgbClr val="17518C"/>
                </a:solidFill>
                <a:latin typeface="Arial" panose="020B0604020202020204" pitchFamily="34" charset="0"/>
                <a:ea typeface="+mn-ea"/>
                <a:cs typeface="Arial" panose="020B0604020202020204" pitchFamily="34" charset="0"/>
              </a:rPr>
              <a:t>για την ανάπτυξη δράσεων </a:t>
            </a:r>
            <a:r>
              <a:rPr lang="el-GR" sz="1600" kern="1200" dirty="0" err="1">
                <a:solidFill>
                  <a:srgbClr val="17518C"/>
                </a:solidFill>
                <a:latin typeface="Arial" panose="020B0604020202020204" pitchFamily="34" charset="0"/>
                <a:ea typeface="+mn-ea"/>
                <a:cs typeface="Arial" panose="020B0604020202020204" pitchFamily="34" charset="0"/>
              </a:rPr>
              <a:t>αυτοπαραγωγής</a:t>
            </a:r>
            <a:r>
              <a:rPr lang="el-GR" sz="1600" kern="1200" dirty="0">
                <a:solidFill>
                  <a:srgbClr val="17518C"/>
                </a:solidFill>
                <a:latin typeface="Arial" panose="020B0604020202020204" pitchFamily="34" charset="0"/>
                <a:ea typeface="+mn-ea"/>
                <a:cs typeface="Arial" panose="020B0604020202020204" pitchFamily="34" charset="0"/>
              </a:rPr>
              <a:t> (Ενεργειακές Κοινότητες)</a:t>
            </a:r>
          </a:p>
        </p:txBody>
      </p:sp>
      <p:sp>
        <p:nvSpPr>
          <p:cNvPr id="9" name="TextBox 8">
            <a:extLst>
              <a:ext uri="{FF2B5EF4-FFF2-40B4-BE49-F238E27FC236}">
                <a16:creationId xmlns:a16="http://schemas.microsoft.com/office/drawing/2014/main" id="{479B1458-33EF-E11A-6090-3A0D7A762CD7}"/>
              </a:ext>
            </a:extLst>
          </p:cNvPr>
          <p:cNvSpPr txBox="1"/>
          <p:nvPr/>
        </p:nvSpPr>
        <p:spPr>
          <a:xfrm>
            <a:off x="9607892" y="2498255"/>
            <a:ext cx="2514979" cy="1231107"/>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dirty="0">
                <a:solidFill>
                  <a:srgbClr val="00B0F0"/>
                </a:solidFill>
                <a:latin typeface="Arial" panose="020B0604020202020204" pitchFamily="34" charset="0"/>
                <a:cs typeface="Arial" panose="020B0604020202020204" pitchFamily="34" charset="0"/>
              </a:rPr>
              <a:t>Ενεργειακές Κοινότητες &amp; Κοινότητες Ανανεώσιμης Ενέργειας (ΚΑΕ) &amp; Ενεργειακές Κοινότητες Πολιτών (ΕΚΠ)</a:t>
            </a:r>
          </a:p>
        </p:txBody>
      </p:sp>
      <p:sp>
        <p:nvSpPr>
          <p:cNvPr id="10" name="Rectangle 9">
            <a:extLst>
              <a:ext uri="{FF2B5EF4-FFF2-40B4-BE49-F238E27FC236}">
                <a16:creationId xmlns:a16="http://schemas.microsoft.com/office/drawing/2014/main" id="{58F55985-5846-4469-70B9-3EC84BD70182}"/>
              </a:ext>
            </a:extLst>
          </p:cNvPr>
          <p:cNvSpPr/>
          <p:nvPr/>
        </p:nvSpPr>
        <p:spPr>
          <a:xfrm>
            <a:off x="7798819" y="5989524"/>
            <a:ext cx="1821516" cy="330239"/>
          </a:xfrm>
          <a:prstGeom prst="rect">
            <a:avLst/>
          </a:prstGeom>
          <a:noFill/>
          <a:ln>
            <a:solidFill>
              <a:srgbClr val="00B0F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l-GR" sz="2489" b="1" dirty="0">
                <a:solidFill>
                  <a:srgbClr val="1F497D"/>
                </a:solidFill>
                <a:latin typeface="Arial" panose="020B0604020202020204" pitchFamily="34" charset="0"/>
                <a:cs typeface="Arial" panose="020B0604020202020204" pitchFamily="34" charset="0"/>
              </a:rPr>
              <a:t>104,2 εκ. €</a:t>
            </a:r>
          </a:p>
        </p:txBody>
      </p:sp>
      <p:sp>
        <p:nvSpPr>
          <p:cNvPr id="5" name="TextBox 4">
            <a:extLst>
              <a:ext uri="{FF2B5EF4-FFF2-40B4-BE49-F238E27FC236}">
                <a16:creationId xmlns:a16="http://schemas.microsoft.com/office/drawing/2014/main" id="{6580151E-3F0F-890E-182B-9CB36285D23A}"/>
              </a:ext>
            </a:extLst>
          </p:cNvPr>
          <p:cNvSpPr txBox="1"/>
          <p:nvPr/>
        </p:nvSpPr>
        <p:spPr>
          <a:xfrm>
            <a:off x="207113" y="3892980"/>
            <a:ext cx="400001" cy="461665"/>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828754">
              <a:buClrTx/>
              <a:defRPr/>
            </a:pPr>
            <a:r>
              <a:rPr lang="el-GR" sz="2400" kern="1200" dirty="0">
                <a:solidFill>
                  <a:srgbClr val="18BFDD"/>
                </a:solidFill>
                <a:latin typeface="Trebuchet MS" panose="020B0603020202020204" pitchFamily="34" charset="0"/>
                <a:ea typeface="+mn-ea"/>
                <a:cs typeface="+mn-cs"/>
                <a:sym typeface="Wingdings" panose="05000000000000000000" pitchFamily="2" charset="2"/>
              </a:rPr>
              <a:t></a:t>
            </a:r>
            <a:endParaRPr lang="el-GR" sz="2400" kern="1200" dirty="0">
              <a:solidFill>
                <a:srgbClr val="18BFDD"/>
              </a:solidFill>
              <a:latin typeface="Trebuchet MS" panose="020B0603020202020204" pitchFamily="34" charset="0"/>
              <a:ea typeface="+mn-ea"/>
              <a:cs typeface="+mn-cs"/>
            </a:endParaRPr>
          </a:p>
        </p:txBody>
      </p:sp>
      <p:sp>
        <p:nvSpPr>
          <p:cNvPr id="11" name="TextBox 10">
            <a:extLst>
              <a:ext uri="{FF2B5EF4-FFF2-40B4-BE49-F238E27FC236}">
                <a16:creationId xmlns:a16="http://schemas.microsoft.com/office/drawing/2014/main" id="{AD58CBC6-943E-DBA1-5451-09E7D718806E}"/>
              </a:ext>
            </a:extLst>
          </p:cNvPr>
          <p:cNvSpPr txBox="1"/>
          <p:nvPr/>
        </p:nvSpPr>
        <p:spPr>
          <a:xfrm>
            <a:off x="8199969" y="3973262"/>
            <a:ext cx="899539"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kern="1200" dirty="0">
                <a:solidFill>
                  <a:srgbClr val="17518C"/>
                </a:solidFill>
                <a:latin typeface="Arial" panose="020B0604020202020204" pitchFamily="34" charset="0"/>
                <a:ea typeface="+mn-ea"/>
                <a:cs typeface="Arial" panose="020B0604020202020204" pitchFamily="34" charset="0"/>
              </a:rPr>
              <a:t>40 εκ.€</a:t>
            </a:r>
          </a:p>
        </p:txBody>
      </p:sp>
      <p:sp>
        <p:nvSpPr>
          <p:cNvPr id="12" name="TextBox 11">
            <a:extLst>
              <a:ext uri="{FF2B5EF4-FFF2-40B4-BE49-F238E27FC236}">
                <a16:creationId xmlns:a16="http://schemas.microsoft.com/office/drawing/2014/main" id="{1AACC9F0-70C0-751A-8993-E25B39554C37}"/>
              </a:ext>
            </a:extLst>
          </p:cNvPr>
          <p:cNvSpPr txBox="1"/>
          <p:nvPr/>
        </p:nvSpPr>
        <p:spPr>
          <a:xfrm>
            <a:off x="786383" y="3964354"/>
            <a:ext cx="7092524"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kern="1200" dirty="0">
                <a:solidFill>
                  <a:srgbClr val="17518C"/>
                </a:solidFill>
                <a:latin typeface="Arial" panose="020B0604020202020204" pitchFamily="34" charset="0"/>
                <a:ea typeface="+mn-ea"/>
                <a:cs typeface="Arial" panose="020B0604020202020204" pitchFamily="34" charset="0"/>
              </a:rPr>
              <a:t>Ενεργειακές Αναβαθμίσεις κτηρίων ΟΤΑ Α’ &amp; Β’ Βαθμού περιοχών ΕΣΔΙΜ</a:t>
            </a:r>
          </a:p>
        </p:txBody>
      </p:sp>
      <p:sp>
        <p:nvSpPr>
          <p:cNvPr id="21" name="TextBox 20">
            <a:extLst>
              <a:ext uri="{FF2B5EF4-FFF2-40B4-BE49-F238E27FC236}">
                <a16:creationId xmlns:a16="http://schemas.microsoft.com/office/drawing/2014/main" id="{8BB2A9D9-08A8-219E-E8A5-C175DFAA0497}"/>
              </a:ext>
            </a:extLst>
          </p:cNvPr>
          <p:cNvSpPr txBox="1"/>
          <p:nvPr/>
        </p:nvSpPr>
        <p:spPr>
          <a:xfrm>
            <a:off x="9595208" y="3964354"/>
            <a:ext cx="1893936"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dirty="0">
                <a:solidFill>
                  <a:srgbClr val="00B0F0"/>
                </a:solidFill>
                <a:latin typeface="Arial" panose="020B0604020202020204" pitchFamily="34" charset="0"/>
                <a:cs typeface="Arial" panose="020B0604020202020204" pitchFamily="34" charset="0"/>
              </a:rPr>
              <a:t>ΟΤΑ Α’ &amp; Β’ Βαθμού </a:t>
            </a:r>
          </a:p>
        </p:txBody>
      </p:sp>
      <p:sp>
        <p:nvSpPr>
          <p:cNvPr id="22" name="TextBox 21">
            <a:extLst>
              <a:ext uri="{FF2B5EF4-FFF2-40B4-BE49-F238E27FC236}">
                <a16:creationId xmlns:a16="http://schemas.microsoft.com/office/drawing/2014/main" id="{EAA5F095-1DC5-8F85-615B-ABA9C3CA6094}"/>
              </a:ext>
            </a:extLst>
          </p:cNvPr>
          <p:cNvSpPr txBox="1"/>
          <p:nvPr/>
        </p:nvSpPr>
        <p:spPr>
          <a:xfrm>
            <a:off x="8196311" y="4777434"/>
            <a:ext cx="899924"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kern="1200" dirty="0">
                <a:solidFill>
                  <a:srgbClr val="17518C"/>
                </a:solidFill>
                <a:latin typeface="Arial" panose="020B0604020202020204" pitchFamily="34" charset="0"/>
                <a:ea typeface="+mn-ea"/>
                <a:cs typeface="Arial" panose="020B0604020202020204" pitchFamily="34" charset="0"/>
              </a:rPr>
              <a:t>10 εκ.€</a:t>
            </a:r>
          </a:p>
        </p:txBody>
      </p:sp>
      <p:sp>
        <p:nvSpPr>
          <p:cNvPr id="23" name="TextBox 22">
            <a:extLst>
              <a:ext uri="{FF2B5EF4-FFF2-40B4-BE49-F238E27FC236}">
                <a16:creationId xmlns:a16="http://schemas.microsoft.com/office/drawing/2014/main" id="{0D23E7B3-8FE2-25D6-51D2-EA1A664E004D}"/>
              </a:ext>
            </a:extLst>
          </p:cNvPr>
          <p:cNvSpPr txBox="1"/>
          <p:nvPr/>
        </p:nvSpPr>
        <p:spPr>
          <a:xfrm>
            <a:off x="800768" y="4694867"/>
            <a:ext cx="6918725" cy="492443"/>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kern="1200" dirty="0">
                <a:solidFill>
                  <a:srgbClr val="17518C"/>
                </a:solidFill>
                <a:latin typeface="Arial" panose="020B0604020202020204" pitchFamily="34" charset="0"/>
                <a:ea typeface="+mn-ea"/>
                <a:cs typeface="Arial" panose="020B0604020202020204" pitchFamily="34" charset="0"/>
              </a:rPr>
              <a:t>Προγράμματα Δια Βίου Μάθησης (περιβάλλον, πράσινη οικονομία, ψηφιακές δεξιότητες, επιχειρηματικότητα)</a:t>
            </a:r>
          </a:p>
        </p:txBody>
      </p:sp>
      <p:sp>
        <p:nvSpPr>
          <p:cNvPr id="24" name="TextBox 23">
            <a:extLst>
              <a:ext uri="{FF2B5EF4-FFF2-40B4-BE49-F238E27FC236}">
                <a16:creationId xmlns:a16="http://schemas.microsoft.com/office/drawing/2014/main" id="{954BCFB0-5528-50F4-2F26-62C6D9F35805}"/>
              </a:ext>
            </a:extLst>
          </p:cNvPr>
          <p:cNvSpPr txBox="1"/>
          <p:nvPr/>
        </p:nvSpPr>
        <p:spPr>
          <a:xfrm>
            <a:off x="210589" y="4710255"/>
            <a:ext cx="400001" cy="461665"/>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828754">
              <a:buClrTx/>
              <a:defRPr/>
            </a:pPr>
            <a:r>
              <a:rPr lang="el-GR" sz="2400" kern="1200" dirty="0">
                <a:solidFill>
                  <a:srgbClr val="18BFDD"/>
                </a:solidFill>
                <a:latin typeface="Trebuchet MS" panose="020B0603020202020204" pitchFamily="34" charset="0"/>
                <a:ea typeface="+mn-ea"/>
                <a:cs typeface="+mn-cs"/>
                <a:sym typeface="Wingdings" panose="05000000000000000000" pitchFamily="2" charset="2"/>
              </a:rPr>
              <a:t></a:t>
            </a:r>
            <a:endParaRPr lang="el-GR" sz="2400" kern="1200" dirty="0">
              <a:solidFill>
                <a:srgbClr val="18BFDD"/>
              </a:solidFill>
              <a:latin typeface="Trebuchet MS" panose="020B0603020202020204" pitchFamily="34" charset="0"/>
              <a:ea typeface="+mn-ea"/>
              <a:cs typeface="+mn-cs"/>
            </a:endParaRPr>
          </a:p>
        </p:txBody>
      </p:sp>
      <p:sp>
        <p:nvSpPr>
          <p:cNvPr id="25" name="TextBox 24">
            <a:extLst>
              <a:ext uri="{FF2B5EF4-FFF2-40B4-BE49-F238E27FC236}">
                <a16:creationId xmlns:a16="http://schemas.microsoft.com/office/drawing/2014/main" id="{AE0E7130-0146-1C1F-A51C-99608D5B931E}"/>
              </a:ext>
            </a:extLst>
          </p:cNvPr>
          <p:cNvSpPr txBox="1"/>
          <p:nvPr/>
        </p:nvSpPr>
        <p:spPr>
          <a:xfrm>
            <a:off x="9607893" y="4694867"/>
            <a:ext cx="2017241" cy="492443"/>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dirty="0">
                <a:solidFill>
                  <a:srgbClr val="00B0F0"/>
                </a:solidFill>
                <a:latin typeface="Arial" panose="020B0604020202020204" pitchFamily="34" charset="0"/>
                <a:cs typeface="Arial" panose="020B0604020202020204" pitchFamily="34" charset="0"/>
              </a:rPr>
              <a:t>Υπουργείο Παιδείας &amp; Θρησκευμάτων</a:t>
            </a:r>
          </a:p>
        </p:txBody>
      </p:sp>
      <p:sp>
        <p:nvSpPr>
          <p:cNvPr id="34"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8749575" cy="795145"/>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Arial" panose="020B0604020202020204" pitchFamily="34" charset="0"/>
                <a:ea typeface="Urbanist" panose="020B0604020202020204" charset="0"/>
                <a:cs typeface="Arial" panose="020B0604020202020204" pitchFamily="34" charset="0"/>
              </a:rPr>
              <a:t>Ενεργές &amp; Επικείμενες Προσκλήσεις Δυτικής Μακεδονίας</a:t>
            </a:r>
          </a:p>
        </p:txBody>
      </p:sp>
      <p:cxnSp>
        <p:nvCxnSpPr>
          <p:cNvPr id="35" name="Ευθεία γραμμή σύνδεσης 34">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37" name="Ομάδα 36">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38"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39"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91645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70216-73FC-B2D2-5CE1-0E6CFC68B700}"/>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B3B4C48-6CC0-B309-790B-6E277C57D69B}"/>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4" imgW="350" imgH="350" progId="TCLayout.ActiveDocument.1">
                  <p:embed/>
                </p:oleObj>
              </mc:Choice>
              <mc:Fallback>
                <p:oleObj name="think-cell Slide" r:id="rId4" imgW="350" imgH="350" progId="TCLayout.ActiveDocument.1">
                  <p:embed/>
                  <p:pic>
                    <p:nvPicPr>
                      <p:cNvPr id="20" name="think-cell data - do not delete" hidden="1">
                        <a:extLst>
                          <a:ext uri="{FF2B5EF4-FFF2-40B4-BE49-F238E27FC236}">
                            <a16:creationId xmlns:a16="http://schemas.microsoft.com/office/drawing/2014/main" id="{3B3B4C48-6CC0-B309-790B-6E277C57D69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63" name="TextBox 162">
            <a:extLst>
              <a:ext uri="{FF2B5EF4-FFF2-40B4-BE49-F238E27FC236}">
                <a16:creationId xmlns:a16="http://schemas.microsoft.com/office/drawing/2014/main" id="{3AC5D787-0B9A-9D64-9ABD-16088BF95802}"/>
              </a:ext>
            </a:extLst>
          </p:cNvPr>
          <p:cNvSpPr txBox="1"/>
          <p:nvPr/>
        </p:nvSpPr>
        <p:spPr>
          <a:xfrm>
            <a:off x="10138118" y="869012"/>
            <a:ext cx="1555511" cy="523220"/>
          </a:xfrm>
          <a:prstGeom prst="rect">
            <a:avLst/>
          </a:prstGeom>
          <a:noFill/>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just" defTabSz="457189">
              <a:buClrTx/>
              <a:defRPr/>
            </a:pPr>
            <a:r>
              <a:rPr lang="el-GR" sz="1400" b="1" dirty="0">
                <a:solidFill>
                  <a:srgbClr val="1F497D"/>
                </a:solidFill>
                <a:latin typeface="Arial" panose="020B0604020202020204" pitchFamily="34" charset="0"/>
                <a:cs typeface="Arial" panose="020B0604020202020204" pitchFamily="34" charset="0"/>
              </a:rPr>
              <a:t>Ενδεικτικοί Δικαιούχοι</a:t>
            </a:r>
            <a:endParaRPr lang="en-US" sz="1400" b="1" dirty="0">
              <a:solidFill>
                <a:srgbClr val="1F497D"/>
              </a:solidFill>
              <a:latin typeface="Arial" panose="020B0604020202020204" pitchFamily="34" charset="0"/>
              <a:cs typeface="Arial" panose="020B0604020202020204" pitchFamily="34" charset="0"/>
            </a:endParaRPr>
          </a:p>
        </p:txBody>
      </p:sp>
      <p:sp>
        <p:nvSpPr>
          <p:cNvPr id="164" name="TextBox 163">
            <a:extLst>
              <a:ext uri="{FF2B5EF4-FFF2-40B4-BE49-F238E27FC236}">
                <a16:creationId xmlns:a16="http://schemas.microsoft.com/office/drawing/2014/main" id="{D52E7A18-DE15-15F9-2299-1B3D8B64C5AA}"/>
              </a:ext>
            </a:extLst>
          </p:cNvPr>
          <p:cNvSpPr txBox="1"/>
          <p:nvPr/>
        </p:nvSpPr>
        <p:spPr>
          <a:xfrm>
            <a:off x="698884" y="871643"/>
            <a:ext cx="5836053" cy="461665"/>
          </a:xfrm>
          <a:prstGeom prst="rect">
            <a:avLst/>
          </a:prstGeom>
          <a:noFill/>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2400" b="1" dirty="0">
                <a:solidFill>
                  <a:srgbClr val="0F4E8C"/>
                </a:solidFill>
                <a:latin typeface="+mn-lt"/>
              </a:rPr>
              <a:t>Επικείμενες Προσκλήσεις</a:t>
            </a:r>
          </a:p>
        </p:txBody>
      </p:sp>
      <p:cxnSp>
        <p:nvCxnSpPr>
          <p:cNvPr id="165" name="Straight Connector 40">
            <a:extLst>
              <a:ext uri="{FF2B5EF4-FFF2-40B4-BE49-F238E27FC236}">
                <a16:creationId xmlns:a16="http://schemas.microsoft.com/office/drawing/2014/main" id="{786A2737-89E6-28D1-DC32-7C5586A94BF0}"/>
              </a:ext>
            </a:extLst>
          </p:cNvPr>
          <p:cNvCxnSpPr>
            <a:cxnSpLocks/>
          </p:cNvCxnSpPr>
          <p:nvPr/>
        </p:nvCxnSpPr>
        <p:spPr>
          <a:xfrm>
            <a:off x="7893291" y="685800"/>
            <a:ext cx="0" cy="5040000"/>
          </a:xfrm>
          <a:prstGeom prst="line">
            <a:avLst/>
          </a:prstGeom>
          <a:ln w="127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6" name="Straight Connector 43">
            <a:extLst>
              <a:ext uri="{FF2B5EF4-FFF2-40B4-BE49-F238E27FC236}">
                <a16:creationId xmlns:a16="http://schemas.microsoft.com/office/drawing/2014/main" id="{DF89670F-8F84-9728-3B78-5984CC01349F}"/>
              </a:ext>
            </a:extLst>
          </p:cNvPr>
          <p:cNvCxnSpPr>
            <a:cxnSpLocks/>
          </p:cNvCxnSpPr>
          <p:nvPr/>
        </p:nvCxnSpPr>
        <p:spPr>
          <a:xfrm>
            <a:off x="9384193" y="685800"/>
            <a:ext cx="0" cy="5040000"/>
          </a:xfrm>
          <a:prstGeom prst="line">
            <a:avLst/>
          </a:prstGeom>
          <a:ln w="127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9E99EC6A-65C3-52F8-3977-502DF105507B}"/>
              </a:ext>
            </a:extLst>
          </p:cNvPr>
          <p:cNvGrpSpPr/>
          <p:nvPr/>
        </p:nvGrpSpPr>
        <p:grpSpPr>
          <a:xfrm>
            <a:off x="181820" y="1320313"/>
            <a:ext cx="12162581" cy="667839"/>
            <a:chOff x="181819" y="1352012"/>
            <a:chExt cx="12162581" cy="636520"/>
          </a:xfrm>
        </p:grpSpPr>
        <p:sp>
          <p:nvSpPr>
            <p:cNvPr id="161" name="Google Shape;4809;p146">
              <a:extLst>
                <a:ext uri="{FF2B5EF4-FFF2-40B4-BE49-F238E27FC236}">
                  <a16:creationId xmlns:a16="http://schemas.microsoft.com/office/drawing/2014/main" id="{E6CD6EE6-B3D7-9BCD-AFBE-C0B21C2F7F9B}"/>
                </a:ext>
              </a:extLst>
            </p:cNvPr>
            <p:cNvSpPr>
              <a:spLocks/>
            </p:cNvSpPr>
            <p:nvPr/>
          </p:nvSpPr>
          <p:spPr>
            <a:xfrm>
              <a:off x="800766" y="1632677"/>
              <a:ext cx="5295231" cy="234674"/>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dirty="0">
                  <a:solidFill>
                    <a:srgbClr val="0F4E8C"/>
                  </a:solidFill>
                  <a:latin typeface="Arial" panose="020B0604020202020204" pitchFamily="34" charset="0"/>
                  <a:cs typeface="Arial" panose="020B0604020202020204" pitchFamily="34" charset="0"/>
                </a:rPr>
                <a:t>Ζωντανά</a:t>
              </a:r>
              <a:r>
                <a:rPr lang="el-GR" sz="1600" dirty="0">
                  <a:solidFill>
                    <a:srgbClr val="0F4E8C"/>
                  </a:solidFill>
                  <a:latin typeface="+mj-lt"/>
                  <a:cs typeface="Arial"/>
                </a:rPr>
                <a:t> </a:t>
              </a:r>
              <a:r>
                <a:rPr lang="el-GR" sz="1600" dirty="0">
                  <a:solidFill>
                    <a:srgbClr val="0F4E8C"/>
                  </a:solidFill>
                  <a:latin typeface="Arial" panose="020B0604020202020204" pitchFamily="34" charset="0"/>
                  <a:cs typeface="Arial" panose="020B0604020202020204" pitchFamily="34" charset="0"/>
                </a:rPr>
                <a:t>Εργαστήρια Έξυπνης Πόλης</a:t>
              </a:r>
            </a:p>
          </p:txBody>
        </p:sp>
        <p:sp>
          <p:nvSpPr>
            <p:cNvPr id="167" name="TextBox 166">
              <a:extLst>
                <a:ext uri="{FF2B5EF4-FFF2-40B4-BE49-F238E27FC236}">
                  <a16:creationId xmlns:a16="http://schemas.microsoft.com/office/drawing/2014/main" id="{09C4239B-54EB-6B66-3914-726BDC4CFF7B}"/>
                </a:ext>
              </a:extLst>
            </p:cNvPr>
            <p:cNvSpPr txBox="1"/>
            <p:nvPr/>
          </p:nvSpPr>
          <p:spPr>
            <a:xfrm>
              <a:off x="8298927" y="1644103"/>
              <a:ext cx="752073" cy="234674"/>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kern="1200" dirty="0">
                  <a:solidFill>
                    <a:srgbClr val="17518C"/>
                  </a:solidFill>
                  <a:latin typeface="Arial" panose="020B0604020202020204" pitchFamily="34" charset="0"/>
                  <a:ea typeface="+mn-ea"/>
                  <a:cs typeface="Arial" panose="020B0604020202020204" pitchFamily="34" charset="0"/>
                </a:rPr>
                <a:t> 7 εκ.€</a:t>
              </a:r>
            </a:p>
          </p:txBody>
        </p:sp>
        <p:sp>
          <p:nvSpPr>
            <p:cNvPr id="168" name="TextBox 167">
              <a:extLst>
                <a:ext uri="{FF2B5EF4-FFF2-40B4-BE49-F238E27FC236}">
                  <a16:creationId xmlns:a16="http://schemas.microsoft.com/office/drawing/2014/main" id="{13E644ED-F211-B791-0817-83A26E47DE68}"/>
                </a:ext>
              </a:extLst>
            </p:cNvPr>
            <p:cNvSpPr txBox="1"/>
            <p:nvPr/>
          </p:nvSpPr>
          <p:spPr>
            <a:xfrm>
              <a:off x="9521731" y="1503793"/>
              <a:ext cx="2822669" cy="469349"/>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a:solidFill>
                    <a:srgbClr val="00B0F0"/>
                  </a:solidFill>
                  <a:latin typeface="Arial" panose="020B0604020202020204" pitchFamily="34" charset="0"/>
                  <a:cs typeface="Arial" panose="020B0604020202020204" pitchFamily="34" charset="0"/>
                </a:rPr>
                <a:t>Περιφέρειες, Δήμοι, Αναπτυξιακές Εταιρείες </a:t>
              </a:r>
            </a:p>
          </p:txBody>
        </p:sp>
        <p:sp>
          <p:nvSpPr>
            <p:cNvPr id="175" name="TextBox 174">
              <a:extLst>
                <a:ext uri="{FF2B5EF4-FFF2-40B4-BE49-F238E27FC236}">
                  <a16:creationId xmlns:a16="http://schemas.microsoft.com/office/drawing/2014/main" id="{DD39280F-84BB-2BE3-C830-63F78E03F639}"/>
                </a:ext>
              </a:extLst>
            </p:cNvPr>
            <p:cNvSpPr txBox="1"/>
            <p:nvPr/>
          </p:nvSpPr>
          <p:spPr>
            <a:xfrm>
              <a:off x="210587" y="1519183"/>
              <a:ext cx="400001" cy="469349"/>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828754">
                <a:buClrTx/>
                <a:defRPr/>
              </a:pPr>
              <a:r>
                <a:rPr lang="el-GR" sz="2400" kern="1200">
                  <a:solidFill>
                    <a:srgbClr val="18BFDD"/>
                  </a:solidFill>
                  <a:latin typeface="Trebuchet MS" panose="020B0603020202020204" pitchFamily="34" charset="0"/>
                  <a:ea typeface="+mn-ea"/>
                  <a:cs typeface="+mn-cs"/>
                  <a:sym typeface="Wingdings" panose="05000000000000000000" pitchFamily="2" charset="2"/>
                </a:rPr>
                <a:t></a:t>
              </a:r>
              <a:endParaRPr lang="el-GR" sz="2400" kern="1200">
                <a:solidFill>
                  <a:srgbClr val="18BFDD"/>
                </a:solidFill>
                <a:latin typeface="Trebuchet MS" panose="020B0603020202020204" pitchFamily="34" charset="0"/>
                <a:ea typeface="+mn-ea"/>
                <a:cs typeface="+mn-cs"/>
              </a:endParaRPr>
            </a:p>
          </p:txBody>
        </p:sp>
        <p:cxnSp>
          <p:nvCxnSpPr>
            <p:cNvPr id="177" name="Ευθεία γραμμή σύνδεσης 34">
              <a:extLst>
                <a:ext uri="{FF2B5EF4-FFF2-40B4-BE49-F238E27FC236}">
                  <a16:creationId xmlns:a16="http://schemas.microsoft.com/office/drawing/2014/main" id="{18480057-799F-5043-5604-4C378D2EE15B}"/>
                </a:ext>
              </a:extLst>
            </p:cNvPr>
            <p:cNvCxnSpPr>
              <a:cxnSpLocks/>
            </p:cNvCxnSpPr>
            <p:nvPr/>
          </p:nvCxnSpPr>
          <p:spPr>
            <a:xfrm>
              <a:off x="181819" y="1352012"/>
              <a:ext cx="11657998" cy="30847"/>
            </a:xfrm>
            <a:prstGeom prst="line">
              <a:avLst/>
            </a:prstGeom>
            <a:noFill/>
            <a:ln w="9525" cap="flat">
              <a:solidFill>
                <a:srgbClr val="00B0F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grpSp>
      <p:grpSp>
        <p:nvGrpSpPr>
          <p:cNvPr id="229" name="Group 228">
            <a:extLst>
              <a:ext uri="{FF2B5EF4-FFF2-40B4-BE49-F238E27FC236}">
                <a16:creationId xmlns:a16="http://schemas.microsoft.com/office/drawing/2014/main" id="{F16B296D-EEDE-ECBF-3972-BD49874A167F}"/>
              </a:ext>
            </a:extLst>
          </p:cNvPr>
          <p:cNvGrpSpPr/>
          <p:nvPr/>
        </p:nvGrpSpPr>
        <p:grpSpPr>
          <a:xfrm>
            <a:off x="210588" y="3217748"/>
            <a:ext cx="11818373" cy="642985"/>
            <a:chOff x="210587" y="2721667"/>
            <a:chExt cx="11818373" cy="642985"/>
          </a:xfrm>
        </p:grpSpPr>
        <p:sp>
          <p:nvSpPr>
            <p:cNvPr id="169" name="TextBox 168">
              <a:extLst>
                <a:ext uri="{FF2B5EF4-FFF2-40B4-BE49-F238E27FC236}">
                  <a16:creationId xmlns:a16="http://schemas.microsoft.com/office/drawing/2014/main" id="{300950A6-FFDC-A3E3-A7D5-3E024064444B}"/>
                </a:ext>
              </a:extLst>
            </p:cNvPr>
            <p:cNvSpPr txBox="1"/>
            <p:nvPr/>
          </p:nvSpPr>
          <p:spPr>
            <a:xfrm>
              <a:off x="8258044" y="2853006"/>
              <a:ext cx="668987" cy="246221"/>
            </a:xfrm>
            <a:prstGeom prst="rect">
              <a:avLst/>
            </a:prstGeom>
            <a:noFill/>
          </p:spPr>
          <p:txBody>
            <a:bodyPr wrap="non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kern="1200" dirty="0">
                  <a:solidFill>
                    <a:srgbClr val="17518C"/>
                  </a:solidFill>
                  <a:latin typeface="Arial" panose="020B0604020202020204" pitchFamily="34" charset="0"/>
                  <a:ea typeface="+mn-ea"/>
                  <a:cs typeface="Arial" panose="020B0604020202020204" pitchFamily="34" charset="0"/>
                </a:rPr>
                <a:t>14 εκ.€</a:t>
              </a:r>
            </a:p>
          </p:txBody>
        </p:sp>
        <p:sp>
          <p:nvSpPr>
            <p:cNvPr id="170" name="TextBox 169">
              <a:extLst>
                <a:ext uri="{FF2B5EF4-FFF2-40B4-BE49-F238E27FC236}">
                  <a16:creationId xmlns:a16="http://schemas.microsoft.com/office/drawing/2014/main" id="{27DB983F-7E6C-22E1-0099-EB71DD5BFF74}"/>
                </a:ext>
              </a:extLst>
            </p:cNvPr>
            <p:cNvSpPr txBox="1"/>
            <p:nvPr/>
          </p:nvSpPr>
          <p:spPr>
            <a:xfrm>
              <a:off x="9521729" y="2872210"/>
              <a:ext cx="2507231" cy="492442"/>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kern="1200" dirty="0">
                  <a:solidFill>
                    <a:srgbClr val="2ABDF2"/>
                  </a:solidFill>
                  <a:latin typeface="Arial" panose="020B0604020202020204" pitchFamily="34" charset="0"/>
                  <a:ea typeface="+mn-ea"/>
                  <a:cs typeface="Arial" panose="020B0604020202020204" pitchFamily="34" charset="0"/>
                </a:rPr>
                <a:t>Πολύ μικρές &amp; μικρές επιχειρήσεις </a:t>
              </a:r>
            </a:p>
          </p:txBody>
        </p:sp>
        <p:sp>
          <p:nvSpPr>
            <p:cNvPr id="176" name="TextBox 175">
              <a:extLst>
                <a:ext uri="{FF2B5EF4-FFF2-40B4-BE49-F238E27FC236}">
                  <a16:creationId xmlns:a16="http://schemas.microsoft.com/office/drawing/2014/main" id="{8E3D5FAC-3CF1-9023-CF15-CB923F8017BD}"/>
                </a:ext>
              </a:extLst>
            </p:cNvPr>
            <p:cNvSpPr txBox="1"/>
            <p:nvPr/>
          </p:nvSpPr>
          <p:spPr>
            <a:xfrm>
              <a:off x="210587" y="2737056"/>
              <a:ext cx="400001" cy="492442"/>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828754">
                <a:buClrTx/>
                <a:defRPr/>
              </a:pPr>
              <a:r>
                <a:rPr lang="el-GR" sz="2400" kern="1200">
                  <a:solidFill>
                    <a:srgbClr val="18BFDD"/>
                  </a:solidFill>
                  <a:latin typeface="Trebuchet MS" panose="020B0603020202020204" pitchFamily="34" charset="0"/>
                  <a:ea typeface="+mn-ea"/>
                  <a:cs typeface="+mn-cs"/>
                  <a:sym typeface="Wingdings" panose="05000000000000000000" pitchFamily="2" charset="2"/>
                </a:rPr>
                <a:t></a:t>
              </a:r>
              <a:endParaRPr lang="el-GR" sz="2400" kern="1200">
                <a:solidFill>
                  <a:srgbClr val="18BFDD"/>
                </a:solidFill>
                <a:latin typeface="Trebuchet MS" panose="020B0603020202020204" pitchFamily="34" charset="0"/>
                <a:ea typeface="+mn-ea"/>
                <a:cs typeface="+mn-cs"/>
              </a:endParaRPr>
            </a:p>
          </p:txBody>
        </p:sp>
        <p:sp>
          <p:nvSpPr>
            <p:cNvPr id="178" name="Ορθογώνιο 45">
              <a:extLst>
                <a:ext uri="{FF2B5EF4-FFF2-40B4-BE49-F238E27FC236}">
                  <a16:creationId xmlns:a16="http://schemas.microsoft.com/office/drawing/2014/main" id="{EB7ABCDD-7B60-F2BC-1C73-71E8856EDC95}"/>
                </a:ext>
              </a:extLst>
            </p:cNvPr>
            <p:cNvSpPr/>
            <p:nvPr/>
          </p:nvSpPr>
          <p:spPr>
            <a:xfrm>
              <a:off x="800768" y="2721667"/>
              <a:ext cx="7046052" cy="492442"/>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kern="1200" dirty="0">
                  <a:solidFill>
                    <a:srgbClr val="17518C"/>
                  </a:solidFill>
                  <a:latin typeface="Arial" panose="020B0604020202020204" pitchFamily="34" charset="0"/>
                  <a:ea typeface="+mn-ea"/>
                  <a:cs typeface="Arial" panose="020B0604020202020204" pitchFamily="34" charset="0"/>
                </a:rPr>
                <a:t>Ενίσχυση Νέων / Υπό – Σύσταση &amp; Υφιστάμενων Πολύ Μικρών και Μικρών Επιχειρήσεων σε ηπειρωτικές περιοχές ΔΑΜ </a:t>
              </a:r>
              <a:r>
                <a:rPr lang="el-GR" sz="1400" i="1" kern="1200" dirty="0">
                  <a:solidFill>
                    <a:srgbClr val="17518C"/>
                  </a:solidFill>
                  <a:latin typeface="Arial" panose="020B0604020202020204" pitchFamily="34" charset="0"/>
                  <a:ea typeface="+mn-ea"/>
                  <a:cs typeface="Arial" panose="020B0604020202020204" pitchFamily="34" charset="0"/>
                </a:rPr>
                <a:t>(2 προσκλήσεις)</a:t>
              </a:r>
              <a:r>
                <a:rPr lang="el-GR" sz="1600" kern="1200" dirty="0">
                  <a:solidFill>
                    <a:srgbClr val="17518C"/>
                  </a:solidFill>
                  <a:latin typeface="Arial" panose="020B0604020202020204" pitchFamily="34" charset="0"/>
                  <a:ea typeface="+mn-ea"/>
                  <a:cs typeface="Arial" panose="020B0604020202020204" pitchFamily="34" charset="0"/>
                </a:rPr>
                <a:t> </a:t>
              </a:r>
            </a:p>
          </p:txBody>
        </p:sp>
      </p:grpSp>
      <p:grpSp>
        <p:nvGrpSpPr>
          <p:cNvPr id="228" name="Group 227">
            <a:extLst>
              <a:ext uri="{FF2B5EF4-FFF2-40B4-BE49-F238E27FC236}">
                <a16:creationId xmlns:a16="http://schemas.microsoft.com/office/drawing/2014/main" id="{57FC8E79-E06B-A0ED-E83D-2ECE46D2F0DE}"/>
              </a:ext>
            </a:extLst>
          </p:cNvPr>
          <p:cNvGrpSpPr/>
          <p:nvPr/>
        </p:nvGrpSpPr>
        <p:grpSpPr>
          <a:xfrm>
            <a:off x="210588" y="2275773"/>
            <a:ext cx="11981413" cy="738664"/>
            <a:chOff x="210587" y="2149355"/>
            <a:chExt cx="11981413" cy="738664"/>
          </a:xfrm>
        </p:grpSpPr>
        <p:sp>
          <p:nvSpPr>
            <p:cNvPr id="201" name="Google Shape;4809;p146">
              <a:extLst>
                <a:ext uri="{FF2B5EF4-FFF2-40B4-BE49-F238E27FC236}">
                  <a16:creationId xmlns:a16="http://schemas.microsoft.com/office/drawing/2014/main" id="{0A66DE48-A1A9-DB6B-F513-E2D489A9CB18}"/>
                </a:ext>
              </a:extLst>
            </p:cNvPr>
            <p:cNvSpPr>
              <a:spLocks/>
            </p:cNvSpPr>
            <p:nvPr/>
          </p:nvSpPr>
          <p:spPr>
            <a:xfrm>
              <a:off x="800767" y="2331568"/>
              <a:ext cx="3052408" cy="246221"/>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600" dirty="0">
                  <a:solidFill>
                    <a:srgbClr val="0F4E8C"/>
                  </a:solidFill>
                  <a:latin typeface="Arial" panose="020B0604020202020204" pitchFamily="34" charset="0"/>
                  <a:cs typeface="Arial" panose="020B0604020202020204" pitchFamily="34" charset="0"/>
                </a:rPr>
                <a:t>Επιχειρηματικά Πάρκα</a:t>
              </a:r>
            </a:p>
          </p:txBody>
        </p:sp>
        <p:sp>
          <p:nvSpPr>
            <p:cNvPr id="202" name="TextBox 201">
              <a:extLst>
                <a:ext uri="{FF2B5EF4-FFF2-40B4-BE49-F238E27FC236}">
                  <a16:creationId xmlns:a16="http://schemas.microsoft.com/office/drawing/2014/main" id="{AAFE8FDD-DE7F-BD02-3480-7EC0FF8F6671}"/>
                </a:ext>
              </a:extLst>
            </p:cNvPr>
            <p:cNvSpPr txBox="1"/>
            <p:nvPr/>
          </p:nvSpPr>
          <p:spPr>
            <a:xfrm>
              <a:off x="8175685" y="2266142"/>
              <a:ext cx="1006239"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kern="1200" dirty="0">
                  <a:solidFill>
                    <a:srgbClr val="17518C"/>
                  </a:solidFill>
                  <a:latin typeface="Arial" panose="020B0604020202020204" pitchFamily="34" charset="0"/>
                  <a:ea typeface="+mn-ea"/>
                  <a:cs typeface="Arial" panose="020B0604020202020204" pitchFamily="34" charset="0"/>
                </a:rPr>
                <a:t> </a:t>
              </a:r>
              <a:r>
                <a:rPr lang="en-US" sz="1600" b="1" kern="1200" dirty="0">
                  <a:solidFill>
                    <a:srgbClr val="17518C"/>
                  </a:solidFill>
                  <a:latin typeface="Arial" panose="020B0604020202020204" pitchFamily="34" charset="0"/>
                  <a:ea typeface="+mn-ea"/>
                  <a:cs typeface="Arial" panose="020B0604020202020204" pitchFamily="34" charset="0"/>
                </a:rPr>
                <a:t>12</a:t>
              </a:r>
              <a:r>
                <a:rPr lang="el-GR" sz="1600" b="1" kern="1200" dirty="0">
                  <a:solidFill>
                    <a:srgbClr val="17518C"/>
                  </a:solidFill>
                  <a:latin typeface="Arial" panose="020B0604020202020204" pitchFamily="34" charset="0"/>
                  <a:ea typeface="+mn-ea"/>
                  <a:cs typeface="Arial" panose="020B0604020202020204" pitchFamily="34" charset="0"/>
                </a:rPr>
                <a:t> εκ.€</a:t>
              </a:r>
            </a:p>
          </p:txBody>
        </p:sp>
        <p:sp>
          <p:nvSpPr>
            <p:cNvPr id="203" name="TextBox 202">
              <a:extLst>
                <a:ext uri="{FF2B5EF4-FFF2-40B4-BE49-F238E27FC236}">
                  <a16:creationId xmlns:a16="http://schemas.microsoft.com/office/drawing/2014/main" id="{3BD55F02-7590-27AB-1F6D-32BD60EE71F8}"/>
                </a:ext>
              </a:extLst>
            </p:cNvPr>
            <p:cNvSpPr txBox="1"/>
            <p:nvPr/>
          </p:nvSpPr>
          <p:spPr>
            <a:xfrm>
              <a:off x="9521732" y="2149355"/>
              <a:ext cx="2670268" cy="738664"/>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dirty="0">
                  <a:solidFill>
                    <a:srgbClr val="00B0F0"/>
                  </a:solidFill>
                  <a:latin typeface="Arial" panose="020B0604020202020204" pitchFamily="34" charset="0"/>
                  <a:cs typeface="Arial" panose="020B0604020202020204" pitchFamily="34" charset="0"/>
                </a:rPr>
                <a:t>Ε.Α.Δ.Ε.Π. (Εταιρείες Ανάπτυξης &amp; Διαχείρισης Επιχειρηματικού Πάρκου)</a:t>
              </a:r>
            </a:p>
          </p:txBody>
        </p:sp>
        <p:sp>
          <p:nvSpPr>
            <p:cNvPr id="204" name="TextBox 203">
              <a:extLst>
                <a:ext uri="{FF2B5EF4-FFF2-40B4-BE49-F238E27FC236}">
                  <a16:creationId xmlns:a16="http://schemas.microsoft.com/office/drawing/2014/main" id="{972E1E86-E467-3D02-F1BF-A276EB92B97C}"/>
                </a:ext>
              </a:extLst>
            </p:cNvPr>
            <p:cNvSpPr txBox="1"/>
            <p:nvPr/>
          </p:nvSpPr>
          <p:spPr>
            <a:xfrm>
              <a:off x="210587" y="2223847"/>
              <a:ext cx="400001" cy="492443"/>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828754">
                <a:buClrTx/>
                <a:defRPr/>
              </a:pPr>
              <a:r>
                <a:rPr lang="el-GR" sz="2400" kern="1200" dirty="0">
                  <a:solidFill>
                    <a:srgbClr val="18BFDD"/>
                  </a:solidFill>
                  <a:latin typeface="Trebuchet MS" panose="020B0603020202020204" pitchFamily="34" charset="0"/>
                  <a:ea typeface="+mn-ea"/>
                  <a:cs typeface="+mn-cs"/>
                  <a:sym typeface="Wingdings" panose="05000000000000000000" pitchFamily="2" charset="2"/>
                </a:rPr>
                <a:t></a:t>
              </a:r>
              <a:endParaRPr lang="el-GR" sz="2400" kern="1200" dirty="0">
                <a:solidFill>
                  <a:srgbClr val="18BFDD"/>
                </a:solidFill>
                <a:latin typeface="Trebuchet MS" panose="020B0603020202020204" pitchFamily="34" charset="0"/>
                <a:ea typeface="+mn-ea"/>
                <a:cs typeface="+mn-cs"/>
              </a:endParaRPr>
            </a:p>
          </p:txBody>
        </p:sp>
      </p:grpSp>
      <p:grpSp>
        <p:nvGrpSpPr>
          <p:cNvPr id="237" name="Group 236">
            <a:extLst>
              <a:ext uri="{FF2B5EF4-FFF2-40B4-BE49-F238E27FC236}">
                <a16:creationId xmlns:a16="http://schemas.microsoft.com/office/drawing/2014/main" id="{6F69068A-A571-67C1-08B3-9EFF719DA048}"/>
              </a:ext>
            </a:extLst>
          </p:cNvPr>
          <p:cNvGrpSpPr/>
          <p:nvPr/>
        </p:nvGrpSpPr>
        <p:grpSpPr>
          <a:xfrm>
            <a:off x="210588" y="4823373"/>
            <a:ext cx="11847037" cy="492443"/>
            <a:chOff x="210587" y="4192314"/>
            <a:chExt cx="11847037" cy="492443"/>
          </a:xfrm>
        </p:grpSpPr>
        <p:sp>
          <p:nvSpPr>
            <p:cNvPr id="215" name="TextBox 214">
              <a:extLst>
                <a:ext uri="{FF2B5EF4-FFF2-40B4-BE49-F238E27FC236}">
                  <a16:creationId xmlns:a16="http://schemas.microsoft.com/office/drawing/2014/main" id="{F9939452-0E7A-A5A8-B8C5-838D81A38A8B}"/>
                </a:ext>
              </a:extLst>
            </p:cNvPr>
            <p:cNvSpPr txBox="1"/>
            <p:nvPr/>
          </p:nvSpPr>
          <p:spPr>
            <a:xfrm>
              <a:off x="8374325" y="4301345"/>
              <a:ext cx="899924"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kern="1200" dirty="0">
                  <a:solidFill>
                    <a:srgbClr val="17518C"/>
                  </a:solidFill>
                  <a:latin typeface="Arial" panose="020B0604020202020204" pitchFamily="34" charset="0"/>
                  <a:ea typeface="+mn-ea"/>
                  <a:cs typeface="Arial" panose="020B0604020202020204" pitchFamily="34" charset="0"/>
                </a:rPr>
                <a:t>2,5 εκ.€</a:t>
              </a:r>
            </a:p>
          </p:txBody>
        </p:sp>
        <p:sp>
          <p:nvSpPr>
            <p:cNvPr id="216" name="TextBox 215">
              <a:extLst>
                <a:ext uri="{FF2B5EF4-FFF2-40B4-BE49-F238E27FC236}">
                  <a16:creationId xmlns:a16="http://schemas.microsoft.com/office/drawing/2014/main" id="{C8EB490E-3C30-671A-589D-57D29526BFF8}"/>
                </a:ext>
              </a:extLst>
            </p:cNvPr>
            <p:cNvSpPr txBox="1"/>
            <p:nvPr/>
          </p:nvSpPr>
          <p:spPr>
            <a:xfrm>
              <a:off x="800766" y="4296229"/>
              <a:ext cx="6918725"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kern="1200" dirty="0">
                  <a:solidFill>
                    <a:srgbClr val="17518C"/>
                  </a:solidFill>
                  <a:latin typeface="Arial" panose="020B0604020202020204" pitchFamily="34" charset="0"/>
                  <a:ea typeface="+mn-ea"/>
                  <a:cs typeface="Arial" panose="020B0604020202020204" pitchFamily="34" charset="0"/>
                </a:rPr>
                <a:t>Βιομηχανικά Διδακτορικά</a:t>
              </a:r>
            </a:p>
          </p:txBody>
        </p:sp>
        <p:sp>
          <p:nvSpPr>
            <p:cNvPr id="217" name="TextBox 216">
              <a:extLst>
                <a:ext uri="{FF2B5EF4-FFF2-40B4-BE49-F238E27FC236}">
                  <a16:creationId xmlns:a16="http://schemas.microsoft.com/office/drawing/2014/main" id="{E997C5A5-C741-38CD-27A3-F685B9C0895C}"/>
                </a:ext>
              </a:extLst>
            </p:cNvPr>
            <p:cNvSpPr txBox="1"/>
            <p:nvPr/>
          </p:nvSpPr>
          <p:spPr>
            <a:xfrm>
              <a:off x="210587" y="4192314"/>
              <a:ext cx="400001" cy="492443"/>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828754">
                <a:buClrTx/>
                <a:defRPr/>
              </a:pPr>
              <a:r>
                <a:rPr lang="el-GR" sz="2400" kern="1200" dirty="0">
                  <a:solidFill>
                    <a:srgbClr val="18BFDD"/>
                  </a:solidFill>
                  <a:latin typeface="Trebuchet MS" panose="020B0603020202020204" pitchFamily="34" charset="0"/>
                  <a:ea typeface="+mn-ea"/>
                  <a:cs typeface="+mn-cs"/>
                  <a:sym typeface="Wingdings" panose="05000000000000000000" pitchFamily="2" charset="2"/>
                </a:rPr>
                <a:t></a:t>
              </a:r>
              <a:endParaRPr lang="el-GR" sz="2400" kern="1200" dirty="0">
                <a:solidFill>
                  <a:srgbClr val="18BFDD"/>
                </a:solidFill>
                <a:latin typeface="Trebuchet MS" panose="020B0603020202020204" pitchFamily="34" charset="0"/>
                <a:ea typeface="+mn-ea"/>
                <a:cs typeface="+mn-cs"/>
              </a:endParaRPr>
            </a:p>
          </p:txBody>
        </p:sp>
        <p:sp>
          <p:nvSpPr>
            <p:cNvPr id="218" name="TextBox 217">
              <a:extLst>
                <a:ext uri="{FF2B5EF4-FFF2-40B4-BE49-F238E27FC236}">
                  <a16:creationId xmlns:a16="http://schemas.microsoft.com/office/drawing/2014/main" id="{ADE4A797-94AC-5572-2DEB-080962ACBA34}"/>
                </a:ext>
              </a:extLst>
            </p:cNvPr>
            <p:cNvSpPr txBox="1"/>
            <p:nvPr/>
          </p:nvSpPr>
          <p:spPr>
            <a:xfrm>
              <a:off x="9550396" y="4304573"/>
              <a:ext cx="2507228"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dirty="0">
                  <a:solidFill>
                    <a:srgbClr val="00B0F0"/>
                  </a:solidFill>
                  <a:latin typeface="Arial" panose="020B0604020202020204" pitchFamily="34" charset="0"/>
                  <a:cs typeface="Arial" panose="020B0604020202020204" pitchFamily="34" charset="0"/>
                </a:rPr>
                <a:t>Α.Ε.Ι</a:t>
              </a:r>
            </a:p>
          </p:txBody>
        </p:sp>
      </p:grpSp>
      <p:grpSp>
        <p:nvGrpSpPr>
          <p:cNvPr id="230" name="Group 229">
            <a:extLst>
              <a:ext uri="{FF2B5EF4-FFF2-40B4-BE49-F238E27FC236}">
                <a16:creationId xmlns:a16="http://schemas.microsoft.com/office/drawing/2014/main" id="{E42342B7-7979-4C86-FB63-46364384C193}"/>
              </a:ext>
            </a:extLst>
          </p:cNvPr>
          <p:cNvGrpSpPr/>
          <p:nvPr/>
        </p:nvGrpSpPr>
        <p:grpSpPr>
          <a:xfrm>
            <a:off x="210587" y="4089103"/>
            <a:ext cx="11697271" cy="505335"/>
            <a:chOff x="210587" y="4161782"/>
            <a:chExt cx="11697270" cy="505335"/>
          </a:xfrm>
        </p:grpSpPr>
        <p:sp>
          <p:nvSpPr>
            <p:cNvPr id="219" name="TextBox 218">
              <a:extLst>
                <a:ext uri="{FF2B5EF4-FFF2-40B4-BE49-F238E27FC236}">
                  <a16:creationId xmlns:a16="http://schemas.microsoft.com/office/drawing/2014/main" id="{D2D8A476-5D54-C61C-9064-9E2E735A582D}"/>
                </a:ext>
              </a:extLst>
            </p:cNvPr>
            <p:cNvSpPr txBox="1"/>
            <p:nvPr/>
          </p:nvSpPr>
          <p:spPr>
            <a:xfrm>
              <a:off x="210587" y="4161782"/>
              <a:ext cx="400001" cy="492443"/>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828754">
                <a:buClrTx/>
                <a:defRPr/>
              </a:pPr>
              <a:r>
                <a:rPr lang="el-GR" sz="2400" kern="1200">
                  <a:solidFill>
                    <a:srgbClr val="18BFDD"/>
                  </a:solidFill>
                  <a:latin typeface="Trebuchet MS" panose="020B0603020202020204" pitchFamily="34" charset="0"/>
                  <a:ea typeface="+mn-ea"/>
                  <a:cs typeface="+mn-cs"/>
                  <a:sym typeface="Wingdings" panose="05000000000000000000" pitchFamily="2" charset="2"/>
                </a:rPr>
                <a:t></a:t>
              </a:r>
              <a:endParaRPr lang="el-GR" sz="2400" kern="1200">
                <a:solidFill>
                  <a:srgbClr val="18BFDD"/>
                </a:solidFill>
                <a:latin typeface="Trebuchet MS" panose="020B0603020202020204" pitchFamily="34" charset="0"/>
                <a:ea typeface="+mn-ea"/>
                <a:cs typeface="+mn-cs"/>
              </a:endParaRPr>
            </a:p>
          </p:txBody>
        </p:sp>
        <p:sp>
          <p:nvSpPr>
            <p:cNvPr id="220" name="TextBox 219">
              <a:extLst>
                <a:ext uri="{FF2B5EF4-FFF2-40B4-BE49-F238E27FC236}">
                  <a16:creationId xmlns:a16="http://schemas.microsoft.com/office/drawing/2014/main" id="{37883A86-3F8A-C537-C1BE-A9FFA1A954D0}"/>
                </a:ext>
              </a:extLst>
            </p:cNvPr>
            <p:cNvSpPr txBox="1"/>
            <p:nvPr/>
          </p:nvSpPr>
          <p:spPr>
            <a:xfrm>
              <a:off x="800767" y="4174674"/>
              <a:ext cx="7138996" cy="492443"/>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600" dirty="0">
                  <a:solidFill>
                    <a:srgbClr val="104D8C"/>
                  </a:solidFill>
                  <a:latin typeface="Arial" panose="020B0604020202020204" pitchFamily="34" charset="0"/>
                  <a:cs typeface="Arial" panose="020B0604020202020204" pitchFamily="34" charset="0"/>
                </a:rPr>
                <a:t>Πράσινες &amp; Έξυπνες Πόλεις (</a:t>
              </a:r>
              <a:r>
                <a:rPr lang="el-GR" sz="1600" dirty="0" err="1">
                  <a:solidFill>
                    <a:srgbClr val="104D8C"/>
                  </a:solidFill>
                  <a:latin typeface="Arial" panose="020B0604020202020204" pitchFamily="34" charset="0"/>
                  <a:cs typeface="Arial" panose="020B0604020202020204" pitchFamily="34" charset="0"/>
                </a:rPr>
                <a:t>Green</a:t>
              </a:r>
              <a:r>
                <a:rPr lang="el-GR" sz="1600" dirty="0">
                  <a:solidFill>
                    <a:srgbClr val="104D8C"/>
                  </a:solidFill>
                  <a:latin typeface="Arial" panose="020B0604020202020204" pitchFamily="34" charset="0"/>
                  <a:cs typeface="Arial" panose="020B0604020202020204" pitchFamily="34" charset="0"/>
                </a:rPr>
                <a:t> &amp; Smart </a:t>
              </a:r>
              <a:r>
                <a:rPr lang="el-GR" sz="1600" dirty="0" err="1">
                  <a:solidFill>
                    <a:srgbClr val="104D8C"/>
                  </a:solidFill>
                  <a:latin typeface="Arial" panose="020B0604020202020204" pitchFamily="34" charset="0"/>
                  <a:cs typeface="Arial" panose="020B0604020202020204" pitchFamily="34" charset="0"/>
                </a:rPr>
                <a:t>Cities</a:t>
              </a:r>
              <a:r>
                <a:rPr lang="el-GR" sz="1600" dirty="0">
                  <a:solidFill>
                    <a:srgbClr val="104D8C"/>
                  </a:solidFill>
                  <a:latin typeface="Arial" panose="020B0604020202020204" pitchFamily="34" charset="0"/>
                  <a:cs typeface="Arial" panose="020B0604020202020204" pitchFamily="34" charset="0"/>
                </a:rPr>
                <a:t>) στη Δυτική Μακεδονία και στη Μεγαλόπολη </a:t>
              </a:r>
            </a:p>
          </p:txBody>
        </p:sp>
        <p:sp>
          <p:nvSpPr>
            <p:cNvPr id="221" name="TextBox 220">
              <a:extLst>
                <a:ext uri="{FF2B5EF4-FFF2-40B4-BE49-F238E27FC236}">
                  <a16:creationId xmlns:a16="http://schemas.microsoft.com/office/drawing/2014/main" id="{9EC4BB98-E1F4-FBB5-99DA-77A5FD9F03FD}"/>
                </a:ext>
              </a:extLst>
            </p:cNvPr>
            <p:cNvSpPr txBox="1"/>
            <p:nvPr/>
          </p:nvSpPr>
          <p:spPr>
            <a:xfrm>
              <a:off x="8259352" y="4227859"/>
              <a:ext cx="1156611"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kern="1200" dirty="0">
                  <a:solidFill>
                    <a:srgbClr val="0F4E8C"/>
                  </a:solidFill>
                  <a:latin typeface="Arial" panose="020B0604020202020204" pitchFamily="34" charset="0"/>
                  <a:ea typeface="+mn-ea"/>
                  <a:cs typeface="Arial" panose="020B0604020202020204" pitchFamily="34" charset="0"/>
                </a:rPr>
                <a:t>14,1 εκ.€</a:t>
              </a:r>
            </a:p>
          </p:txBody>
        </p:sp>
        <p:sp>
          <p:nvSpPr>
            <p:cNvPr id="222" name="TextBox 221">
              <a:extLst>
                <a:ext uri="{FF2B5EF4-FFF2-40B4-BE49-F238E27FC236}">
                  <a16:creationId xmlns:a16="http://schemas.microsoft.com/office/drawing/2014/main" id="{F5FA740B-22D5-6C63-F11E-A767B7A364D8}"/>
                </a:ext>
              </a:extLst>
            </p:cNvPr>
            <p:cNvSpPr txBox="1"/>
            <p:nvPr/>
          </p:nvSpPr>
          <p:spPr>
            <a:xfrm>
              <a:off x="9538162" y="4269503"/>
              <a:ext cx="2369695"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600" dirty="0">
                  <a:solidFill>
                    <a:srgbClr val="00B0F0"/>
                  </a:solidFill>
                  <a:latin typeface="Arial" panose="020B0604020202020204" pitchFamily="34" charset="0"/>
                  <a:cs typeface="Arial" panose="020B0604020202020204" pitchFamily="34" charset="0"/>
                </a:rPr>
                <a:t>Δήμος Αμυνταίου</a:t>
              </a:r>
              <a:endParaRPr lang="el-GR" sz="1600" dirty="0">
                <a:latin typeface="Arial" panose="020B0604020202020204" pitchFamily="34" charset="0"/>
                <a:cs typeface="Arial" panose="020B0604020202020204" pitchFamily="34" charset="0"/>
              </a:endParaRPr>
            </a:p>
          </p:txBody>
        </p:sp>
      </p:grpSp>
      <p:sp>
        <p:nvSpPr>
          <p:cNvPr id="6" name="Google Shape;1819;p24">
            <a:extLst>
              <a:ext uri="{FF2B5EF4-FFF2-40B4-BE49-F238E27FC236}">
                <a16:creationId xmlns:a16="http://schemas.microsoft.com/office/drawing/2014/main" id="{4DA3B9D5-59B9-45A5-6232-4CD99AD8534D}"/>
              </a:ext>
            </a:extLst>
          </p:cNvPr>
          <p:cNvSpPr/>
          <p:nvPr/>
        </p:nvSpPr>
        <p:spPr>
          <a:xfrm>
            <a:off x="9595210" y="969257"/>
            <a:ext cx="396719" cy="322732"/>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rgbClr val="1F497D"/>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buSzPts val="700"/>
            </a:pPr>
            <a:endParaRPr sz="700" b="1">
              <a:solidFill>
                <a:schemeClr val="accent1"/>
              </a:solidFill>
            </a:endParaRPr>
          </a:p>
        </p:txBody>
      </p:sp>
      <p:sp>
        <p:nvSpPr>
          <p:cNvPr id="8" name="Rectangle 7">
            <a:extLst>
              <a:ext uri="{FF2B5EF4-FFF2-40B4-BE49-F238E27FC236}">
                <a16:creationId xmlns:a16="http://schemas.microsoft.com/office/drawing/2014/main" id="{584C1A4F-D30A-0608-7195-3A88ECA297CC}"/>
              </a:ext>
            </a:extLst>
          </p:cNvPr>
          <p:cNvSpPr/>
          <p:nvPr/>
        </p:nvSpPr>
        <p:spPr>
          <a:xfrm>
            <a:off x="7903893" y="5734474"/>
            <a:ext cx="1646504" cy="295615"/>
          </a:xfrm>
          <a:prstGeom prst="rect">
            <a:avLst/>
          </a:prstGeom>
          <a:noFill/>
          <a:ln>
            <a:solidFill>
              <a:srgbClr val="00B0F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r>
              <a:rPr lang="el-GR" sz="2489" b="1" dirty="0">
                <a:solidFill>
                  <a:srgbClr val="1F497D"/>
                </a:solidFill>
                <a:latin typeface="Arial" panose="020B0604020202020204" pitchFamily="34" charset="0"/>
                <a:cs typeface="Arial" panose="020B0604020202020204" pitchFamily="34" charset="0"/>
              </a:rPr>
              <a:t>49,6 εκ. €</a:t>
            </a:r>
          </a:p>
        </p:txBody>
      </p:sp>
      <p:sp>
        <p:nvSpPr>
          <p:cNvPr id="11" name="Google Shape;1073;p16">
            <a:extLst>
              <a:ext uri="{FF2B5EF4-FFF2-40B4-BE49-F238E27FC236}">
                <a16:creationId xmlns:a16="http://schemas.microsoft.com/office/drawing/2014/main" id="{482CB7AF-9C72-7175-B14F-93A0E61A997A}"/>
              </a:ext>
            </a:extLst>
          </p:cNvPr>
          <p:cNvSpPr/>
          <p:nvPr/>
        </p:nvSpPr>
        <p:spPr>
          <a:xfrm>
            <a:off x="8070738" y="972749"/>
            <a:ext cx="303505" cy="322739"/>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5"/>
                  <a:pt x="24" y="25"/>
                  <a:pt x="24" y="25"/>
                </a:cubicBezTo>
                <a:cubicBezTo>
                  <a:pt x="551" y="25"/>
                  <a:pt x="551" y="25"/>
                  <a:pt x="551" y="25"/>
                </a:cubicBezTo>
                <a:lnTo>
                  <a:pt x="551" y="551"/>
                </a:lnTo>
                <a:close/>
                <a:moveTo>
                  <a:pt x="439" y="439"/>
                </a:moveTo>
                <a:cubicBezTo>
                  <a:pt x="412" y="456"/>
                  <a:pt x="381" y="464"/>
                  <a:pt x="346" y="464"/>
                </a:cubicBezTo>
                <a:cubicBezTo>
                  <a:pt x="293" y="464"/>
                  <a:pt x="250" y="447"/>
                  <a:pt x="215" y="413"/>
                </a:cubicBezTo>
                <a:cubicBezTo>
                  <a:pt x="196" y="394"/>
                  <a:pt x="182" y="373"/>
                  <a:pt x="173" y="349"/>
                </a:cubicBezTo>
                <a:cubicBezTo>
                  <a:pt x="110" y="349"/>
                  <a:pt x="110" y="349"/>
                  <a:pt x="110" y="349"/>
                </a:cubicBezTo>
                <a:cubicBezTo>
                  <a:pt x="128" y="305"/>
                  <a:pt x="128" y="305"/>
                  <a:pt x="128" y="305"/>
                </a:cubicBezTo>
                <a:cubicBezTo>
                  <a:pt x="164" y="305"/>
                  <a:pt x="164" y="305"/>
                  <a:pt x="164" y="305"/>
                </a:cubicBezTo>
                <a:cubicBezTo>
                  <a:pt x="164" y="299"/>
                  <a:pt x="163" y="293"/>
                  <a:pt x="163" y="287"/>
                </a:cubicBezTo>
                <a:cubicBezTo>
                  <a:pt x="163" y="281"/>
                  <a:pt x="164" y="275"/>
                  <a:pt x="164" y="269"/>
                </a:cubicBezTo>
                <a:cubicBezTo>
                  <a:pt x="110" y="269"/>
                  <a:pt x="110" y="269"/>
                  <a:pt x="110" y="269"/>
                </a:cubicBezTo>
                <a:cubicBezTo>
                  <a:pt x="128" y="225"/>
                  <a:pt x="128" y="225"/>
                  <a:pt x="128" y="225"/>
                </a:cubicBezTo>
                <a:cubicBezTo>
                  <a:pt x="173" y="225"/>
                  <a:pt x="173" y="225"/>
                  <a:pt x="173" y="225"/>
                </a:cubicBezTo>
                <a:cubicBezTo>
                  <a:pt x="182" y="201"/>
                  <a:pt x="196" y="179"/>
                  <a:pt x="215" y="160"/>
                </a:cubicBezTo>
                <a:cubicBezTo>
                  <a:pt x="250" y="127"/>
                  <a:pt x="293" y="110"/>
                  <a:pt x="346" y="110"/>
                </a:cubicBezTo>
                <a:cubicBezTo>
                  <a:pt x="380" y="110"/>
                  <a:pt x="410" y="118"/>
                  <a:pt x="437" y="133"/>
                </a:cubicBezTo>
                <a:cubicBezTo>
                  <a:pt x="415" y="186"/>
                  <a:pt x="415" y="186"/>
                  <a:pt x="415" y="186"/>
                </a:cubicBezTo>
                <a:cubicBezTo>
                  <a:pt x="409" y="182"/>
                  <a:pt x="402" y="178"/>
                  <a:pt x="396" y="175"/>
                </a:cubicBezTo>
                <a:cubicBezTo>
                  <a:pt x="381" y="169"/>
                  <a:pt x="364" y="166"/>
                  <a:pt x="345" y="166"/>
                </a:cubicBezTo>
                <a:cubicBezTo>
                  <a:pt x="311" y="166"/>
                  <a:pt x="282" y="177"/>
                  <a:pt x="258" y="199"/>
                </a:cubicBezTo>
                <a:cubicBezTo>
                  <a:pt x="250" y="207"/>
                  <a:pt x="243" y="216"/>
                  <a:pt x="238" y="225"/>
                </a:cubicBezTo>
                <a:cubicBezTo>
                  <a:pt x="399" y="225"/>
                  <a:pt x="399" y="225"/>
                  <a:pt x="399" y="225"/>
                </a:cubicBezTo>
                <a:cubicBezTo>
                  <a:pt x="381" y="269"/>
                  <a:pt x="381" y="269"/>
                  <a:pt x="381" y="269"/>
                </a:cubicBezTo>
                <a:cubicBezTo>
                  <a:pt x="224" y="269"/>
                  <a:pt x="224" y="269"/>
                  <a:pt x="224" y="269"/>
                </a:cubicBezTo>
                <a:cubicBezTo>
                  <a:pt x="224" y="274"/>
                  <a:pt x="223" y="279"/>
                  <a:pt x="223" y="285"/>
                </a:cubicBezTo>
                <a:cubicBezTo>
                  <a:pt x="223" y="285"/>
                  <a:pt x="223" y="286"/>
                  <a:pt x="223" y="287"/>
                </a:cubicBezTo>
                <a:cubicBezTo>
                  <a:pt x="223" y="288"/>
                  <a:pt x="223" y="288"/>
                  <a:pt x="223" y="289"/>
                </a:cubicBezTo>
                <a:cubicBezTo>
                  <a:pt x="223" y="295"/>
                  <a:pt x="224" y="300"/>
                  <a:pt x="224" y="305"/>
                </a:cubicBezTo>
                <a:cubicBezTo>
                  <a:pt x="366" y="305"/>
                  <a:pt x="366" y="305"/>
                  <a:pt x="366" y="305"/>
                </a:cubicBezTo>
                <a:cubicBezTo>
                  <a:pt x="349" y="349"/>
                  <a:pt x="349" y="349"/>
                  <a:pt x="349" y="349"/>
                </a:cubicBezTo>
                <a:cubicBezTo>
                  <a:pt x="238" y="349"/>
                  <a:pt x="238" y="349"/>
                  <a:pt x="238" y="349"/>
                </a:cubicBezTo>
                <a:cubicBezTo>
                  <a:pt x="243" y="358"/>
                  <a:pt x="250" y="366"/>
                  <a:pt x="258" y="374"/>
                </a:cubicBezTo>
                <a:cubicBezTo>
                  <a:pt x="282" y="396"/>
                  <a:pt x="311" y="408"/>
                  <a:pt x="345" y="408"/>
                </a:cubicBezTo>
                <a:cubicBezTo>
                  <a:pt x="364" y="408"/>
                  <a:pt x="381" y="404"/>
                  <a:pt x="396" y="398"/>
                </a:cubicBezTo>
                <a:cubicBezTo>
                  <a:pt x="403" y="395"/>
                  <a:pt x="409" y="392"/>
                  <a:pt x="416" y="387"/>
                </a:cubicBezTo>
                <a:cubicBezTo>
                  <a:pt x="428" y="413"/>
                  <a:pt x="430" y="419"/>
                  <a:pt x="439" y="439"/>
                </a:cubicBezTo>
                <a:close/>
              </a:path>
            </a:pathLst>
          </a:custGeom>
          <a:solidFill>
            <a:srgbClr val="104D8C"/>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buSzPts val="700"/>
            </a:pPr>
            <a:endParaRPr sz="700">
              <a:solidFill>
                <a:schemeClr val="accent1"/>
              </a:solidFill>
            </a:endParaRPr>
          </a:p>
        </p:txBody>
      </p:sp>
      <p:sp>
        <p:nvSpPr>
          <p:cNvPr id="7" name="Google Shape;1073;p16">
            <a:extLst>
              <a:ext uri="{FF2B5EF4-FFF2-40B4-BE49-F238E27FC236}">
                <a16:creationId xmlns:a16="http://schemas.microsoft.com/office/drawing/2014/main" id="{42B3DD2A-02E5-D865-3728-07DFC4FD9CF2}"/>
              </a:ext>
            </a:extLst>
          </p:cNvPr>
          <p:cNvSpPr/>
          <p:nvPr/>
        </p:nvSpPr>
        <p:spPr>
          <a:xfrm>
            <a:off x="8070738" y="972749"/>
            <a:ext cx="303505" cy="322739"/>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5"/>
                  <a:pt x="24" y="25"/>
                  <a:pt x="24" y="25"/>
                </a:cubicBezTo>
                <a:cubicBezTo>
                  <a:pt x="551" y="25"/>
                  <a:pt x="551" y="25"/>
                  <a:pt x="551" y="25"/>
                </a:cubicBezTo>
                <a:lnTo>
                  <a:pt x="551" y="551"/>
                </a:lnTo>
                <a:close/>
                <a:moveTo>
                  <a:pt x="439" y="439"/>
                </a:moveTo>
                <a:cubicBezTo>
                  <a:pt x="412" y="456"/>
                  <a:pt x="381" y="464"/>
                  <a:pt x="346" y="464"/>
                </a:cubicBezTo>
                <a:cubicBezTo>
                  <a:pt x="293" y="464"/>
                  <a:pt x="250" y="447"/>
                  <a:pt x="215" y="413"/>
                </a:cubicBezTo>
                <a:cubicBezTo>
                  <a:pt x="196" y="394"/>
                  <a:pt x="182" y="373"/>
                  <a:pt x="173" y="349"/>
                </a:cubicBezTo>
                <a:cubicBezTo>
                  <a:pt x="110" y="349"/>
                  <a:pt x="110" y="349"/>
                  <a:pt x="110" y="349"/>
                </a:cubicBezTo>
                <a:cubicBezTo>
                  <a:pt x="128" y="305"/>
                  <a:pt x="128" y="305"/>
                  <a:pt x="128" y="305"/>
                </a:cubicBezTo>
                <a:cubicBezTo>
                  <a:pt x="164" y="305"/>
                  <a:pt x="164" y="305"/>
                  <a:pt x="164" y="305"/>
                </a:cubicBezTo>
                <a:cubicBezTo>
                  <a:pt x="164" y="299"/>
                  <a:pt x="163" y="293"/>
                  <a:pt x="163" y="287"/>
                </a:cubicBezTo>
                <a:cubicBezTo>
                  <a:pt x="163" y="281"/>
                  <a:pt x="164" y="275"/>
                  <a:pt x="164" y="269"/>
                </a:cubicBezTo>
                <a:cubicBezTo>
                  <a:pt x="110" y="269"/>
                  <a:pt x="110" y="269"/>
                  <a:pt x="110" y="269"/>
                </a:cubicBezTo>
                <a:cubicBezTo>
                  <a:pt x="128" y="225"/>
                  <a:pt x="128" y="225"/>
                  <a:pt x="128" y="225"/>
                </a:cubicBezTo>
                <a:cubicBezTo>
                  <a:pt x="173" y="225"/>
                  <a:pt x="173" y="225"/>
                  <a:pt x="173" y="225"/>
                </a:cubicBezTo>
                <a:cubicBezTo>
                  <a:pt x="182" y="201"/>
                  <a:pt x="196" y="179"/>
                  <a:pt x="215" y="160"/>
                </a:cubicBezTo>
                <a:cubicBezTo>
                  <a:pt x="250" y="127"/>
                  <a:pt x="293" y="110"/>
                  <a:pt x="346" y="110"/>
                </a:cubicBezTo>
                <a:cubicBezTo>
                  <a:pt x="380" y="110"/>
                  <a:pt x="410" y="118"/>
                  <a:pt x="437" y="133"/>
                </a:cubicBezTo>
                <a:cubicBezTo>
                  <a:pt x="415" y="186"/>
                  <a:pt x="415" y="186"/>
                  <a:pt x="415" y="186"/>
                </a:cubicBezTo>
                <a:cubicBezTo>
                  <a:pt x="409" y="182"/>
                  <a:pt x="402" y="178"/>
                  <a:pt x="396" y="175"/>
                </a:cubicBezTo>
                <a:cubicBezTo>
                  <a:pt x="381" y="169"/>
                  <a:pt x="364" y="166"/>
                  <a:pt x="345" y="166"/>
                </a:cubicBezTo>
                <a:cubicBezTo>
                  <a:pt x="311" y="166"/>
                  <a:pt x="282" y="177"/>
                  <a:pt x="258" y="199"/>
                </a:cubicBezTo>
                <a:cubicBezTo>
                  <a:pt x="250" y="207"/>
                  <a:pt x="243" y="216"/>
                  <a:pt x="238" y="225"/>
                </a:cubicBezTo>
                <a:cubicBezTo>
                  <a:pt x="399" y="225"/>
                  <a:pt x="399" y="225"/>
                  <a:pt x="399" y="225"/>
                </a:cubicBezTo>
                <a:cubicBezTo>
                  <a:pt x="381" y="269"/>
                  <a:pt x="381" y="269"/>
                  <a:pt x="381" y="269"/>
                </a:cubicBezTo>
                <a:cubicBezTo>
                  <a:pt x="224" y="269"/>
                  <a:pt x="224" y="269"/>
                  <a:pt x="224" y="269"/>
                </a:cubicBezTo>
                <a:cubicBezTo>
                  <a:pt x="224" y="274"/>
                  <a:pt x="223" y="279"/>
                  <a:pt x="223" y="285"/>
                </a:cubicBezTo>
                <a:cubicBezTo>
                  <a:pt x="223" y="285"/>
                  <a:pt x="223" y="286"/>
                  <a:pt x="223" y="287"/>
                </a:cubicBezTo>
                <a:cubicBezTo>
                  <a:pt x="223" y="288"/>
                  <a:pt x="223" y="288"/>
                  <a:pt x="223" y="289"/>
                </a:cubicBezTo>
                <a:cubicBezTo>
                  <a:pt x="223" y="295"/>
                  <a:pt x="224" y="300"/>
                  <a:pt x="224" y="305"/>
                </a:cubicBezTo>
                <a:cubicBezTo>
                  <a:pt x="366" y="305"/>
                  <a:pt x="366" y="305"/>
                  <a:pt x="366" y="305"/>
                </a:cubicBezTo>
                <a:cubicBezTo>
                  <a:pt x="349" y="349"/>
                  <a:pt x="349" y="349"/>
                  <a:pt x="349" y="349"/>
                </a:cubicBezTo>
                <a:cubicBezTo>
                  <a:pt x="238" y="349"/>
                  <a:pt x="238" y="349"/>
                  <a:pt x="238" y="349"/>
                </a:cubicBezTo>
                <a:cubicBezTo>
                  <a:pt x="243" y="358"/>
                  <a:pt x="250" y="366"/>
                  <a:pt x="258" y="374"/>
                </a:cubicBezTo>
                <a:cubicBezTo>
                  <a:pt x="282" y="396"/>
                  <a:pt x="311" y="408"/>
                  <a:pt x="345" y="408"/>
                </a:cubicBezTo>
                <a:cubicBezTo>
                  <a:pt x="364" y="408"/>
                  <a:pt x="381" y="404"/>
                  <a:pt x="396" y="398"/>
                </a:cubicBezTo>
                <a:cubicBezTo>
                  <a:pt x="403" y="395"/>
                  <a:pt x="409" y="392"/>
                  <a:pt x="416" y="387"/>
                </a:cubicBezTo>
                <a:cubicBezTo>
                  <a:pt x="428" y="413"/>
                  <a:pt x="430" y="419"/>
                  <a:pt x="439" y="439"/>
                </a:cubicBezTo>
                <a:close/>
              </a:path>
            </a:pathLst>
          </a:custGeom>
          <a:solidFill>
            <a:srgbClr val="104D8C"/>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buSzPts val="700"/>
            </a:pPr>
            <a:endParaRPr sz="700">
              <a:solidFill>
                <a:schemeClr val="accent1"/>
              </a:solidFill>
            </a:endParaRPr>
          </a:p>
        </p:txBody>
      </p:sp>
      <p:sp>
        <p:nvSpPr>
          <p:cNvPr id="13" name="TextBox 12">
            <a:extLst>
              <a:ext uri="{FF2B5EF4-FFF2-40B4-BE49-F238E27FC236}">
                <a16:creationId xmlns:a16="http://schemas.microsoft.com/office/drawing/2014/main" id="{CD4B7404-3BBE-BA64-DA32-896C236E04F1}"/>
              </a:ext>
            </a:extLst>
          </p:cNvPr>
          <p:cNvSpPr txBox="1"/>
          <p:nvPr/>
        </p:nvSpPr>
        <p:spPr>
          <a:xfrm>
            <a:off x="8514821" y="1039328"/>
            <a:ext cx="645675" cy="246221"/>
          </a:xfrm>
          <a:prstGeom prst="rect">
            <a:avLst/>
          </a:prstGeom>
          <a:noFill/>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Tx/>
              <a:defRPr/>
            </a:pPr>
            <a:r>
              <a:rPr lang="el-GR" sz="1600" b="1" kern="1200">
                <a:solidFill>
                  <a:srgbClr val="16518B"/>
                </a:solidFill>
                <a:latin typeface="Arial" panose="020B0604020202020204" pitchFamily="34" charset="0"/>
                <a:ea typeface="+mn-ea"/>
                <a:cs typeface="Arial" panose="020B0604020202020204" pitchFamily="34" charset="0"/>
              </a:rPr>
              <a:t>Π/Υ</a:t>
            </a:r>
            <a:endParaRPr lang="el-GR" sz="1800" kern="1200">
              <a:solidFill>
                <a:srgbClr val="16518B"/>
              </a:solidFill>
              <a:latin typeface="Arial" panose="020B0604020202020204" pitchFamily="34" charset="0"/>
              <a:ea typeface="+mn-ea"/>
              <a:cs typeface="Arial" panose="020B0604020202020204" pitchFamily="34" charset="0"/>
            </a:endParaRPr>
          </a:p>
        </p:txBody>
      </p:sp>
      <p:sp>
        <p:nvSpPr>
          <p:cNvPr id="233" name="TextBox 232">
            <a:extLst>
              <a:ext uri="{FF2B5EF4-FFF2-40B4-BE49-F238E27FC236}">
                <a16:creationId xmlns:a16="http://schemas.microsoft.com/office/drawing/2014/main" id="{2E125548-3972-0ECE-93E9-11D4BE0D6563}"/>
              </a:ext>
            </a:extLst>
          </p:cNvPr>
          <p:cNvSpPr txBox="1"/>
          <p:nvPr/>
        </p:nvSpPr>
        <p:spPr>
          <a:xfrm>
            <a:off x="1467637" y="6209582"/>
            <a:ext cx="10134600" cy="338554"/>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600" dirty="0">
                <a:solidFill>
                  <a:srgbClr val="0070C0"/>
                </a:solidFill>
                <a:latin typeface="Arial" panose="020B0604020202020204" pitchFamily="34" charset="0"/>
                <a:cs typeface="Arial" panose="020B0604020202020204" pitchFamily="34" charset="0"/>
              </a:rPr>
              <a:t>Το σύνολο των Προσκλήσεων θα έχει εκδοθεί έως το τέλος του 2025.</a:t>
            </a:r>
          </a:p>
        </p:txBody>
      </p:sp>
      <p:sp>
        <p:nvSpPr>
          <p:cNvPr id="41"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8749575" cy="795145"/>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Arial" panose="020B0604020202020204" pitchFamily="34" charset="0"/>
                <a:ea typeface="Urbanist" panose="020B0604020202020204" charset="0"/>
                <a:cs typeface="Arial" panose="020B0604020202020204" pitchFamily="34" charset="0"/>
              </a:rPr>
              <a:t>Ενεργές &amp; Επικείμενες Προσκλήσεις Δυτικής Μακεδονίας</a:t>
            </a:r>
          </a:p>
        </p:txBody>
      </p:sp>
      <p:cxnSp>
        <p:nvCxnSpPr>
          <p:cNvPr id="42" name="Ευθεία γραμμή σύνδεσης 41">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44" name="Ομάδα 43">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45"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46"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286585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0CD13-0E7C-DDF6-6E0E-677B5C01890E}"/>
            </a:ext>
          </a:extLst>
        </p:cNvPr>
        <p:cNvGrpSpPr/>
        <p:nvPr/>
      </p:nvGrpSpPr>
      <p:grpSpPr>
        <a:xfrm>
          <a:off x="0" y="0"/>
          <a:ext cx="0" cy="0"/>
          <a:chOff x="0" y="0"/>
          <a:chExt cx="0" cy="0"/>
        </a:xfrm>
      </p:grpSpPr>
      <p:sp>
        <p:nvSpPr>
          <p:cNvPr id="4" name="Στρογγυλεμένο ορθογώνιο 17"/>
          <p:cNvSpPr/>
          <p:nvPr/>
        </p:nvSpPr>
        <p:spPr>
          <a:xfrm>
            <a:off x="893489" y="2761462"/>
            <a:ext cx="9901512" cy="3235831"/>
          </a:xfrm>
          <a:prstGeom prst="roundRect">
            <a:avLst/>
          </a:prstGeom>
          <a:noFill/>
          <a:ln w="19050">
            <a:solidFill>
              <a:srgbClr val="369089"/>
            </a:solidFill>
          </a:ln>
        </p:spPr>
        <p:style>
          <a:lnRef idx="2">
            <a:schemeClr val="accent5"/>
          </a:lnRef>
          <a:fillRef idx="1">
            <a:schemeClr val="lt1"/>
          </a:fillRef>
          <a:effectRef idx="0">
            <a:schemeClr val="accent5"/>
          </a:effectRef>
          <a:fontRef idx="minor">
            <a:schemeClr val="dk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Bef>
                <a:spcPts val="800"/>
              </a:spcBef>
              <a:buClr>
                <a:srgbClr val="FFC000"/>
              </a:buClr>
            </a:pPr>
            <a:r>
              <a:rPr lang="el-GR" sz="1600" b="1" dirty="0">
                <a:solidFill>
                  <a:srgbClr val="085195"/>
                </a:solidFill>
              </a:rPr>
              <a:t>Σκοπός</a:t>
            </a:r>
            <a:r>
              <a:rPr lang="el-GR" sz="1600" dirty="0">
                <a:solidFill>
                  <a:srgbClr val="085195"/>
                </a:solidFill>
              </a:rPr>
              <a:t>: </a:t>
            </a:r>
          </a:p>
          <a:p>
            <a:pPr>
              <a:spcBef>
                <a:spcPts val="800"/>
              </a:spcBef>
              <a:buClr>
                <a:srgbClr val="FFC000"/>
              </a:buClr>
            </a:pPr>
            <a:r>
              <a:rPr lang="el-GR" sz="1600" dirty="0">
                <a:solidFill>
                  <a:srgbClr val="085195"/>
                </a:solidFill>
              </a:rPr>
              <a:t>Χρηματοδότηση δράσεων και έργων για την ανάπτυξη βιώσιμων οικονομικών δραστηριοτήτων χαμηλού ανθρακικού και περιβαλλοντικού αποτυπώματος, προκειμένου να καταστεί δυνατή η ενίσχυση και η σταδιακή διαφοροποίηση των τοπικών οικονομιών και η δημιουργία θέσεων εργασίας.</a:t>
            </a:r>
          </a:p>
          <a:p>
            <a:pPr>
              <a:spcBef>
                <a:spcPts val="800"/>
              </a:spcBef>
              <a:buClr>
                <a:srgbClr val="FFC000"/>
              </a:buClr>
            </a:pPr>
            <a:endParaRPr lang="el-GR" sz="1600" dirty="0">
              <a:solidFill>
                <a:srgbClr val="085195"/>
              </a:solidFill>
            </a:endParaRPr>
          </a:p>
          <a:p>
            <a:pPr>
              <a:spcBef>
                <a:spcPts val="800"/>
              </a:spcBef>
              <a:buClr>
                <a:srgbClr val="FFC000"/>
              </a:buClr>
            </a:pPr>
            <a:r>
              <a:rPr lang="el-GR" sz="1600" b="1" dirty="0">
                <a:solidFill>
                  <a:srgbClr val="085195"/>
                </a:solidFill>
              </a:rPr>
              <a:t>Επιλέξιμες Περιοχές:</a:t>
            </a:r>
          </a:p>
          <a:p>
            <a:pPr marL="228589" indent="-228589">
              <a:spcBef>
                <a:spcPts val="800"/>
              </a:spcBef>
              <a:buClr>
                <a:srgbClr val="FFC000"/>
              </a:buClr>
              <a:buFont typeface="Wingdings" panose="05000000000000000000" pitchFamily="2" charset="2"/>
              <a:buChar char="v"/>
            </a:pPr>
            <a:r>
              <a:rPr lang="el-GR" sz="1600" dirty="0">
                <a:solidFill>
                  <a:srgbClr val="085195"/>
                </a:solidFill>
              </a:rPr>
              <a:t>ΠΕ Κοζάνης και Φλώρινας</a:t>
            </a:r>
          </a:p>
          <a:p>
            <a:pPr marL="228589" indent="-228589">
              <a:spcBef>
                <a:spcPts val="800"/>
              </a:spcBef>
              <a:buClr>
                <a:srgbClr val="FFC000"/>
              </a:buClr>
              <a:buFont typeface="Wingdings" panose="05000000000000000000" pitchFamily="2" charset="2"/>
              <a:buChar char="v"/>
            </a:pPr>
            <a:r>
              <a:rPr lang="el-GR" sz="1600" dirty="0">
                <a:solidFill>
                  <a:srgbClr val="085195"/>
                </a:solidFill>
              </a:rPr>
              <a:t>Δήμος Μεγαλόπολης </a:t>
            </a:r>
          </a:p>
          <a:p>
            <a:pPr marL="228589" indent="-228589">
              <a:spcBef>
                <a:spcPts val="800"/>
              </a:spcBef>
              <a:buClr>
                <a:srgbClr val="FFC000"/>
              </a:buClr>
              <a:buFont typeface="Wingdings" panose="05000000000000000000" pitchFamily="2" charset="2"/>
              <a:buChar char="v"/>
            </a:pPr>
            <a:r>
              <a:rPr lang="el-GR" sz="1600" dirty="0">
                <a:solidFill>
                  <a:srgbClr val="085195"/>
                </a:solidFill>
              </a:rPr>
              <a:t>Λοιπές περιοχές μετάβασης. </a:t>
            </a:r>
          </a:p>
        </p:txBody>
      </p:sp>
      <p:sp>
        <p:nvSpPr>
          <p:cNvPr id="20" name="Google Shape;490;p30">
            <a:extLst>
              <a:ext uri="{FF2B5EF4-FFF2-40B4-BE49-F238E27FC236}">
                <a16:creationId xmlns:a16="http://schemas.microsoft.com/office/drawing/2014/main" id="{B04994EE-D962-49A7-56D8-F7258E7C7571}"/>
              </a:ext>
            </a:extLst>
          </p:cNvPr>
          <p:cNvSpPr/>
          <p:nvPr/>
        </p:nvSpPr>
        <p:spPr>
          <a:xfrm>
            <a:off x="893489" y="1179439"/>
            <a:ext cx="10599816" cy="886429"/>
          </a:xfrm>
          <a:custGeom>
            <a:avLst/>
            <a:gdLst/>
            <a:ahLst/>
            <a:cxnLst/>
            <a:rect l="l" t="t" r="r" b="b"/>
            <a:pathLst>
              <a:path w="3182683" h="845438" extrusionOk="0">
                <a:moveTo>
                  <a:pt x="3182684" y="163830"/>
                </a:moveTo>
                <a:lnTo>
                  <a:pt x="3182684" y="681609"/>
                </a:lnTo>
                <a:cubicBezTo>
                  <a:pt x="3182684" y="772097"/>
                  <a:pt x="3129058" y="845439"/>
                  <a:pt x="3062954" y="845439"/>
                </a:cubicBezTo>
                <a:lnTo>
                  <a:pt x="119729" y="845439"/>
                </a:lnTo>
                <a:cubicBezTo>
                  <a:pt x="53626" y="845439"/>
                  <a:pt x="0" y="772097"/>
                  <a:pt x="0" y="681609"/>
                </a:cubicBezTo>
                <a:lnTo>
                  <a:pt x="0" y="163830"/>
                </a:lnTo>
                <a:cubicBezTo>
                  <a:pt x="0" y="73438"/>
                  <a:pt x="53626" y="0"/>
                  <a:pt x="119729" y="0"/>
                </a:cubicBezTo>
                <a:lnTo>
                  <a:pt x="3062954" y="0"/>
                </a:lnTo>
                <a:cubicBezTo>
                  <a:pt x="3129058" y="0"/>
                  <a:pt x="3182684" y="73438"/>
                  <a:pt x="3182684" y="163830"/>
                </a:cubicBezTo>
                <a:close/>
              </a:path>
            </a:pathLst>
          </a:custGeom>
          <a:solidFill>
            <a:schemeClr val="tx2">
              <a:lumMod val="20000"/>
              <a:lumOff val="80000"/>
            </a:schemeClr>
          </a:solid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buClrTx/>
              <a:defRPr/>
            </a:pPr>
            <a:r>
              <a:rPr lang="el-GR" sz="2133" b="1" dirty="0">
                <a:solidFill>
                  <a:srgbClr val="005E88"/>
                </a:solidFill>
                <a:latin typeface="Arial" panose="020B0604020202020204" pitchFamily="34" charset="0"/>
                <a:ea typeface="Urbanist" panose="020B0604020202020204" charset="0"/>
                <a:cs typeface="Arial" panose="020B0604020202020204" pitchFamily="34" charset="0"/>
                <a:sym typeface="Calibri"/>
              </a:rPr>
              <a:t>Ενεργοποίηση Ειδικού Προγράμματος ΔΑΜ </a:t>
            </a:r>
          </a:p>
          <a:p>
            <a:pPr lvl="0" algn="ctr">
              <a:buClrTx/>
              <a:defRPr/>
            </a:pPr>
            <a:r>
              <a:rPr lang="el-GR" sz="2133" b="1" dirty="0">
                <a:solidFill>
                  <a:srgbClr val="005E88"/>
                </a:solidFill>
                <a:latin typeface="Arial" panose="020B0604020202020204" pitchFamily="34" charset="0"/>
                <a:ea typeface="Urbanist" panose="020B0604020202020204" charset="0"/>
                <a:cs typeface="Arial" panose="020B0604020202020204" pitchFamily="34" charset="0"/>
                <a:sym typeface="Calibri"/>
              </a:rPr>
              <a:t>με χρηματοδότηση από το Εθνικό Πρόγραμμα Ανάπτυξης</a:t>
            </a:r>
          </a:p>
        </p:txBody>
      </p:sp>
      <p:sp>
        <p:nvSpPr>
          <p:cNvPr id="22" name="Google Shape;491;p30">
            <a:extLst>
              <a:ext uri="{FF2B5EF4-FFF2-40B4-BE49-F238E27FC236}">
                <a16:creationId xmlns:a16="http://schemas.microsoft.com/office/drawing/2014/main" id="{8188918A-C755-9C78-CDD3-A77B988D2AF0}"/>
              </a:ext>
            </a:extLst>
          </p:cNvPr>
          <p:cNvSpPr/>
          <p:nvPr/>
        </p:nvSpPr>
        <p:spPr>
          <a:xfrm>
            <a:off x="868089" y="1716949"/>
            <a:ext cx="281384" cy="155495"/>
          </a:xfrm>
          <a:custGeom>
            <a:avLst/>
            <a:gdLst/>
            <a:ahLst/>
            <a:cxnLst/>
            <a:rect l="l" t="t" r="r" b="b"/>
            <a:pathLst>
              <a:path w="337661" h="186594" extrusionOk="0">
                <a:moveTo>
                  <a:pt x="337661" y="0"/>
                </a:moveTo>
                <a:lnTo>
                  <a:pt x="132398" y="186595"/>
                </a:lnTo>
                <a:cubicBezTo>
                  <a:pt x="59329" y="186647"/>
                  <a:pt x="53" y="127456"/>
                  <a:pt x="0" y="54388"/>
                </a:cubicBezTo>
                <a:cubicBezTo>
                  <a:pt x="0" y="54356"/>
                  <a:pt x="0" y="54324"/>
                  <a:pt x="0" y="54292"/>
                </a:cubicBezTo>
                <a:lnTo>
                  <a:pt x="0" y="0"/>
                </a:lnTo>
                <a:close/>
              </a:path>
            </a:pathLst>
          </a:custGeom>
          <a:solidFill>
            <a:srgbClr val="FDCCA8"/>
          </a:solid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219140">
              <a:defRPr/>
            </a:pPr>
            <a:endParaRPr sz="2400">
              <a:latin typeface="+mn-lt"/>
              <a:ea typeface="Calibri"/>
              <a:cs typeface="Calibri"/>
              <a:sym typeface="Calibri"/>
            </a:endParaRPr>
          </a:p>
        </p:txBody>
      </p:sp>
      <p:sp>
        <p:nvSpPr>
          <p:cNvPr id="31" name="Google Shape;494;p30">
            <a:extLst>
              <a:ext uri="{FF2B5EF4-FFF2-40B4-BE49-F238E27FC236}">
                <a16:creationId xmlns:a16="http://schemas.microsoft.com/office/drawing/2014/main" id="{915A7C5B-41AB-DCE6-5E3D-66B6D13A77D6}"/>
              </a:ext>
            </a:extLst>
          </p:cNvPr>
          <p:cNvSpPr/>
          <p:nvPr/>
        </p:nvSpPr>
        <p:spPr>
          <a:xfrm>
            <a:off x="444891" y="990213"/>
            <a:ext cx="748800" cy="748800"/>
          </a:xfrm>
          <a:prstGeom prst="roundRect">
            <a:avLst>
              <a:gd name="adj" fmla="val 9727"/>
            </a:avLst>
          </a:prstGeom>
          <a:solidFill>
            <a:srgbClr val="ADDDD4"/>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1219140">
              <a:defRPr/>
            </a:pPr>
            <a:endParaRPr sz="2400">
              <a:latin typeface="+mn-lt"/>
              <a:ea typeface="Montserrat Medium"/>
              <a:cs typeface="Montserrat Medium"/>
              <a:sym typeface="Montserrat Medium"/>
            </a:endParaRPr>
          </a:p>
        </p:txBody>
      </p:sp>
      <p:sp>
        <p:nvSpPr>
          <p:cNvPr id="32" name="Google Shape;495;p30">
            <a:extLst>
              <a:ext uri="{FF2B5EF4-FFF2-40B4-BE49-F238E27FC236}">
                <a16:creationId xmlns:a16="http://schemas.microsoft.com/office/drawing/2014/main" id="{3E4E7E70-CCE2-3F6E-1FF8-5D7438296FFC}"/>
              </a:ext>
            </a:extLst>
          </p:cNvPr>
          <p:cNvSpPr/>
          <p:nvPr/>
        </p:nvSpPr>
        <p:spPr>
          <a:xfrm>
            <a:off x="587237" y="1121479"/>
            <a:ext cx="464153" cy="486256"/>
          </a:xfrm>
          <a:custGeom>
            <a:avLst/>
            <a:gdLst/>
            <a:ahLst/>
            <a:cxnLst/>
            <a:rect l="l" t="t" r="r" b="b"/>
            <a:pathLst>
              <a:path w="1338905" h="1402663" extrusionOk="0">
                <a:moveTo>
                  <a:pt x="924483" y="63757"/>
                </a:moveTo>
                <a:lnTo>
                  <a:pt x="765089" y="63757"/>
                </a:lnTo>
                <a:lnTo>
                  <a:pt x="765089" y="191272"/>
                </a:lnTo>
                <a:lnTo>
                  <a:pt x="860725" y="191272"/>
                </a:lnTo>
                <a:cubicBezTo>
                  <a:pt x="878331" y="191272"/>
                  <a:pt x="892604" y="205545"/>
                  <a:pt x="892604" y="223151"/>
                </a:cubicBezTo>
                <a:lnTo>
                  <a:pt x="892604" y="860725"/>
                </a:lnTo>
                <a:lnTo>
                  <a:pt x="1020119" y="860725"/>
                </a:lnTo>
                <a:lnTo>
                  <a:pt x="1020119" y="159394"/>
                </a:lnTo>
                <a:cubicBezTo>
                  <a:pt x="1020119" y="106575"/>
                  <a:pt x="977301" y="63757"/>
                  <a:pt x="924483" y="63757"/>
                </a:cubicBezTo>
                <a:close/>
                <a:moveTo>
                  <a:pt x="127515" y="1243270"/>
                </a:moveTo>
                <a:lnTo>
                  <a:pt x="127515" y="223151"/>
                </a:lnTo>
                <a:cubicBezTo>
                  <a:pt x="127515" y="205545"/>
                  <a:pt x="141787" y="191272"/>
                  <a:pt x="159394" y="191272"/>
                </a:cubicBezTo>
                <a:lnTo>
                  <a:pt x="255030" y="191272"/>
                </a:lnTo>
                <a:lnTo>
                  <a:pt x="255030" y="63757"/>
                </a:lnTo>
                <a:lnTo>
                  <a:pt x="95636" y="63757"/>
                </a:lnTo>
                <a:cubicBezTo>
                  <a:pt x="42818" y="63757"/>
                  <a:pt x="0" y="106575"/>
                  <a:pt x="0" y="159394"/>
                </a:cubicBezTo>
                <a:lnTo>
                  <a:pt x="0" y="1307027"/>
                </a:lnTo>
                <a:cubicBezTo>
                  <a:pt x="0" y="1359845"/>
                  <a:pt x="42818" y="1402663"/>
                  <a:pt x="95636" y="1402663"/>
                </a:cubicBezTo>
                <a:lnTo>
                  <a:pt x="446302" y="1402663"/>
                </a:lnTo>
                <a:lnTo>
                  <a:pt x="446302" y="1275148"/>
                </a:lnTo>
                <a:lnTo>
                  <a:pt x="159394" y="1275148"/>
                </a:lnTo>
                <a:cubicBezTo>
                  <a:pt x="141787" y="1275148"/>
                  <a:pt x="127515" y="1260876"/>
                  <a:pt x="127515" y="1243270"/>
                </a:cubicBezTo>
                <a:close/>
                <a:moveTo>
                  <a:pt x="637574" y="0"/>
                </a:moveTo>
                <a:lnTo>
                  <a:pt x="382545" y="0"/>
                </a:lnTo>
                <a:cubicBezTo>
                  <a:pt x="329726" y="0"/>
                  <a:pt x="286908" y="42818"/>
                  <a:pt x="286908" y="95636"/>
                </a:cubicBezTo>
                <a:lnTo>
                  <a:pt x="286908" y="223151"/>
                </a:lnTo>
                <a:cubicBezTo>
                  <a:pt x="286908" y="275969"/>
                  <a:pt x="329726" y="318787"/>
                  <a:pt x="382545" y="318787"/>
                </a:cubicBezTo>
                <a:lnTo>
                  <a:pt x="637574" y="318787"/>
                </a:lnTo>
                <a:cubicBezTo>
                  <a:pt x="690393" y="318787"/>
                  <a:pt x="733210" y="275969"/>
                  <a:pt x="733210" y="223151"/>
                </a:cubicBezTo>
                <a:lnTo>
                  <a:pt x="733210" y="95636"/>
                </a:lnTo>
                <a:cubicBezTo>
                  <a:pt x="733210" y="42818"/>
                  <a:pt x="690393" y="0"/>
                  <a:pt x="637574" y="0"/>
                </a:cubicBezTo>
                <a:close/>
                <a:moveTo>
                  <a:pt x="573817" y="191272"/>
                </a:moveTo>
                <a:lnTo>
                  <a:pt x="446302" y="191272"/>
                </a:lnTo>
                <a:lnTo>
                  <a:pt x="446302" y="127515"/>
                </a:lnTo>
                <a:lnTo>
                  <a:pt x="573817" y="127515"/>
                </a:lnTo>
                <a:close/>
                <a:moveTo>
                  <a:pt x="765089" y="478181"/>
                </a:moveTo>
                <a:lnTo>
                  <a:pt x="541938" y="478181"/>
                </a:lnTo>
                <a:lnTo>
                  <a:pt x="541938" y="414423"/>
                </a:lnTo>
                <a:lnTo>
                  <a:pt x="765089" y="414423"/>
                </a:lnTo>
                <a:close/>
                <a:moveTo>
                  <a:pt x="765089" y="733210"/>
                </a:moveTo>
                <a:lnTo>
                  <a:pt x="541938" y="733210"/>
                </a:lnTo>
                <a:lnTo>
                  <a:pt x="541938" y="669453"/>
                </a:lnTo>
                <a:lnTo>
                  <a:pt x="765089" y="669453"/>
                </a:lnTo>
                <a:close/>
                <a:moveTo>
                  <a:pt x="765089" y="605695"/>
                </a:moveTo>
                <a:lnTo>
                  <a:pt x="541938" y="605695"/>
                </a:lnTo>
                <a:lnTo>
                  <a:pt x="541938" y="541938"/>
                </a:lnTo>
                <a:lnTo>
                  <a:pt x="765089" y="541938"/>
                </a:lnTo>
                <a:close/>
                <a:moveTo>
                  <a:pt x="765089" y="860725"/>
                </a:moveTo>
                <a:lnTo>
                  <a:pt x="541938" y="860725"/>
                </a:lnTo>
                <a:lnTo>
                  <a:pt x="541938" y="796968"/>
                </a:lnTo>
                <a:lnTo>
                  <a:pt x="765089" y="796968"/>
                </a:lnTo>
                <a:close/>
                <a:moveTo>
                  <a:pt x="765089" y="988240"/>
                </a:moveTo>
                <a:lnTo>
                  <a:pt x="541938" y="988240"/>
                </a:lnTo>
                <a:lnTo>
                  <a:pt x="541938" y="924483"/>
                </a:lnTo>
                <a:lnTo>
                  <a:pt x="765089" y="924483"/>
                </a:lnTo>
                <a:close/>
                <a:moveTo>
                  <a:pt x="350666" y="605695"/>
                </a:moveTo>
                <a:cubicBezTo>
                  <a:pt x="342192" y="605744"/>
                  <a:pt x="334048" y="602418"/>
                  <a:pt x="328032" y="596451"/>
                </a:cubicBezTo>
                <a:lnTo>
                  <a:pt x="264275" y="532693"/>
                </a:lnTo>
                <a:lnTo>
                  <a:pt x="309542" y="487425"/>
                </a:lnTo>
                <a:lnTo>
                  <a:pt x="347159" y="525361"/>
                </a:lnTo>
                <a:lnTo>
                  <a:pt x="420799" y="427175"/>
                </a:lnTo>
                <a:lnTo>
                  <a:pt x="471805" y="465429"/>
                </a:lnTo>
                <a:lnTo>
                  <a:pt x="376169" y="592944"/>
                </a:lnTo>
                <a:cubicBezTo>
                  <a:pt x="370633" y="600374"/>
                  <a:pt x="362139" y="605029"/>
                  <a:pt x="352897" y="605695"/>
                </a:cubicBezTo>
                <a:close/>
                <a:moveTo>
                  <a:pt x="350666" y="860725"/>
                </a:moveTo>
                <a:cubicBezTo>
                  <a:pt x="342192" y="860774"/>
                  <a:pt x="334048" y="857448"/>
                  <a:pt x="328032" y="851480"/>
                </a:cubicBezTo>
                <a:lnTo>
                  <a:pt x="264275" y="787723"/>
                </a:lnTo>
                <a:lnTo>
                  <a:pt x="309542" y="742455"/>
                </a:lnTo>
                <a:lnTo>
                  <a:pt x="347159" y="780391"/>
                </a:lnTo>
                <a:lnTo>
                  <a:pt x="420799" y="682204"/>
                </a:lnTo>
                <a:lnTo>
                  <a:pt x="471805" y="720459"/>
                </a:lnTo>
                <a:lnTo>
                  <a:pt x="376169" y="847974"/>
                </a:lnTo>
                <a:cubicBezTo>
                  <a:pt x="370633" y="855404"/>
                  <a:pt x="362139" y="860059"/>
                  <a:pt x="352897" y="860725"/>
                </a:cubicBezTo>
                <a:close/>
                <a:moveTo>
                  <a:pt x="350666" y="1115755"/>
                </a:moveTo>
                <a:cubicBezTo>
                  <a:pt x="342192" y="1115804"/>
                  <a:pt x="334048" y="1112477"/>
                  <a:pt x="328032" y="1106510"/>
                </a:cubicBezTo>
                <a:lnTo>
                  <a:pt x="264275" y="1042753"/>
                </a:lnTo>
                <a:lnTo>
                  <a:pt x="309542" y="997485"/>
                </a:lnTo>
                <a:lnTo>
                  <a:pt x="347159" y="1035420"/>
                </a:lnTo>
                <a:lnTo>
                  <a:pt x="420799" y="937234"/>
                </a:lnTo>
                <a:lnTo>
                  <a:pt x="471805" y="975488"/>
                </a:lnTo>
                <a:lnTo>
                  <a:pt x="376169" y="1103003"/>
                </a:lnTo>
                <a:cubicBezTo>
                  <a:pt x="370633" y="1110434"/>
                  <a:pt x="362139" y="1115088"/>
                  <a:pt x="352897" y="1115755"/>
                </a:cubicBezTo>
                <a:close/>
                <a:moveTo>
                  <a:pt x="1020119" y="956361"/>
                </a:moveTo>
                <a:lnTo>
                  <a:pt x="1020119" y="1307027"/>
                </a:lnTo>
                <a:lnTo>
                  <a:pt x="828846" y="1307027"/>
                </a:lnTo>
                <a:lnTo>
                  <a:pt x="828846" y="956361"/>
                </a:lnTo>
                <a:cubicBezTo>
                  <a:pt x="828846" y="938755"/>
                  <a:pt x="843119" y="924483"/>
                  <a:pt x="860725" y="924483"/>
                </a:cubicBezTo>
                <a:lnTo>
                  <a:pt x="988240" y="924483"/>
                </a:lnTo>
                <a:cubicBezTo>
                  <a:pt x="1005846" y="924483"/>
                  <a:pt x="1020119" y="938755"/>
                  <a:pt x="1020119" y="956361"/>
                </a:cubicBezTo>
                <a:close/>
                <a:moveTo>
                  <a:pt x="1275148" y="765089"/>
                </a:moveTo>
                <a:lnTo>
                  <a:pt x="1275148" y="1307027"/>
                </a:lnTo>
                <a:lnTo>
                  <a:pt x="1083876" y="1307027"/>
                </a:lnTo>
                <a:lnTo>
                  <a:pt x="1083876" y="765089"/>
                </a:lnTo>
                <a:cubicBezTo>
                  <a:pt x="1083876" y="747483"/>
                  <a:pt x="1098149" y="733210"/>
                  <a:pt x="1115755" y="733210"/>
                </a:cubicBezTo>
                <a:lnTo>
                  <a:pt x="1243270" y="733210"/>
                </a:lnTo>
                <a:cubicBezTo>
                  <a:pt x="1260876" y="733210"/>
                  <a:pt x="1275148" y="747483"/>
                  <a:pt x="1275148" y="765089"/>
                </a:cubicBezTo>
                <a:close/>
                <a:moveTo>
                  <a:pt x="765089" y="1083876"/>
                </a:moveTo>
                <a:lnTo>
                  <a:pt x="765089" y="1307027"/>
                </a:lnTo>
                <a:lnTo>
                  <a:pt x="573817" y="1307027"/>
                </a:lnTo>
                <a:lnTo>
                  <a:pt x="573817" y="1083876"/>
                </a:lnTo>
                <a:cubicBezTo>
                  <a:pt x="573817" y="1066270"/>
                  <a:pt x="588089" y="1051997"/>
                  <a:pt x="605695" y="1051997"/>
                </a:cubicBezTo>
                <a:lnTo>
                  <a:pt x="733210" y="1051997"/>
                </a:lnTo>
                <a:cubicBezTo>
                  <a:pt x="750816" y="1051997"/>
                  <a:pt x="765089" y="1066270"/>
                  <a:pt x="765089" y="1083876"/>
                </a:cubicBezTo>
                <a:close/>
                <a:moveTo>
                  <a:pt x="1338906" y="1402663"/>
                </a:moveTo>
                <a:lnTo>
                  <a:pt x="510059" y="1402663"/>
                </a:lnTo>
                <a:lnTo>
                  <a:pt x="510059" y="1338906"/>
                </a:lnTo>
                <a:lnTo>
                  <a:pt x="1338906" y="1338906"/>
                </a:lnTo>
                <a:close/>
              </a:path>
            </a:pathLst>
          </a:custGeom>
          <a:solidFill>
            <a:srgbClr val="005558"/>
          </a:solid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219140">
              <a:defRPr/>
            </a:pPr>
            <a:endParaRPr sz="2400">
              <a:latin typeface="+mn-lt"/>
              <a:ea typeface="Calibri"/>
              <a:cs typeface="Calibri"/>
              <a:sym typeface="Calibri"/>
            </a:endParaRPr>
          </a:p>
        </p:txBody>
      </p:sp>
      <p:sp>
        <p:nvSpPr>
          <p:cNvPr id="3" name="Ορθογώνιο 2">
            <a:extLst>
              <a:ext uri="{FF2B5EF4-FFF2-40B4-BE49-F238E27FC236}">
                <a16:creationId xmlns:a16="http://schemas.microsoft.com/office/drawing/2014/main" id="{6593EC6A-FE50-49B0-A9DC-D8B1F400201A}"/>
              </a:ext>
            </a:extLst>
          </p:cNvPr>
          <p:cNvSpPr/>
          <p:nvPr/>
        </p:nvSpPr>
        <p:spPr>
          <a:xfrm>
            <a:off x="4229080" y="2123825"/>
            <a:ext cx="2325851" cy="502766"/>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Bef>
                <a:spcPts val="800"/>
              </a:spcBef>
              <a:buClr>
                <a:srgbClr val="78B5B6"/>
              </a:buClr>
            </a:pPr>
            <a:r>
              <a:rPr lang="el-GR" sz="2667" b="1" dirty="0">
                <a:solidFill>
                  <a:srgbClr val="2D4F8B"/>
                </a:solidFill>
                <a:ea typeface="Urbanist" panose="020B0604020202020204" charset="0"/>
                <a:cs typeface="Urbanist" panose="020B0604020202020204" charset="0"/>
              </a:rPr>
              <a:t>Π/Υ: </a:t>
            </a:r>
            <a:r>
              <a:rPr lang="el-GR" sz="2667" b="1" dirty="0">
                <a:solidFill>
                  <a:srgbClr val="369089"/>
                </a:solidFill>
                <a:ea typeface="Urbanist" panose="020B0604020202020204" charset="0"/>
                <a:cs typeface="Urbanist" panose="020B0604020202020204" charset="0"/>
              </a:rPr>
              <a:t>186 εκ.€</a:t>
            </a:r>
          </a:p>
        </p:txBody>
      </p:sp>
      <p:sp>
        <p:nvSpPr>
          <p:cNvPr id="12"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8749575" cy="795145"/>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Arial" panose="020B0604020202020204" pitchFamily="34" charset="0"/>
                <a:ea typeface="Urbanist" panose="020B0604020202020204" charset="0"/>
                <a:cs typeface="Arial" panose="020B0604020202020204" pitchFamily="34" charset="0"/>
              </a:rPr>
              <a:t>Νέο Ειδικό Πρόγραμμα ΔΑΜ</a:t>
            </a:r>
          </a:p>
        </p:txBody>
      </p:sp>
      <p:cxnSp>
        <p:nvCxnSpPr>
          <p:cNvPr id="13" name="Ευθεία γραμμή σύνδεσης 12">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15" name="Ομάδα 14">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16"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18"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452216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Picture Placeholder 4">
            <a:extLst>
              <a:ext uri="{FF2B5EF4-FFF2-40B4-BE49-F238E27FC236}">
                <a16:creationId xmlns:a16="http://schemas.microsoft.com/office/drawing/2014/main" id="{4A825D28-BDB0-86A3-F402-DA6F3B09B4ED}"/>
              </a:ext>
            </a:extLst>
          </p:cNvPr>
          <p:cNvGraphicFramePr>
            <a:graphicFrameLocks noGrp="1"/>
          </p:cNvGraphicFramePr>
          <p:nvPr>
            <p:ph type="pic" idx="3"/>
          </p:nvPr>
        </p:nvGraphicFramePr>
        <p:xfrm>
          <a:off x="479628" y="959712"/>
          <a:ext cx="10885718" cy="3707719"/>
        </p:xfrm>
        <a:graphic>
          <a:graphicData uri="http://schemas.openxmlformats.org/drawingml/2006/table">
            <a:tbl>
              <a:tblPr firstRow="1" bandRow="1">
                <a:tableStyleId>{2D5ABB26-0587-4C30-8999-92F81FD0307C}</a:tableStyleId>
              </a:tblPr>
              <a:tblGrid>
                <a:gridCol w="9173163">
                  <a:extLst>
                    <a:ext uri="{9D8B030D-6E8A-4147-A177-3AD203B41FA5}">
                      <a16:colId xmlns:a16="http://schemas.microsoft.com/office/drawing/2014/main" val="132465801"/>
                    </a:ext>
                  </a:extLst>
                </a:gridCol>
                <a:gridCol w="1712555">
                  <a:extLst>
                    <a:ext uri="{9D8B030D-6E8A-4147-A177-3AD203B41FA5}">
                      <a16:colId xmlns:a16="http://schemas.microsoft.com/office/drawing/2014/main" val="2619344112"/>
                    </a:ext>
                  </a:extLst>
                </a:gridCol>
              </a:tblGrid>
              <a:tr h="492331">
                <a:tc>
                  <a:txBody>
                    <a:bodyPr/>
                    <a:lstStyle/>
                    <a:p>
                      <a:pPr marL="0" algn="l" defTabSz="914400" rtl="0" eaLnBrk="1" latinLnBrk="0" hangingPunct="1"/>
                      <a:r>
                        <a:rPr lang="el-GR" sz="1600" kern="1200" dirty="0">
                          <a:solidFill>
                            <a:srgbClr val="0F4E8C"/>
                          </a:solidFill>
                          <a:latin typeface="Arial" panose="020B0604020202020204" pitchFamily="34" charset="0"/>
                          <a:ea typeface="+mn-ea"/>
                          <a:cs typeface="Arial" panose="020B0604020202020204" pitchFamily="34" charset="0"/>
                        </a:rPr>
                        <a:t>Προώθηση αποτελεσμάτων έρευνας, καινοτομίας και τεχνολογίας στις επιχειρήσεις </a:t>
                      </a:r>
                    </a:p>
                  </a:txBody>
                  <a:tcPr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2159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70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8012004"/>
                  </a:ext>
                </a:extLst>
              </a:tr>
              <a:tr h="492331">
                <a:tc>
                  <a:txBody>
                    <a:bodyPr/>
                    <a:lstStyle/>
                    <a:p>
                      <a:pPr marL="0" algn="l" defTabSz="914400" rtl="0" eaLnBrk="1" latinLnBrk="0" hangingPunct="1"/>
                      <a:r>
                        <a:rPr lang="el-GR" sz="1600" kern="1200" dirty="0">
                          <a:solidFill>
                            <a:srgbClr val="0F4E8C"/>
                          </a:solidFill>
                          <a:latin typeface="Arial" panose="020B0604020202020204" pitchFamily="34" charset="0"/>
                          <a:ea typeface="+mn-ea"/>
                          <a:cs typeface="Arial" panose="020B0604020202020204" pitchFamily="34" charset="0"/>
                        </a:rPr>
                        <a:t>Συστάδες ανάπτυξης</a:t>
                      </a:r>
                    </a:p>
                  </a:txBody>
                  <a:tcPr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2159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23.83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7074969"/>
                  </a:ext>
                </a:extLst>
              </a:tr>
              <a:tr h="579120">
                <a:tc>
                  <a:txBody>
                    <a:bodyPr/>
                    <a:lstStyle/>
                    <a:p>
                      <a:pPr marL="0" algn="l" defTabSz="914400" rtl="0" eaLnBrk="1" latinLnBrk="0" hangingPunct="1"/>
                      <a:r>
                        <a:rPr lang="el-GR" sz="1600" kern="1200" dirty="0">
                          <a:solidFill>
                            <a:srgbClr val="0F4E8C"/>
                          </a:solidFill>
                          <a:latin typeface="Arial" panose="020B0604020202020204" pitchFamily="34" charset="0"/>
                          <a:ea typeface="+mn-ea"/>
                          <a:cs typeface="Arial" panose="020B0604020202020204" pitchFamily="34" charset="0"/>
                        </a:rPr>
                        <a:t>Δημόσια διοίκηση και </a:t>
                      </a:r>
                      <a:r>
                        <a:rPr lang="el-GR" sz="1600" kern="1200" dirty="0" err="1">
                          <a:solidFill>
                            <a:srgbClr val="0F4E8C"/>
                          </a:solidFill>
                          <a:latin typeface="Arial" panose="020B0604020202020204" pitchFamily="34" charset="0"/>
                          <a:ea typeface="+mn-ea"/>
                          <a:cs typeface="Arial" panose="020B0604020202020204" pitchFamily="34" charset="0"/>
                        </a:rPr>
                        <a:t>ψηφιοποίηση</a:t>
                      </a:r>
                      <a:r>
                        <a:rPr lang="el-GR" sz="1600" kern="1200" dirty="0">
                          <a:solidFill>
                            <a:srgbClr val="0F4E8C"/>
                          </a:solidFill>
                          <a:latin typeface="Arial" panose="020B0604020202020204" pitchFamily="34" charset="0"/>
                          <a:ea typeface="+mn-ea"/>
                          <a:cs typeface="Arial" panose="020B0604020202020204" pitchFamily="34" charset="0"/>
                        </a:rPr>
                        <a:t> (ηλεκτρονική διακυβέρνηση, ηλεκτρονικές δημόσιες συμβάσεις, ηλεκτρονική ένταξη, ηλεκτρονική μάθηση, κλπ.)</a:t>
                      </a:r>
                      <a:endParaRPr lang="en-US" sz="1600" kern="1200" dirty="0">
                        <a:solidFill>
                          <a:srgbClr val="0F4E8C"/>
                        </a:solidFill>
                        <a:latin typeface="Arial" panose="020B0604020202020204" pitchFamily="34" charset="0"/>
                        <a:ea typeface="+mn-ea"/>
                        <a:cs typeface="Arial" panose="020B0604020202020204" pitchFamily="34" charset="0"/>
                      </a:endParaRPr>
                    </a:p>
                  </a:txBody>
                  <a:tcPr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2159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2.00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9038813"/>
                  </a:ext>
                </a:extLst>
              </a:tr>
              <a:tr h="492331">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Έξυπνες πόλεις</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2159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10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3903392"/>
                  </a:ext>
                </a:extLst>
              </a:tr>
              <a:tr h="492331">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Ενεργειακή απόδοση</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2159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40.50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4753557"/>
                  </a:ext>
                </a:extLst>
              </a:tr>
              <a:tr h="666944">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Στήριξη ΑΠΕ – συμπαραγωγή</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2159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8.20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1597973"/>
                  </a:ext>
                </a:extLst>
              </a:tr>
              <a:tr h="492331">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Διαχείριση στερεών και υγρών αποβλήτων</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2159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4.60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76462"/>
                  </a:ext>
                </a:extLst>
              </a:tr>
            </a:tbl>
          </a:graphicData>
        </a:graphic>
      </p:graphicFrame>
      <p:graphicFrame>
        <p:nvGraphicFramePr>
          <p:cNvPr id="8" name="Picture Placeholder 4">
            <a:extLst>
              <a:ext uri="{FF2B5EF4-FFF2-40B4-BE49-F238E27FC236}">
                <a16:creationId xmlns:a16="http://schemas.microsoft.com/office/drawing/2014/main" id="{81A17C78-D21D-F1C0-137E-9074E940B666}"/>
              </a:ext>
            </a:extLst>
          </p:cNvPr>
          <p:cNvGraphicFramePr>
            <a:graphicFrameLocks/>
          </p:cNvGraphicFramePr>
          <p:nvPr/>
        </p:nvGraphicFramePr>
        <p:xfrm>
          <a:off x="479629" y="4667429"/>
          <a:ext cx="10889569" cy="1546880"/>
        </p:xfrm>
        <a:graphic>
          <a:graphicData uri="http://schemas.openxmlformats.org/drawingml/2006/table">
            <a:tbl>
              <a:tblPr firstRow="1" bandRow="1">
                <a:tableStyleId>{2D5ABB26-0587-4C30-8999-92F81FD0307C}</a:tableStyleId>
              </a:tblPr>
              <a:tblGrid>
                <a:gridCol w="9173164">
                  <a:extLst>
                    <a:ext uri="{9D8B030D-6E8A-4147-A177-3AD203B41FA5}">
                      <a16:colId xmlns:a16="http://schemas.microsoft.com/office/drawing/2014/main" val="132465801"/>
                    </a:ext>
                  </a:extLst>
                </a:gridCol>
                <a:gridCol w="1716405">
                  <a:extLst>
                    <a:ext uri="{9D8B030D-6E8A-4147-A177-3AD203B41FA5}">
                      <a16:colId xmlns:a16="http://schemas.microsoft.com/office/drawing/2014/main" val="2619344112"/>
                    </a:ext>
                  </a:extLst>
                </a:gridCol>
              </a:tblGrid>
              <a:tr h="493024">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Πρόληψη &amp; διαχείριση κινδύνων</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2159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14.00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7074969"/>
                  </a:ext>
                </a:extLst>
              </a:tr>
              <a:tr h="493024">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Παροχή πόσιμου νερού &amp; διαχείριση υδάτων</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2159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2.50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9038813"/>
                  </a:ext>
                </a:extLst>
              </a:tr>
              <a:tr h="560832">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Πράσινη επιχειρηματικότητα (επαναχρησιμοποίηση, διαχείριση γεωργικών αποβλήτων με χρήση ΑΠΕ κ.λπ.)</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2159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2.00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3903392"/>
                  </a:ext>
                </a:extLst>
              </a:tr>
            </a:tbl>
          </a:graphicData>
        </a:graphic>
      </p:graphicFrame>
      <p:sp>
        <p:nvSpPr>
          <p:cNvPr id="6"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8963377" cy="795145"/>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Arial" panose="020B0604020202020204" pitchFamily="34" charset="0"/>
                <a:ea typeface="Urbanist" panose="020B0604020202020204" charset="0"/>
                <a:cs typeface="Arial" panose="020B0604020202020204" pitchFamily="34" charset="0"/>
              </a:rPr>
              <a:t>Άξονες Προτεραιότητας Ειδικού Προγράμματος ΔΑΜ</a:t>
            </a:r>
          </a:p>
        </p:txBody>
      </p:sp>
      <p:cxnSp>
        <p:nvCxnSpPr>
          <p:cNvPr id="7" name="Ευθεία γραμμή σύνδεσης 6">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10" name="Ομάδα 9">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11"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12"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146805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4B637-E9F9-58CA-217C-7645F7DB822F}"/>
            </a:ext>
          </a:extLst>
        </p:cNvPr>
        <p:cNvGrpSpPr/>
        <p:nvPr/>
      </p:nvGrpSpPr>
      <p:grpSpPr>
        <a:xfrm>
          <a:off x="0" y="0"/>
          <a:ext cx="0" cy="0"/>
          <a:chOff x="0" y="0"/>
          <a:chExt cx="0" cy="0"/>
        </a:xfrm>
      </p:grpSpPr>
      <p:sp>
        <p:nvSpPr>
          <p:cNvPr id="58" name="TextBox 57">
            <a:extLst>
              <a:ext uri="{FF2B5EF4-FFF2-40B4-BE49-F238E27FC236}">
                <a16:creationId xmlns:a16="http://schemas.microsoft.com/office/drawing/2014/main" id="{4F1C8E3E-16C1-0219-C95D-49E44B442FC2}"/>
              </a:ext>
            </a:extLst>
          </p:cNvPr>
          <p:cNvSpPr txBox="1"/>
          <p:nvPr/>
        </p:nvSpPr>
        <p:spPr>
          <a:xfrm>
            <a:off x="513845" y="164528"/>
            <a:ext cx="10175926" cy="637739"/>
          </a:xfrm>
          <a:prstGeom prst="rect">
            <a:avLst/>
          </a:prstGeom>
          <a:noFill/>
        </p:spPr>
        <p:txBody>
          <a:bodyPr wrap="square" lIns="60960" tIns="30480" rIns="60960" bIns="30480" anchor="t">
            <a:spAutoFit/>
          </a:bodyPr>
          <a:lstStyle/>
          <a:p>
            <a:pPr>
              <a:lnSpc>
                <a:spcPct val="117222"/>
              </a:lnSpc>
              <a:buClr>
                <a:srgbClr val="203A73"/>
              </a:buClr>
              <a:buSzPts val="22500"/>
              <a:buFont typeface="Arial Black"/>
              <a:buNone/>
              <a:defRPr/>
            </a:pPr>
            <a:r>
              <a:rPr lang="el-GR" sz="3200" kern="0">
                <a:solidFill>
                  <a:srgbClr val="002060"/>
                </a:solidFill>
                <a:latin typeface="Arial Black"/>
                <a:ea typeface="Calibri"/>
                <a:cs typeface="Calibri"/>
                <a:sym typeface="Arial Black"/>
              </a:rPr>
              <a:t>Τοπικά Σχέδια Ανάπτυξης</a:t>
            </a:r>
            <a:endParaRPr lang="el-GR" sz="3200" kern="0">
              <a:solidFill>
                <a:srgbClr val="002060"/>
              </a:solidFill>
              <a:latin typeface="Calibri"/>
              <a:ea typeface="Calibri"/>
              <a:cs typeface="Calibri"/>
              <a:sym typeface="Arial"/>
            </a:endParaRPr>
          </a:p>
        </p:txBody>
      </p:sp>
      <p:cxnSp>
        <p:nvCxnSpPr>
          <p:cNvPr id="19" name="Ευθεία γραμμή σύνδεσης 18">
            <a:extLst>
              <a:ext uri="{FF2B5EF4-FFF2-40B4-BE49-F238E27FC236}">
                <a16:creationId xmlns:a16="http://schemas.microsoft.com/office/drawing/2014/main" id="{FF979734-20A1-607A-F7FF-ABE3DF491A1F}"/>
              </a:ext>
            </a:extLst>
          </p:cNvPr>
          <p:cNvCxnSpPr/>
          <p:nvPr/>
        </p:nvCxnSpPr>
        <p:spPr>
          <a:xfrm>
            <a:off x="261643" y="789015"/>
            <a:ext cx="11668715" cy="0"/>
          </a:xfrm>
          <a:prstGeom prst="line">
            <a:avLst/>
          </a:prstGeom>
        </p:spPr>
        <p:style>
          <a:lnRef idx="3">
            <a:schemeClr val="accent1"/>
          </a:lnRef>
          <a:fillRef idx="0">
            <a:schemeClr val="accent1"/>
          </a:fillRef>
          <a:effectRef idx="2">
            <a:schemeClr val="accent1"/>
          </a:effectRef>
          <a:fontRef idx="minor">
            <a:schemeClr val="tx1"/>
          </a:fontRef>
        </p:style>
      </p:cxnSp>
      <p:sp>
        <p:nvSpPr>
          <p:cNvPr id="2" name="Google Shape;4477;p62">
            <a:extLst>
              <a:ext uri="{FF2B5EF4-FFF2-40B4-BE49-F238E27FC236}">
                <a16:creationId xmlns:a16="http://schemas.microsoft.com/office/drawing/2014/main" id="{7D14F6CA-611E-E3D6-3802-2720BD34C534}"/>
              </a:ext>
            </a:extLst>
          </p:cNvPr>
          <p:cNvSpPr/>
          <p:nvPr/>
        </p:nvSpPr>
        <p:spPr>
          <a:xfrm>
            <a:off x="4486804" y="1316528"/>
            <a:ext cx="3096127" cy="2112472"/>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algn="ctr">
              <a:buClr>
                <a:srgbClr val="000000"/>
              </a:buClr>
              <a:defRPr/>
            </a:pPr>
            <a:r>
              <a:rPr lang="el-GR" sz="3000" b="1" kern="0" noProof="1">
                <a:solidFill>
                  <a:srgbClr val="FFFFFF"/>
                </a:solidFill>
                <a:latin typeface="Calibri" panose="020F0502020204030204" pitchFamily="34" charset="0"/>
                <a:ea typeface="Calibri" panose="020F0502020204030204" pitchFamily="34" charset="0"/>
                <a:cs typeface="Calibri" panose="020F0502020204030204" pitchFamily="34" charset="0"/>
                <a:sym typeface="Arial"/>
              </a:rPr>
              <a:t>Δυτική Μακεδονία</a:t>
            </a:r>
            <a:endParaRPr lang="en-US" sz="3000" b="1" kern="0" noProof="1">
              <a:solidFill>
                <a:srgbClr val="FFFFFF"/>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4" name="Οβάλ 3">
            <a:extLst>
              <a:ext uri="{FF2B5EF4-FFF2-40B4-BE49-F238E27FC236}">
                <a16:creationId xmlns:a16="http://schemas.microsoft.com/office/drawing/2014/main" id="{E12490A5-AB33-90C6-D493-39279CADE019}"/>
              </a:ext>
            </a:extLst>
          </p:cNvPr>
          <p:cNvSpPr/>
          <p:nvPr/>
        </p:nvSpPr>
        <p:spPr>
          <a:xfrm>
            <a:off x="455881" y="3869045"/>
            <a:ext cx="2259083" cy="1196472"/>
          </a:xfrm>
          <a:prstGeom prst="ellipse">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defRPr/>
            </a:pPr>
            <a:r>
              <a:rPr lang="el-GR" sz="2200" b="1" kern="0" noProof="1">
                <a:solidFill>
                  <a:srgbClr val="002060"/>
                </a:solidFill>
                <a:latin typeface="Calibri"/>
                <a:ea typeface="Calibri"/>
                <a:cs typeface="Calibri"/>
                <a:sym typeface="Arial"/>
              </a:rPr>
              <a:t>Κοζάνη</a:t>
            </a:r>
          </a:p>
          <a:p>
            <a:pPr algn="ctr">
              <a:defRPr/>
            </a:pPr>
            <a:r>
              <a:rPr lang="el-GR" sz="1400" b="1" kern="0" noProof="1">
                <a:solidFill>
                  <a:srgbClr val="002060"/>
                </a:solidFill>
                <a:latin typeface="Calibri"/>
                <a:ea typeface="Calibri"/>
                <a:cs typeface="Calibri"/>
              </a:rPr>
              <a:t>31 Μαΐου 2025</a:t>
            </a:r>
            <a:endParaRPr lang="el-GR" sz="1400" kern="0" noProof="1">
              <a:solidFill>
                <a:srgbClr val="002060"/>
              </a:solidFill>
              <a:latin typeface="Calibri"/>
              <a:ea typeface="Calibri"/>
              <a:cs typeface="Calibri"/>
            </a:endParaRPr>
          </a:p>
        </p:txBody>
      </p:sp>
      <p:sp>
        <p:nvSpPr>
          <p:cNvPr id="5" name="Οβάλ 4">
            <a:extLst>
              <a:ext uri="{FF2B5EF4-FFF2-40B4-BE49-F238E27FC236}">
                <a16:creationId xmlns:a16="http://schemas.microsoft.com/office/drawing/2014/main" id="{ED12A7F7-D115-D902-7FB0-BEC5CFCDB472}"/>
              </a:ext>
            </a:extLst>
          </p:cNvPr>
          <p:cNvSpPr/>
          <p:nvPr/>
        </p:nvSpPr>
        <p:spPr>
          <a:xfrm>
            <a:off x="9326582" y="3897319"/>
            <a:ext cx="2540297" cy="1123899"/>
          </a:xfrm>
          <a:prstGeom prst="ellipse">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buClr>
                <a:srgbClr val="000000"/>
              </a:buClr>
              <a:defRPr/>
            </a:pPr>
            <a:r>
              <a:rPr lang="el-GR" sz="2200" b="1" kern="0" noProof="1">
                <a:solidFill>
                  <a:srgbClr val="002060"/>
                </a:solidFill>
                <a:latin typeface="Calibri"/>
                <a:ea typeface="Calibri"/>
                <a:cs typeface="Calibri"/>
                <a:sym typeface="Arial"/>
              </a:rPr>
              <a:t>Γρεβενά</a:t>
            </a:r>
          </a:p>
          <a:p>
            <a:pPr algn="ctr">
              <a:defRPr/>
            </a:pPr>
            <a:r>
              <a:rPr lang="el-GR" sz="1400" b="1" kern="0" noProof="1">
                <a:solidFill>
                  <a:srgbClr val="002060"/>
                </a:solidFill>
                <a:latin typeface="Calibri"/>
                <a:ea typeface="Calibri"/>
                <a:cs typeface="Calibri"/>
              </a:rPr>
              <a:t>4 Δεκεμβρίου 2024</a:t>
            </a:r>
            <a:endParaRPr lang="el-GR" sz="1400" kern="0" noProof="1">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sp>
        <p:nvSpPr>
          <p:cNvPr id="6" name="Οβάλ 5">
            <a:extLst>
              <a:ext uri="{FF2B5EF4-FFF2-40B4-BE49-F238E27FC236}">
                <a16:creationId xmlns:a16="http://schemas.microsoft.com/office/drawing/2014/main" id="{A99299E9-B999-26BB-0C57-BDDAC671130A}"/>
              </a:ext>
            </a:extLst>
          </p:cNvPr>
          <p:cNvSpPr/>
          <p:nvPr/>
        </p:nvSpPr>
        <p:spPr>
          <a:xfrm>
            <a:off x="513412" y="905361"/>
            <a:ext cx="2204654" cy="1151114"/>
          </a:xfrm>
          <a:prstGeom prst="ellipse">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buClr>
                <a:srgbClr val="000000"/>
              </a:buClr>
              <a:defRPr/>
            </a:pPr>
            <a:r>
              <a:rPr lang="el-GR" sz="2200" b="1" kern="0" noProof="1">
                <a:solidFill>
                  <a:srgbClr val="002060"/>
                </a:solidFill>
                <a:latin typeface="Calibri"/>
                <a:ea typeface="Calibri"/>
                <a:cs typeface="Calibri"/>
                <a:sym typeface="Arial"/>
              </a:rPr>
              <a:t>Φλώρινα</a:t>
            </a:r>
            <a:endParaRPr lang="el-GR" sz="2200" b="1" kern="0" noProof="1">
              <a:solidFill>
                <a:srgbClr val="002060"/>
              </a:solidFill>
              <a:latin typeface="Calibri" panose="020F0502020204030204" pitchFamily="34" charset="0"/>
              <a:ea typeface="Calibri" panose="020F0502020204030204" pitchFamily="34" charset="0"/>
              <a:cs typeface="Calibri" panose="020F0502020204030204" pitchFamily="34" charset="0"/>
            </a:endParaRPr>
          </a:p>
          <a:p>
            <a:pPr algn="ctr">
              <a:defRPr/>
            </a:pPr>
            <a:r>
              <a:rPr lang="el-GR" sz="1400" b="1" kern="0" noProof="1">
                <a:solidFill>
                  <a:srgbClr val="002060"/>
                </a:solidFill>
                <a:latin typeface="Calibri"/>
                <a:ea typeface="Calibri"/>
                <a:cs typeface="Calibri"/>
              </a:rPr>
              <a:t>30 Μαϊου 2025</a:t>
            </a:r>
            <a:endParaRPr lang="el-GR" sz="1400" b="1" kern="0" noProof="1">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7" name="Οβάλ 6">
            <a:extLst>
              <a:ext uri="{FF2B5EF4-FFF2-40B4-BE49-F238E27FC236}">
                <a16:creationId xmlns:a16="http://schemas.microsoft.com/office/drawing/2014/main" id="{02479DD9-7349-1AD4-9275-C0CFB620221E}"/>
              </a:ext>
            </a:extLst>
          </p:cNvPr>
          <p:cNvSpPr/>
          <p:nvPr/>
        </p:nvSpPr>
        <p:spPr>
          <a:xfrm>
            <a:off x="9437914" y="905362"/>
            <a:ext cx="2304440" cy="1151114"/>
          </a:xfrm>
          <a:prstGeom prst="ellipse">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buClr>
                <a:srgbClr val="000000"/>
              </a:buClr>
              <a:defRPr/>
            </a:pPr>
            <a:r>
              <a:rPr lang="el-GR" sz="2200" b="1" kern="0" noProof="1">
                <a:solidFill>
                  <a:srgbClr val="002060"/>
                </a:solidFill>
                <a:latin typeface="Calibri"/>
                <a:ea typeface="Calibri"/>
                <a:cs typeface="Calibri"/>
                <a:sym typeface="Arial"/>
              </a:rPr>
              <a:t>Καστοριά</a:t>
            </a:r>
          </a:p>
          <a:p>
            <a:pPr algn="ctr">
              <a:defRPr/>
            </a:pPr>
            <a:r>
              <a:rPr lang="el-GR" sz="1400" b="1" kern="0" noProof="1">
                <a:solidFill>
                  <a:srgbClr val="002060"/>
                </a:solidFill>
                <a:latin typeface="Calibri"/>
                <a:ea typeface="Calibri"/>
                <a:cs typeface="Calibri"/>
              </a:rPr>
              <a:t>3 Δεκεμβρίου 2024</a:t>
            </a:r>
            <a:endParaRPr lang="el-GR" sz="1400" kern="0" noProof="1">
              <a:solidFill>
                <a:srgbClr val="002060"/>
              </a:solidFill>
              <a:latin typeface="Calibri"/>
              <a:ea typeface="Calibri"/>
              <a:cs typeface="Calibri"/>
            </a:endParaRPr>
          </a:p>
        </p:txBody>
      </p:sp>
      <p:graphicFrame>
        <p:nvGraphicFramePr>
          <p:cNvPr id="8" name="Πίνακας 10">
            <a:extLst>
              <a:ext uri="{FF2B5EF4-FFF2-40B4-BE49-F238E27FC236}">
                <a16:creationId xmlns:a16="http://schemas.microsoft.com/office/drawing/2014/main" id="{5125754D-3089-1DE0-DE92-304FA61AFCA0}"/>
              </a:ext>
            </a:extLst>
          </p:cNvPr>
          <p:cNvGraphicFramePr>
            <a:graphicFrameLocks noGrp="1"/>
          </p:cNvGraphicFramePr>
          <p:nvPr>
            <p:extLst>
              <p:ext uri="{D42A27DB-BD31-4B8C-83A1-F6EECF244321}">
                <p14:modId xmlns:p14="http://schemas.microsoft.com/office/powerpoint/2010/main" val="2703781873"/>
              </p:ext>
            </p:extLst>
          </p:nvPr>
        </p:nvGraphicFramePr>
        <p:xfrm>
          <a:off x="9089571" y="1768927"/>
          <a:ext cx="2840168" cy="1999783"/>
        </p:xfrm>
        <a:graphic>
          <a:graphicData uri="http://schemas.openxmlformats.org/drawingml/2006/table">
            <a:tbl>
              <a:tblPr firstRow="1" bandRow="1">
                <a:tableStyleId>{9DCAF9ED-07DC-4A11-8D7F-57B35C25682E}</a:tableStyleId>
              </a:tblPr>
              <a:tblGrid>
                <a:gridCol w="1804927">
                  <a:extLst>
                    <a:ext uri="{9D8B030D-6E8A-4147-A177-3AD203B41FA5}">
                      <a16:colId xmlns:a16="http://schemas.microsoft.com/office/drawing/2014/main" val="3809056593"/>
                    </a:ext>
                  </a:extLst>
                </a:gridCol>
                <a:gridCol w="1035241">
                  <a:extLst>
                    <a:ext uri="{9D8B030D-6E8A-4147-A177-3AD203B41FA5}">
                      <a16:colId xmlns:a16="http://schemas.microsoft.com/office/drawing/2014/main" val="20001"/>
                    </a:ext>
                  </a:extLst>
                </a:gridCol>
              </a:tblGrid>
              <a:tr h="323383">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1400" b="1" i="0" u="none" strike="noStrike" kern="0" cap="none" spc="0" normalizeH="0" baseline="0" noProof="0">
                          <a:ln>
                            <a:noFill/>
                          </a:ln>
                          <a:solidFill>
                            <a:srgbClr val="FFFFFF"/>
                          </a:solidFill>
                          <a:effectLst/>
                          <a:uLnTx/>
                          <a:uFillTx/>
                          <a:latin typeface="Calibri"/>
                          <a:ea typeface="Calibri"/>
                          <a:cs typeface="Calibri"/>
                          <a:sym typeface="Arial"/>
                        </a:rPr>
                        <a:t>592 εκατ. €</a:t>
                      </a:r>
                    </a:p>
                  </a:txBody>
                  <a:tcPr anchor="ctr">
                    <a:solidFill>
                      <a:srgbClr val="00B0F0"/>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l-GR" sz="18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a:endParaRPr>
                    </a:p>
                  </a:txBody>
                  <a:tcPr>
                    <a:solidFill>
                      <a:srgbClr val="00B0F0"/>
                    </a:solidFill>
                  </a:tcPr>
                </a:tc>
                <a:extLst>
                  <a:ext uri="{0D108BD9-81ED-4DB2-BD59-A6C34878D82A}">
                    <a16:rowId xmlns:a16="http://schemas.microsoft.com/office/drawing/2014/main" val="3344768552"/>
                  </a:ext>
                </a:extLst>
              </a:tr>
              <a:tr h="683725">
                <a:tc>
                  <a:txBody>
                    <a:bodyPr/>
                    <a:lstStyle/>
                    <a:p>
                      <a:pPr algn="ctr"/>
                      <a:r>
                        <a:rPr lang="el-GR" sz="1400" b="1">
                          <a:solidFill>
                            <a:schemeClr val="tx2">
                              <a:lumMod val="25000"/>
                            </a:schemeClr>
                          </a:solidFill>
                          <a:latin typeface="Calibri"/>
                          <a:ea typeface="Calibri"/>
                          <a:cs typeface="Calibri"/>
                        </a:rPr>
                        <a:t>Έργα σε εξέλιξη</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u="none" strike="noStrike" cap="none">
                          <a:solidFill>
                            <a:schemeClr val="tx2">
                              <a:lumMod val="25000"/>
                            </a:schemeClr>
                          </a:solidFill>
                          <a:latin typeface="Calibri"/>
                          <a:ea typeface="Calibri"/>
                          <a:cs typeface="Calibri"/>
                          <a:sym typeface="Arial"/>
                        </a:rPr>
                        <a:t>Ολοκληρωμένα έργα</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u="none" strike="noStrike" cap="none">
                          <a:solidFill>
                            <a:schemeClr val="tx2">
                              <a:lumMod val="25000"/>
                            </a:schemeClr>
                          </a:solidFill>
                          <a:latin typeface="Calibri"/>
                          <a:ea typeface="Calibri"/>
                          <a:cs typeface="Calibri"/>
                          <a:sym typeface="Arial"/>
                        </a:rPr>
                        <a:t>Έργα υπό σχεδιασμό</a:t>
                      </a:r>
                      <a:endParaRPr lang="el-GR" sz="1400" b="1" i="0" u="none" strike="noStrike" cap="none">
                        <a:solidFill>
                          <a:schemeClr val="tx2">
                            <a:lumMod val="25000"/>
                          </a:schemeClr>
                        </a:solidFill>
                        <a:latin typeface="Calibri"/>
                        <a:ea typeface="Calibri"/>
                        <a:cs typeface="Calibri"/>
                        <a:sym typeface="Arial"/>
                      </a:endParaRPr>
                    </a:p>
                    <a:p>
                      <a:pPr algn="ctr"/>
                      <a:endParaRPr lang="el-GR" sz="1400" b="1">
                        <a:solidFill>
                          <a:schemeClr val="tx2">
                            <a:lumMod val="25000"/>
                          </a:schemeClr>
                        </a:solidFill>
                        <a:latin typeface="Calibri"/>
                        <a:ea typeface="Calibri"/>
                        <a:cs typeface="Calibri"/>
                      </a:endParaRPr>
                    </a:p>
                  </a:txBody>
                  <a:tcPr anchor="ctr"/>
                </a:tc>
                <a:tc>
                  <a:txBody>
                    <a:bodyPr/>
                    <a:lstStyle/>
                    <a:p>
                      <a:pPr algn="ctr"/>
                      <a:r>
                        <a:rPr lang="el-GR" sz="1400" b="1">
                          <a:solidFill>
                            <a:schemeClr val="tx2">
                              <a:lumMod val="25000"/>
                            </a:schemeClr>
                          </a:solidFill>
                          <a:latin typeface="Calibri"/>
                          <a:ea typeface="Calibri"/>
                          <a:cs typeface="Calibri"/>
                        </a:rPr>
                        <a:t>524 εκατ. €</a:t>
                      </a:r>
                    </a:p>
                  </a:txBody>
                  <a:tcPr anchor="ctr"/>
                </a:tc>
                <a:extLst>
                  <a:ext uri="{0D108BD9-81ED-4DB2-BD59-A6C34878D82A}">
                    <a16:rowId xmlns:a16="http://schemas.microsoft.com/office/drawing/2014/main" val="962130032"/>
                  </a:ext>
                </a:extLst>
              </a:tr>
              <a:tr h="554372">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i="0" u="none" strike="noStrike" cap="none">
                          <a:solidFill>
                            <a:schemeClr val="tx2">
                              <a:lumMod val="25000"/>
                            </a:schemeClr>
                          </a:solidFill>
                          <a:latin typeface="Calibri"/>
                          <a:ea typeface="Calibri"/>
                          <a:cs typeface="Calibri"/>
                          <a:sym typeface="Arial"/>
                        </a:rPr>
                        <a:t>Ενισχύσεις επιχειρήσεων</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i="0" u="none" strike="noStrike" cap="none">
                          <a:solidFill>
                            <a:schemeClr val="tx2">
                              <a:lumMod val="25000"/>
                            </a:schemeClr>
                          </a:solidFill>
                          <a:latin typeface="Calibri"/>
                          <a:ea typeface="Calibri"/>
                          <a:cs typeface="Calibri"/>
                          <a:sym typeface="Arial"/>
                        </a:rPr>
                        <a:t>(ΤΑΑ,</a:t>
                      </a:r>
                      <a:r>
                        <a:rPr lang="el-GR" sz="1400" b="1" i="0" u="none" strike="noStrike" cap="none" baseline="0">
                          <a:solidFill>
                            <a:schemeClr val="tx2">
                              <a:lumMod val="25000"/>
                            </a:schemeClr>
                          </a:solidFill>
                          <a:latin typeface="Calibri"/>
                          <a:ea typeface="Calibri"/>
                          <a:cs typeface="Calibri"/>
                          <a:sym typeface="Arial"/>
                        </a:rPr>
                        <a:t> ΕΣΠΑ, ΕΑΤ)</a:t>
                      </a:r>
                      <a:endParaRPr lang="el-GR" sz="1400" b="1" i="0" u="none" strike="noStrike" cap="none">
                        <a:solidFill>
                          <a:schemeClr val="tx2">
                            <a:lumMod val="25000"/>
                          </a:schemeClr>
                        </a:solidFill>
                        <a:latin typeface="Calibri"/>
                        <a:ea typeface="Calibri"/>
                        <a:cs typeface="Calibri"/>
                        <a:sym typeface="Aria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i="0" u="none" strike="noStrike" cap="none">
                          <a:solidFill>
                            <a:schemeClr val="tx2">
                              <a:lumMod val="25000"/>
                            </a:schemeClr>
                          </a:solidFill>
                          <a:latin typeface="Calibri"/>
                          <a:ea typeface="Calibri"/>
                          <a:cs typeface="Calibri"/>
                          <a:sym typeface="Arial"/>
                        </a:rPr>
                        <a:t>68 εκατ. €</a:t>
                      </a:r>
                    </a:p>
                  </a:txBody>
                  <a:tcPr anchor="ctr"/>
                </a:tc>
                <a:extLst>
                  <a:ext uri="{0D108BD9-81ED-4DB2-BD59-A6C34878D82A}">
                    <a16:rowId xmlns:a16="http://schemas.microsoft.com/office/drawing/2014/main" val="1280270061"/>
                  </a:ext>
                </a:extLst>
              </a:tr>
            </a:tbl>
          </a:graphicData>
        </a:graphic>
      </p:graphicFrame>
      <p:graphicFrame>
        <p:nvGraphicFramePr>
          <p:cNvPr id="10" name="Πίνακας 10">
            <a:extLst>
              <a:ext uri="{FF2B5EF4-FFF2-40B4-BE49-F238E27FC236}">
                <a16:creationId xmlns:a16="http://schemas.microsoft.com/office/drawing/2014/main" id="{9C898ADB-050D-E58B-8B54-DB8F30C5EBC8}"/>
              </a:ext>
            </a:extLst>
          </p:cNvPr>
          <p:cNvGraphicFramePr>
            <a:graphicFrameLocks noGrp="1"/>
          </p:cNvGraphicFramePr>
          <p:nvPr>
            <p:extLst>
              <p:ext uri="{D42A27DB-BD31-4B8C-83A1-F6EECF244321}">
                <p14:modId xmlns:p14="http://schemas.microsoft.com/office/powerpoint/2010/main" val="2433664335"/>
              </p:ext>
            </p:extLst>
          </p:nvPr>
        </p:nvGraphicFramePr>
        <p:xfrm>
          <a:off x="9144000" y="4735285"/>
          <a:ext cx="2896288" cy="1914889"/>
        </p:xfrm>
        <a:graphic>
          <a:graphicData uri="http://schemas.openxmlformats.org/drawingml/2006/table">
            <a:tbl>
              <a:tblPr firstRow="1" bandRow="1">
                <a:tableStyleId>{9DCAF9ED-07DC-4A11-8D7F-57B35C25682E}</a:tableStyleId>
              </a:tblPr>
              <a:tblGrid>
                <a:gridCol w="1840592">
                  <a:extLst>
                    <a:ext uri="{9D8B030D-6E8A-4147-A177-3AD203B41FA5}">
                      <a16:colId xmlns:a16="http://schemas.microsoft.com/office/drawing/2014/main" val="3809056593"/>
                    </a:ext>
                  </a:extLst>
                </a:gridCol>
                <a:gridCol w="1055696">
                  <a:extLst>
                    <a:ext uri="{9D8B030D-6E8A-4147-A177-3AD203B41FA5}">
                      <a16:colId xmlns:a16="http://schemas.microsoft.com/office/drawing/2014/main" val="20001"/>
                    </a:ext>
                  </a:extLst>
                </a:gridCol>
              </a:tblGrid>
              <a:tr h="273070">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1400" b="1" i="0" u="none" strike="noStrike" kern="0" cap="none" spc="0" normalizeH="0" baseline="0" noProof="0">
                          <a:ln>
                            <a:noFill/>
                          </a:ln>
                          <a:solidFill>
                            <a:srgbClr val="FFFFFF"/>
                          </a:solidFill>
                          <a:effectLst/>
                          <a:uLnTx/>
                          <a:uFillTx/>
                          <a:latin typeface="Calibri "/>
                          <a:ea typeface="+mn-ea"/>
                          <a:cs typeface="Calibri"/>
                          <a:sym typeface="Arial"/>
                        </a:rPr>
                        <a:t>437 εκατ. €</a:t>
                      </a:r>
                    </a:p>
                  </a:txBody>
                  <a:tcPr anchor="ctr">
                    <a:solidFill>
                      <a:srgbClr val="00B0F0"/>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l-GR" sz="18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a:endParaRPr>
                    </a:p>
                  </a:txBody>
                  <a:tcPr>
                    <a:solidFill>
                      <a:srgbClr val="00B0F0"/>
                    </a:solidFill>
                  </a:tcPr>
                </a:tc>
                <a:extLst>
                  <a:ext uri="{0D108BD9-81ED-4DB2-BD59-A6C34878D82A}">
                    <a16:rowId xmlns:a16="http://schemas.microsoft.com/office/drawing/2014/main" val="3344768552"/>
                  </a:ext>
                </a:extLst>
              </a:tr>
              <a:tr h="878569">
                <a:tc>
                  <a:txBody>
                    <a:bodyPr/>
                    <a:lstStyle/>
                    <a:p>
                      <a:pPr algn="ctr"/>
                      <a:r>
                        <a:rPr lang="el-GR" sz="1400" b="1">
                          <a:solidFill>
                            <a:schemeClr val="tx2">
                              <a:lumMod val="25000"/>
                            </a:schemeClr>
                          </a:solidFill>
                          <a:latin typeface="Calibri "/>
                          <a:cs typeface="Calibri"/>
                        </a:rPr>
                        <a:t>Έργα σε εξέλιξη</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u="none" strike="noStrike" cap="none">
                          <a:solidFill>
                            <a:schemeClr val="tx2">
                              <a:lumMod val="25000"/>
                            </a:schemeClr>
                          </a:solidFill>
                          <a:latin typeface="Calibri "/>
                          <a:cs typeface="Calibri"/>
                          <a:sym typeface="Arial"/>
                        </a:rPr>
                        <a:t>Ολοκληρωμένα έργα</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u="none" strike="noStrike" cap="none">
                          <a:solidFill>
                            <a:schemeClr val="tx2">
                              <a:lumMod val="25000"/>
                            </a:schemeClr>
                          </a:solidFill>
                          <a:latin typeface="Calibri "/>
                          <a:cs typeface="Calibri"/>
                          <a:sym typeface="Arial"/>
                        </a:rPr>
                        <a:t>Έργα υπό σχεδιασμό</a:t>
                      </a:r>
                      <a:endParaRPr lang="el-GR" sz="1400" b="1" i="0" u="none" strike="noStrike" cap="none">
                        <a:solidFill>
                          <a:schemeClr val="tx2">
                            <a:lumMod val="25000"/>
                          </a:schemeClr>
                        </a:solidFill>
                        <a:latin typeface="Calibri "/>
                        <a:ea typeface="+mn-ea"/>
                        <a:cs typeface="Calibri"/>
                        <a:sym typeface="Arial"/>
                      </a:endParaRPr>
                    </a:p>
                  </a:txBody>
                  <a:tcPr anchor="ctr"/>
                </a:tc>
                <a:tc>
                  <a:txBody>
                    <a:bodyPr/>
                    <a:lstStyle/>
                    <a:p>
                      <a:pPr algn="ctr"/>
                      <a:r>
                        <a:rPr lang="el-GR" sz="1400" b="1">
                          <a:solidFill>
                            <a:schemeClr val="tx2">
                              <a:lumMod val="25000"/>
                            </a:schemeClr>
                          </a:solidFill>
                          <a:latin typeface="Calibri "/>
                          <a:cs typeface="Calibri"/>
                        </a:rPr>
                        <a:t>412 εκατ. €</a:t>
                      </a:r>
                    </a:p>
                  </a:txBody>
                  <a:tcPr anchor="ctr"/>
                </a:tc>
                <a:extLst>
                  <a:ext uri="{0D108BD9-81ED-4DB2-BD59-A6C34878D82A}">
                    <a16:rowId xmlns:a16="http://schemas.microsoft.com/office/drawing/2014/main" val="962130032"/>
                  </a:ext>
                </a:extLst>
              </a:tr>
              <a:tr h="6767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i="0" u="none" strike="noStrike" cap="none">
                          <a:solidFill>
                            <a:schemeClr val="tx2">
                              <a:lumMod val="25000"/>
                            </a:schemeClr>
                          </a:solidFill>
                          <a:latin typeface="Calibri "/>
                          <a:ea typeface="+mn-ea"/>
                          <a:cs typeface="Calibri"/>
                          <a:sym typeface="Arial"/>
                        </a:rPr>
                        <a:t>Ενισχύσεις επιχειρήσεων</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i="0" u="none" strike="noStrike" cap="none">
                          <a:solidFill>
                            <a:schemeClr val="tx2">
                              <a:lumMod val="25000"/>
                            </a:schemeClr>
                          </a:solidFill>
                          <a:latin typeface="Calibri "/>
                          <a:ea typeface="+mn-ea"/>
                          <a:cs typeface="Calibri"/>
                          <a:sym typeface="Arial"/>
                        </a:rPr>
                        <a:t>(ΤΑΑ,</a:t>
                      </a:r>
                      <a:r>
                        <a:rPr lang="el-GR" sz="1400" b="1" i="0" u="none" strike="noStrike" cap="none" baseline="0">
                          <a:solidFill>
                            <a:schemeClr val="tx2">
                              <a:lumMod val="25000"/>
                            </a:schemeClr>
                          </a:solidFill>
                          <a:latin typeface="Calibri "/>
                          <a:ea typeface="+mn-ea"/>
                          <a:cs typeface="Calibri"/>
                          <a:sym typeface="Arial"/>
                        </a:rPr>
                        <a:t> ΕΣΠΑ, ΕΑΤ)</a:t>
                      </a:r>
                      <a:endParaRPr lang="el-GR" sz="1400" b="1" i="0" u="none" strike="noStrike" cap="none">
                        <a:solidFill>
                          <a:schemeClr val="tx2">
                            <a:lumMod val="25000"/>
                          </a:schemeClr>
                        </a:solidFill>
                        <a:latin typeface="Calibri "/>
                        <a:ea typeface="+mn-ea"/>
                        <a:cs typeface="Calibri"/>
                        <a:sym typeface="Aria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i="0" u="none" strike="noStrike" cap="none">
                          <a:solidFill>
                            <a:schemeClr val="tx2">
                              <a:lumMod val="25000"/>
                            </a:schemeClr>
                          </a:solidFill>
                          <a:latin typeface="Calibri "/>
                          <a:ea typeface="+mn-ea"/>
                          <a:cs typeface="Calibri"/>
                          <a:sym typeface="Arial"/>
                        </a:rPr>
                        <a:t>25 εκατ. €</a:t>
                      </a:r>
                    </a:p>
                  </a:txBody>
                  <a:tcPr anchor="ctr"/>
                </a:tc>
                <a:extLst>
                  <a:ext uri="{0D108BD9-81ED-4DB2-BD59-A6C34878D82A}">
                    <a16:rowId xmlns:a16="http://schemas.microsoft.com/office/drawing/2014/main" val="1280270061"/>
                  </a:ext>
                </a:extLst>
              </a:tr>
            </a:tbl>
          </a:graphicData>
        </a:graphic>
      </p:graphicFrame>
      <p:graphicFrame>
        <p:nvGraphicFramePr>
          <p:cNvPr id="9" name="Πίνακας 10">
            <a:extLst>
              <a:ext uri="{FF2B5EF4-FFF2-40B4-BE49-F238E27FC236}">
                <a16:creationId xmlns:a16="http://schemas.microsoft.com/office/drawing/2014/main" id="{6A6C34FB-93A8-9524-D6A7-12C5CF6385E0}"/>
              </a:ext>
            </a:extLst>
          </p:cNvPr>
          <p:cNvGraphicFramePr>
            <a:graphicFrameLocks noGrp="1"/>
          </p:cNvGraphicFramePr>
          <p:nvPr>
            <p:extLst>
              <p:ext uri="{D42A27DB-BD31-4B8C-83A1-F6EECF244321}">
                <p14:modId xmlns:p14="http://schemas.microsoft.com/office/powerpoint/2010/main" val="4274392514"/>
              </p:ext>
            </p:extLst>
          </p:nvPr>
        </p:nvGraphicFramePr>
        <p:xfrm>
          <a:off x="263472" y="4735051"/>
          <a:ext cx="2964988" cy="2030930"/>
        </p:xfrm>
        <a:graphic>
          <a:graphicData uri="http://schemas.openxmlformats.org/drawingml/2006/table">
            <a:tbl>
              <a:tblPr firstRow="1" bandRow="1">
                <a:tableStyleId>{9DCAF9ED-07DC-4A11-8D7F-57B35C25682E}</a:tableStyleId>
              </a:tblPr>
              <a:tblGrid>
                <a:gridCol w="1884249">
                  <a:extLst>
                    <a:ext uri="{9D8B030D-6E8A-4147-A177-3AD203B41FA5}">
                      <a16:colId xmlns:a16="http://schemas.microsoft.com/office/drawing/2014/main" val="3809056593"/>
                    </a:ext>
                  </a:extLst>
                </a:gridCol>
                <a:gridCol w="1080739">
                  <a:extLst>
                    <a:ext uri="{9D8B030D-6E8A-4147-A177-3AD203B41FA5}">
                      <a16:colId xmlns:a16="http://schemas.microsoft.com/office/drawing/2014/main" val="20001"/>
                    </a:ext>
                  </a:extLst>
                </a:gridCol>
              </a:tblGrid>
              <a:tr h="262466">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1400" b="1" i="0" u="none" strike="noStrike" kern="0" cap="none" spc="0" normalizeH="0" baseline="0" noProof="0">
                          <a:ln>
                            <a:noFill/>
                          </a:ln>
                          <a:solidFill>
                            <a:srgbClr val="FFFFFF"/>
                          </a:solidFill>
                          <a:effectLst/>
                          <a:uLnTx/>
                          <a:uFillTx/>
                          <a:latin typeface="Calibri "/>
                          <a:ea typeface="+mn-ea"/>
                          <a:cs typeface="Calibri"/>
                          <a:sym typeface="Arial"/>
                        </a:rPr>
                        <a:t>1, 62 δις €</a:t>
                      </a:r>
                    </a:p>
                  </a:txBody>
                  <a:tcPr anchor="ctr">
                    <a:solidFill>
                      <a:srgbClr val="00B0F0"/>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l-GR" sz="18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a:endParaRPr>
                    </a:p>
                  </a:txBody>
                  <a:tcPr>
                    <a:solidFill>
                      <a:srgbClr val="00B0F0"/>
                    </a:solidFill>
                  </a:tcPr>
                </a:tc>
                <a:extLst>
                  <a:ext uri="{0D108BD9-81ED-4DB2-BD59-A6C34878D82A}">
                    <a16:rowId xmlns:a16="http://schemas.microsoft.com/office/drawing/2014/main" val="3344768552"/>
                  </a:ext>
                </a:extLst>
              </a:tr>
              <a:tr h="994610">
                <a:tc>
                  <a:txBody>
                    <a:bodyPr/>
                    <a:lstStyle/>
                    <a:p>
                      <a:pPr algn="ctr"/>
                      <a:r>
                        <a:rPr lang="el-GR" sz="1400" b="1">
                          <a:solidFill>
                            <a:schemeClr val="tx2">
                              <a:lumMod val="25000"/>
                            </a:schemeClr>
                          </a:solidFill>
                          <a:latin typeface="Calibri "/>
                          <a:cs typeface="Calibri"/>
                        </a:rPr>
                        <a:t>Έργα σε εξέλιξη</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u="none" strike="noStrike" cap="none">
                          <a:solidFill>
                            <a:schemeClr val="tx2">
                              <a:lumMod val="25000"/>
                            </a:schemeClr>
                          </a:solidFill>
                          <a:latin typeface="Calibri "/>
                          <a:cs typeface="Calibri"/>
                          <a:sym typeface="Arial"/>
                        </a:rPr>
                        <a:t>Ολοκληρωμένα έργα</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u="none" strike="noStrike" cap="none">
                          <a:solidFill>
                            <a:schemeClr val="tx2">
                              <a:lumMod val="25000"/>
                            </a:schemeClr>
                          </a:solidFill>
                          <a:latin typeface="Calibri "/>
                          <a:cs typeface="Calibri"/>
                          <a:sym typeface="Arial"/>
                        </a:rPr>
                        <a:t>Έργα υπό σχεδιασμό</a:t>
                      </a:r>
                      <a:endParaRPr lang="el-GR" sz="1400" b="1" i="0" u="none" strike="noStrike" cap="none">
                        <a:solidFill>
                          <a:schemeClr val="tx2">
                            <a:lumMod val="25000"/>
                          </a:schemeClr>
                        </a:solidFill>
                        <a:latin typeface="Calibri "/>
                        <a:ea typeface="+mn-ea"/>
                        <a:cs typeface="Calibri"/>
                        <a:sym typeface="Arial"/>
                      </a:endParaRPr>
                    </a:p>
                    <a:p>
                      <a:pPr algn="ctr"/>
                      <a:endParaRPr lang="el-GR" sz="1400" b="1">
                        <a:solidFill>
                          <a:schemeClr val="tx2">
                            <a:lumMod val="25000"/>
                          </a:schemeClr>
                        </a:solidFill>
                        <a:latin typeface="Calibri "/>
                        <a:cs typeface="Calibri"/>
                      </a:endParaRPr>
                    </a:p>
                  </a:txBody>
                  <a:tcPr anchor="ctr"/>
                </a:tc>
                <a:tc>
                  <a:txBody>
                    <a:bodyPr/>
                    <a:lstStyle/>
                    <a:p>
                      <a:pPr algn="ctr"/>
                      <a:r>
                        <a:rPr lang="el-GR" sz="1400" b="1">
                          <a:solidFill>
                            <a:schemeClr val="tx2">
                              <a:lumMod val="25000"/>
                            </a:schemeClr>
                          </a:solidFill>
                          <a:latin typeface="Calibri "/>
                          <a:cs typeface="Calibri"/>
                        </a:rPr>
                        <a:t>1,247 δις €</a:t>
                      </a:r>
                    </a:p>
                  </a:txBody>
                  <a:tcPr anchor="ctr"/>
                </a:tc>
                <a:extLst>
                  <a:ext uri="{0D108BD9-81ED-4DB2-BD59-A6C34878D82A}">
                    <a16:rowId xmlns:a16="http://schemas.microsoft.com/office/drawing/2014/main" val="962130032"/>
                  </a:ext>
                </a:extLst>
              </a:tr>
              <a:tr h="62853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i="0" u="none" strike="noStrike" cap="none" dirty="0">
                          <a:solidFill>
                            <a:schemeClr val="tx2">
                              <a:lumMod val="25000"/>
                            </a:schemeClr>
                          </a:solidFill>
                          <a:latin typeface="Calibri "/>
                          <a:ea typeface="+mn-ea"/>
                          <a:cs typeface="Calibri"/>
                          <a:sym typeface="Arial"/>
                        </a:rPr>
                        <a:t>Ενισχύσεις &amp; Δάνεια επιχειρήσεων</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i="0" u="none" strike="noStrike" cap="none" dirty="0">
                          <a:solidFill>
                            <a:schemeClr val="tx2">
                              <a:lumMod val="25000"/>
                            </a:schemeClr>
                          </a:solidFill>
                          <a:latin typeface="Calibri "/>
                          <a:ea typeface="+mn-ea"/>
                          <a:cs typeface="Calibri"/>
                          <a:sym typeface="Arial"/>
                        </a:rPr>
                        <a:t>(ΤΑΑ,</a:t>
                      </a:r>
                      <a:r>
                        <a:rPr lang="el-GR" sz="1400" b="1" i="0" u="none" strike="noStrike" cap="none" baseline="0" dirty="0">
                          <a:solidFill>
                            <a:schemeClr val="tx2">
                              <a:lumMod val="25000"/>
                            </a:schemeClr>
                          </a:solidFill>
                          <a:latin typeface="Calibri "/>
                          <a:ea typeface="+mn-ea"/>
                          <a:cs typeface="Calibri"/>
                          <a:sym typeface="Arial"/>
                        </a:rPr>
                        <a:t> ΕΑΤ, ΕΣΠΑ)</a:t>
                      </a:r>
                      <a:endParaRPr lang="el-GR" sz="1400" b="1" i="0" u="none" strike="noStrike" cap="none" dirty="0">
                        <a:solidFill>
                          <a:schemeClr val="tx2">
                            <a:lumMod val="25000"/>
                          </a:schemeClr>
                        </a:solidFill>
                        <a:latin typeface="Calibri "/>
                        <a:ea typeface="+mn-ea"/>
                        <a:cs typeface="Calibri"/>
                        <a:sym typeface="Aria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i="0" u="none" strike="noStrike" cap="none" dirty="0">
                          <a:solidFill>
                            <a:schemeClr val="tx2">
                              <a:lumMod val="25000"/>
                            </a:schemeClr>
                          </a:solidFill>
                          <a:latin typeface="Calibri "/>
                          <a:ea typeface="+mn-ea"/>
                          <a:cs typeface="Calibri"/>
                          <a:sym typeface="Arial"/>
                        </a:rPr>
                        <a:t>376 εκατ. €</a:t>
                      </a:r>
                    </a:p>
                  </a:txBody>
                  <a:tcPr anchor="ctr"/>
                </a:tc>
                <a:extLst>
                  <a:ext uri="{0D108BD9-81ED-4DB2-BD59-A6C34878D82A}">
                    <a16:rowId xmlns:a16="http://schemas.microsoft.com/office/drawing/2014/main" val="1280270061"/>
                  </a:ext>
                </a:extLst>
              </a:tr>
            </a:tbl>
          </a:graphicData>
        </a:graphic>
      </p:graphicFrame>
      <p:graphicFrame>
        <p:nvGraphicFramePr>
          <p:cNvPr id="12" name="Πίνακας 10">
            <a:extLst>
              <a:ext uri="{FF2B5EF4-FFF2-40B4-BE49-F238E27FC236}">
                <a16:creationId xmlns:a16="http://schemas.microsoft.com/office/drawing/2014/main" id="{945ECDCE-8888-BC37-618F-E84BC58353D6}"/>
              </a:ext>
            </a:extLst>
          </p:cNvPr>
          <p:cNvGraphicFramePr>
            <a:graphicFrameLocks noGrp="1"/>
          </p:cNvGraphicFramePr>
          <p:nvPr>
            <p:extLst>
              <p:ext uri="{D42A27DB-BD31-4B8C-83A1-F6EECF244321}">
                <p14:modId xmlns:p14="http://schemas.microsoft.com/office/powerpoint/2010/main" val="3764064088"/>
              </p:ext>
            </p:extLst>
          </p:nvPr>
        </p:nvGraphicFramePr>
        <p:xfrm>
          <a:off x="299356" y="1768928"/>
          <a:ext cx="3029150" cy="1981200"/>
        </p:xfrm>
        <a:graphic>
          <a:graphicData uri="http://schemas.openxmlformats.org/drawingml/2006/table">
            <a:tbl>
              <a:tblPr firstRow="1" bandRow="1">
                <a:tableStyleId>{9DCAF9ED-07DC-4A11-8D7F-57B35C25682E}</a:tableStyleId>
              </a:tblPr>
              <a:tblGrid>
                <a:gridCol w="1925025">
                  <a:extLst>
                    <a:ext uri="{9D8B030D-6E8A-4147-A177-3AD203B41FA5}">
                      <a16:colId xmlns:a16="http://schemas.microsoft.com/office/drawing/2014/main" val="3809056593"/>
                    </a:ext>
                  </a:extLst>
                </a:gridCol>
                <a:gridCol w="1104125">
                  <a:extLst>
                    <a:ext uri="{9D8B030D-6E8A-4147-A177-3AD203B41FA5}">
                      <a16:colId xmlns:a16="http://schemas.microsoft.com/office/drawing/2014/main" val="20001"/>
                    </a:ext>
                  </a:extLst>
                </a:gridCol>
              </a:tblGrid>
              <a:tr h="270247">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1400" b="1" i="0" u="none" strike="noStrike" kern="0" cap="none" spc="0" normalizeH="0" baseline="0" noProof="0">
                          <a:ln>
                            <a:noFill/>
                          </a:ln>
                          <a:solidFill>
                            <a:srgbClr val="FFFFFF"/>
                          </a:solidFill>
                          <a:effectLst/>
                          <a:uLnTx/>
                          <a:uFillTx/>
                          <a:latin typeface="Calibri "/>
                          <a:ea typeface="+mn-ea"/>
                          <a:cs typeface="Calibri"/>
                          <a:sym typeface="Arial"/>
                        </a:rPr>
                        <a:t>1, 04 δις. €</a:t>
                      </a:r>
                    </a:p>
                  </a:txBody>
                  <a:tcPr anchor="ctr">
                    <a:solidFill>
                      <a:srgbClr val="00B0F0"/>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l-GR" sz="18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a:endParaRPr>
                    </a:p>
                  </a:txBody>
                  <a:tcPr>
                    <a:solidFill>
                      <a:srgbClr val="00B0F0"/>
                    </a:solidFill>
                  </a:tcPr>
                </a:tc>
                <a:extLst>
                  <a:ext uri="{0D108BD9-81ED-4DB2-BD59-A6C34878D82A}">
                    <a16:rowId xmlns:a16="http://schemas.microsoft.com/office/drawing/2014/main" val="3344768552"/>
                  </a:ext>
                </a:extLst>
              </a:tr>
              <a:tr h="839186">
                <a:tc>
                  <a:txBody>
                    <a:bodyPr/>
                    <a:lstStyle/>
                    <a:p>
                      <a:pPr algn="ctr"/>
                      <a:r>
                        <a:rPr lang="el-GR" sz="1400" b="1">
                          <a:solidFill>
                            <a:schemeClr val="tx2">
                              <a:lumMod val="25000"/>
                            </a:schemeClr>
                          </a:solidFill>
                          <a:latin typeface="Calibri "/>
                          <a:cs typeface="Calibri"/>
                        </a:rPr>
                        <a:t>Έργα σε εξέλιξη</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u="none" strike="noStrike" cap="none">
                          <a:solidFill>
                            <a:schemeClr val="tx2">
                              <a:lumMod val="25000"/>
                            </a:schemeClr>
                          </a:solidFill>
                          <a:latin typeface="Calibri "/>
                          <a:cs typeface="Calibri"/>
                          <a:sym typeface="Arial"/>
                        </a:rPr>
                        <a:t>Ολοκληρωμένα έργα</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u="none" strike="noStrike" cap="none">
                          <a:solidFill>
                            <a:schemeClr val="tx2">
                              <a:lumMod val="25000"/>
                            </a:schemeClr>
                          </a:solidFill>
                          <a:latin typeface="Calibri "/>
                          <a:cs typeface="Calibri"/>
                          <a:sym typeface="Arial"/>
                        </a:rPr>
                        <a:t>Έργα υπό σχεδιασμό</a:t>
                      </a:r>
                      <a:endParaRPr lang="el-GR" sz="1400" b="1" i="0" u="none" strike="noStrike" cap="none">
                        <a:solidFill>
                          <a:schemeClr val="tx2">
                            <a:lumMod val="25000"/>
                          </a:schemeClr>
                        </a:solidFill>
                        <a:latin typeface="Calibri "/>
                        <a:ea typeface="+mn-ea"/>
                        <a:cs typeface="Calibri"/>
                        <a:sym typeface="Arial"/>
                      </a:endParaRPr>
                    </a:p>
                    <a:p>
                      <a:pPr algn="ctr"/>
                      <a:endParaRPr lang="el-GR" sz="1400" b="1">
                        <a:solidFill>
                          <a:schemeClr val="tx2">
                            <a:lumMod val="25000"/>
                          </a:schemeClr>
                        </a:solidFill>
                        <a:latin typeface="Calibri "/>
                        <a:cs typeface="Calibri"/>
                      </a:endParaRPr>
                    </a:p>
                  </a:txBody>
                  <a:tcPr anchor="ctr"/>
                </a:tc>
                <a:tc>
                  <a:txBody>
                    <a:bodyPr/>
                    <a:lstStyle/>
                    <a:p>
                      <a:pPr algn="ctr"/>
                      <a:r>
                        <a:rPr lang="el-GR" sz="1400" b="1">
                          <a:solidFill>
                            <a:schemeClr val="tx2">
                              <a:lumMod val="25000"/>
                            </a:schemeClr>
                          </a:solidFill>
                          <a:latin typeface="Calibri "/>
                          <a:cs typeface="Calibri"/>
                        </a:rPr>
                        <a:t>923 εκατ. €</a:t>
                      </a:r>
                    </a:p>
                  </a:txBody>
                  <a:tcPr anchor="ctr"/>
                </a:tc>
                <a:extLst>
                  <a:ext uri="{0D108BD9-81ED-4DB2-BD59-A6C34878D82A}">
                    <a16:rowId xmlns:a16="http://schemas.microsoft.com/office/drawing/2014/main" val="962130032"/>
                  </a:ext>
                </a:extLst>
              </a:tr>
              <a:tr h="647172">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i="0" u="none" strike="noStrike" cap="none">
                          <a:solidFill>
                            <a:schemeClr val="tx2">
                              <a:lumMod val="25000"/>
                            </a:schemeClr>
                          </a:solidFill>
                          <a:latin typeface="Calibri "/>
                          <a:ea typeface="+mn-ea"/>
                          <a:cs typeface="Calibri"/>
                          <a:sym typeface="Arial"/>
                        </a:rPr>
                        <a:t>Ενισχύσεις &amp; Δάνεια επιχειρήσεων</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i="0" u="none" strike="noStrike" cap="none">
                          <a:solidFill>
                            <a:schemeClr val="tx2">
                              <a:lumMod val="25000"/>
                            </a:schemeClr>
                          </a:solidFill>
                          <a:latin typeface="Calibri "/>
                          <a:ea typeface="+mn-ea"/>
                          <a:cs typeface="Calibri"/>
                          <a:sym typeface="Arial"/>
                        </a:rPr>
                        <a:t>(ΤΑΑ,</a:t>
                      </a:r>
                      <a:r>
                        <a:rPr lang="el-GR" sz="1400" b="1" i="0" u="none" strike="noStrike" cap="none" baseline="0">
                          <a:solidFill>
                            <a:schemeClr val="tx2">
                              <a:lumMod val="25000"/>
                            </a:schemeClr>
                          </a:solidFill>
                          <a:latin typeface="Calibri "/>
                          <a:ea typeface="+mn-ea"/>
                          <a:cs typeface="Calibri"/>
                          <a:sym typeface="Arial"/>
                        </a:rPr>
                        <a:t> ΕΑΤ)</a:t>
                      </a:r>
                      <a:endParaRPr lang="el-GR" sz="1400" b="1" i="0" u="none" strike="noStrike" cap="none">
                        <a:solidFill>
                          <a:schemeClr val="tx2">
                            <a:lumMod val="25000"/>
                          </a:schemeClr>
                        </a:solidFill>
                        <a:latin typeface="Calibri "/>
                        <a:ea typeface="+mn-ea"/>
                        <a:cs typeface="Calibri"/>
                        <a:sym typeface="Aria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i="0" u="none" strike="noStrike" cap="none">
                          <a:solidFill>
                            <a:schemeClr val="tx2">
                              <a:lumMod val="25000"/>
                            </a:schemeClr>
                          </a:solidFill>
                          <a:latin typeface="Calibri "/>
                          <a:ea typeface="+mn-ea"/>
                          <a:cs typeface="Calibri"/>
                          <a:sym typeface="Arial"/>
                        </a:rPr>
                        <a:t>122 εκατ. €</a:t>
                      </a:r>
                    </a:p>
                  </a:txBody>
                  <a:tcPr anchor="ctr"/>
                </a:tc>
                <a:extLst>
                  <a:ext uri="{0D108BD9-81ED-4DB2-BD59-A6C34878D82A}">
                    <a16:rowId xmlns:a16="http://schemas.microsoft.com/office/drawing/2014/main" val="1280270061"/>
                  </a:ext>
                </a:extLst>
              </a:tr>
            </a:tbl>
          </a:graphicData>
        </a:graphic>
      </p:graphicFrame>
      <p:sp>
        <p:nvSpPr>
          <p:cNvPr id="13" name="Google Shape;490;p30">
            <a:extLst>
              <a:ext uri="{FF2B5EF4-FFF2-40B4-BE49-F238E27FC236}">
                <a16:creationId xmlns:a16="http://schemas.microsoft.com/office/drawing/2014/main" id="{7718E742-1E2E-9E6C-4D7F-1E299E25C315}"/>
              </a:ext>
            </a:extLst>
          </p:cNvPr>
          <p:cNvSpPr/>
          <p:nvPr/>
        </p:nvSpPr>
        <p:spPr>
          <a:xfrm>
            <a:off x="3388442" y="4193853"/>
            <a:ext cx="5595576" cy="1080965"/>
          </a:xfrm>
          <a:custGeom>
            <a:avLst/>
            <a:gdLst/>
            <a:ahLst/>
            <a:cxnLst/>
            <a:rect l="l" t="t" r="r" b="b"/>
            <a:pathLst>
              <a:path w="3182683" h="845438" extrusionOk="0">
                <a:moveTo>
                  <a:pt x="3182684" y="163830"/>
                </a:moveTo>
                <a:lnTo>
                  <a:pt x="3182684" y="681609"/>
                </a:lnTo>
                <a:cubicBezTo>
                  <a:pt x="3182684" y="772097"/>
                  <a:pt x="3129058" y="845439"/>
                  <a:pt x="3062954" y="845439"/>
                </a:cubicBezTo>
                <a:lnTo>
                  <a:pt x="119729" y="845439"/>
                </a:lnTo>
                <a:cubicBezTo>
                  <a:pt x="53626" y="845439"/>
                  <a:pt x="0" y="772097"/>
                  <a:pt x="0" y="681609"/>
                </a:cubicBezTo>
                <a:lnTo>
                  <a:pt x="0" y="163830"/>
                </a:lnTo>
                <a:cubicBezTo>
                  <a:pt x="0" y="73438"/>
                  <a:pt x="53626" y="0"/>
                  <a:pt x="119729" y="0"/>
                </a:cubicBezTo>
                <a:lnTo>
                  <a:pt x="3062954" y="0"/>
                </a:lnTo>
                <a:cubicBezTo>
                  <a:pt x="3129058" y="0"/>
                  <a:pt x="3182684" y="73438"/>
                  <a:pt x="3182684" y="163830"/>
                </a:cubicBezTo>
                <a:close/>
              </a:path>
            </a:pathLst>
          </a:cu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121900" tIns="60933" rIns="121900" bIns="60933"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buClrTx/>
              <a:defRPr/>
            </a:pPr>
            <a:r>
              <a:rPr lang="el-GR" sz="2400" b="1" dirty="0">
                <a:solidFill>
                  <a:srgbClr val="005E88"/>
                </a:solidFill>
                <a:latin typeface="Calibri" panose="020F0502020204030204" pitchFamily="34" charset="0"/>
                <a:ea typeface="Calibri" panose="020F0502020204030204" pitchFamily="34" charset="0"/>
                <a:cs typeface="Calibri" panose="020F0502020204030204" pitchFamily="34" charset="0"/>
                <a:sym typeface="Calibri"/>
              </a:rPr>
              <a:t>    Πρόγραμμα Δίκαιης Αναπτυξιακής Μετάβασης</a:t>
            </a:r>
          </a:p>
        </p:txBody>
      </p:sp>
      <p:sp>
        <p:nvSpPr>
          <p:cNvPr id="21" name="Google Shape;439;p5">
            <a:extLst>
              <a:ext uri="{FF2B5EF4-FFF2-40B4-BE49-F238E27FC236}">
                <a16:creationId xmlns:a16="http://schemas.microsoft.com/office/drawing/2014/main" id="{FDC21BD9-3929-6A4F-2EA6-31CC20689380}"/>
              </a:ext>
            </a:extLst>
          </p:cNvPr>
          <p:cNvSpPr/>
          <p:nvPr/>
        </p:nvSpPr>
        <p:spPr>
          <a:xfrm>
            <a:off x="4729872" y="5197935"/>
            <a:ext cx="2896288" cy="687073"/>
          </a:xfrm>
          <a:prstGeom prst="roundRect">
            <a:avLst>
              <a:gd name="adj" fmla="val 50000"/>
            </a:avLst>
          </a:prstGeom>
          <a:solidFill>
            <a:schemeClr val="tx2">
              <a:lumMod val="60000"/>
              <a:lumOff val="40000"/>
            </a:schemeClr>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chemeClr val="dk1"/>
              </a:buClr>
              <a:buSzPts val="1200"/>
            </a:pPr>
            <a:r>
              <a:rPr lang="el-GR" sz="2133" b="1" dirty="0">
                <a:solidFill>
                  <a:srgbClr val="0070C0"/>
                </a:solidFill>
              </a:rPr>
              <a:t>~ </a:t>
            </a:r>
            <a:r>
              <a:rPr lang="en-GB" sz="2133" b="1" dirty="0">
                <a:solidFill>
                  <a:srgbClr val="0070C0"/>
                </a:solidFill>
              </a:rPr>
              <a:t>1,6</a:t>
            </a:r>
            <a:r>
              <a:rPr lang="el-GR" sz="2133" b="1" dirty="0">
                <a:solidFill>
                  <a:srgbClr val="0070C0"/>
                </a:solidFill>
              </a:rPr>
              <a:t> δις €</a:t>
            </a:r>
          </a:p>
          <a:p>
            <a:pPr algn="l" rtl="0">
              <a:buClr>
                <a:schemeClr val="dk1"/>
              </a:buClr>
              <a:buSzPts val="1200"/>
            </a:pPr>
            <a:endParaRPr lang="el-GR" sz="1400" b="1" dirty="0">
              <a:solidFill>
                <a:srgbClr val="FFFFFF"/>
              </a:solidFill>
            </a:endParaRPr>
          </a:p>
        </p:txBody>
      </p:sp>
      <p:grpSp>
        <p:nvGrpSpPr>
          <p:cNvPr id="15" name="Google Shape;771;p72">
            <a:extLst>
              <a:ext uri="{FF2B5EF4-FFF2-40B4-BE49-F238E27FC236}">
                <a16:creationId xmlns:a16="http://schemas.microsoft.com/office/drawing/2014/main" id="{98FE4DF8-ED63-F48A-F6BE-0C97BCF45D5F}"/>
              </a:ext>
            </a:extLst>
          </p:cNvPr>
          <p:cNvGrpSpPr/>
          <p:nvPr/>
        </p:nvGrpSpPr>
        <p:grpSpPr>
          <a:xfrm>
            <a:off x="4928978" y="5350335"/>
            <a:ext cx="381390" cy="303627"/>
            <a:chOff x="1190625" y="238125"/>
            <a:chExt cx="5219200" cy="5219200"/>
          </a:xfrm>
          <a:solidFill>
            <a:srgbClr val="1F497D"/>
          </a:solidFill>
        </p:grpSpPr>
        <p:sp>
          <p:nvSpPr>
            <p:cNvPr id="16" name="Google Shape;772;p72">
              <a:extLst>
                <a:ext uri="{FF2B5EF4-FFF2-40B4-BE49-F238E27FC236}">
                  <a16:creationId xmlns:a16="http://schemas.microsoft.com/office/drawing/2014/main" id="{98FC0459-856D-0CB1-1EA4-500E349560E0}"/>
                </a:ext>
              </a:extLst>
            </p:cNvPr>
            <p:cNvSpPr/>
            <p:nvPr/>
          </p:nvSpPr>
          <p:spPr>
            <a:xfrm>
              <a:off x="2623450" y="1695400"/>
              <a:ext cx="2032225" cy="2213275"/>
            </a:xfrm>
            <a:custGeom>
              <a:avLst/>
              <a:gdLst/>
              <a:ahLst/>
              <a:cxnLst/>
              <a:rect l="l" t="t" r="r" b="b"/>
              <a:pathLst>
                <a:path w="81289" h="88531" extrusionOk="0">
                  <a:moveTo>
                    <a:pt x="56074" y="1"/>
                  </a:moveTo>
                  <a:cubicBezTo>
                    <a:pt x="36241" y="1"/>
                    <a:pt x="19409" y="13147"/>
                    <a:pt x="13798" y="31153"/>
                  </a:cubicBezTo>
                  <a:lnTo>
                    <a:pt x="6100" y="31153"/>
                  </a:lnTo>
                  <a:cubicBezTo>
                    <a:pt x="2740" y="31153"/>
                    <a:pt x="0" y="33893"/>
                    <a:pt x="0" y="37285"/>
                  </a:cubicBezTo>
                  <a:cubicBezTo>
                    <a:pt x="0" y="40645"/>
                    <a:pt x="2740" y="43385"/>
                    <a:pt x="6100" y="43385"/>
                  </a:cubicBezTo>
                  <a:lnTo>
                    <a:pt x="11808" y="43385"/>
                  </a:lnTo>
                  <a:cubicBezTo>
                    <a:pt x="11808" y="43679"/>
                    <a:pt x="11808" y="43972"/>
                    <a:pt x="11808" y="44266"/>
                  </a:cubicBezTo>
                  <a:cubicBezTo>
                    <a:pt x="11808" y="45799"/>
                    <a:pt x="11874" y="47300"/>
                    <a:pt x="12037" y="48800"/>
                  </a:cubicBezTo>
                  <a:lnTo>
                    <a:pt x="6100" y="48800"/>
                  </a:lnTo>
                  <a:cubicBezTo>
                    <a:pt x="2740" y="48800"/>
                    <a:pt x="0" y="51540"/>
                    <a:pt x="0" y="54900"/>
                  </a:cubicBezTo>
                  <a:cubicBezTo>
                    <a:pt x="0" y="58292"/>
                    <a:pt x="2740" y="61032"/>
                    <a:pt x="6100" y="61032"/>
                  </a:cubicBezTo>
                  <a:lnTo>
                    <a:pt x="15103" y="61032"/>
                  </a:lnTo>
                  <a:cubicBezTo>
                    <a:pt x="21725" y="77147"/>
                    <a:pt x="37578" y="88531"/>
                    <a:pt x="56074" y="88531"/>
                  </a:cubicBezTo>
                  <a:cubicBezTo>
                    <a:pt x="63478" y="88531"/>
                    <a:pt x="70785" y="86672"/>
                    <a:pt x="77244" y="83181"/>
                  </a:cubicBezTo>
                  <a:cubicBezTo>
                    <a:pt x="80212" y="81550"/>
                    <a:pt x="81289" y="77832"/>
                    <a:pt x="79690" y="74863"/>
                  </a:cubicBezTo>
                  <a:cubicBezTo>
                    <a:pt x="78570" y="72824"/>
                    <a:pt x="76465" y="71678"/>
                    <a:pt x="74294" y="71678"/>
                  </a:cubicBezTo>
                  <a:cubicBezTo>
                    <a:pt x="73305" y="71678"/>
                    <a:pt x="72302" y="71916"/>
                    <a:pt x="71372" y="72417"/>
                  </a:cubicBezTo>
                  <a:cubicBezTo>
                    <a:pt x="66708" y="74961"/>
                    <a:pt x="61423" y="76299"/>
                    <a:pt x="56074" y="76299"/>
                  </a:cubicBezTo>
                  <a:cubicBezTo>
                    <a:pt x="44559" y="76299"/>
                    <a:pt x="34414" y="70199"/>
                    <a:pt x="28771" y="61032"/>
                  </a:cubicBezTo>
                  <a:lnTo>
                    <a:pt x="55715" y="61032"/>
                  </a:lnTo>
                  <a:cubicBezTo>
                    <a:pt x="59107" y="61032"/>
                    <a:pt x="61847" y="58292"/>
                    <a:pt x="61847" y="54900"/>
                  </a:cubicBezTo>
                  <a:cubicBezTo>
                    <a:pt x="61847" y="51540"/>
                    <a:pt x="59107" y="48800"/>
                    <a:pt x="55715" y="48800"/>
                  </a:cubicBezTo>
                  <a:lnTo>
                    <a:pt x="24367" y="48800"/>
                  </a:lnTo>
                  <a:cubicBezTo>
                    <a:pt x="24171" y="47332"/>
                    <a:pt x="24041" y="45799"/>
                    <a:pt x="24041" y="44266"/>
                  </a:cubicBezTo>
                  <a:cubicBezTo>
                    <a:pt x="24041" y="43972"/>
                    <a:pt x="24074" y="43679"/>
                    <a:pt x="24074" y="43385"/>
                  </a:cubicBezTo>
                  <a:lnTo>
                    <a:pt x="55715" y="43385"/>
                  </a:lnTo>
                  <a:cubicBezTo>
                    <a:pt x="59107" y="43385"/>
                    <a:pt x="61847" y="40645"/>
                    <a:pt x="61847" y="37285"/>
                  </a:cubicBezTo>
                  <a:cubicBezTo>
                    <a:pt x="61847" y="33893"/>
                    <a:pt x="59107" y="31153"/>
                    <a:pt x="55715" y="31153"/>
                  </a:cubicBezTo>
                  <a:lnTo>
                    <a:pt x="26879" y="31153"/>
                  </a:lnTo>
                  <a:cubicBezTo>
                    <a:pt x="31902" y="20029"/>
                    <a:pt x="43091" y="12233"/>
                    <a:pt x="56074" y="12233"/>
                  </a:cubicBezTo>
                  <a:cubicBezTo>
                    <a:pt x="61325" y="12233"/>
                    <a:pt x="66316" y="13473"/>
                    <a:pt x="70916" y="15887"/>
                  </a:cubicBezTo>
                  <a:cubicBezTo>
                    <a:pt x="71820" y="16358"/>
                    <a:pt x="72787" y="16581"/>
                    <a:pt x="73739" y="16581"/>
                  </a:cubicBezTo>
                  <a:cubicBezTo>
                    <a:pt x="75946" y="16581"/>
                    <a:pt x="78075" y="15383"/>
                    <a:pt x="79169" y="13310"/>
                  </a:cubicBezTo>
                  <a:cubicBezTo>
                    <a:pt x="80734" y="10309"/>
                    <a:pt x="79593" y="6623"/>
                    <a:pt x="76592" y="5057"/>
                  </a:cubicBezTo>
                  <a:cubicBezTo>
                    <a:pt x="70296" y="1762"/>
                    <a:pt x="63217" y="1"/>
                    <a:pt x="56074" y="1"/>
                  </a:cubicBezTo>
                  <a:close/>
                </a:path>
              </a:pathLst>
            </a:cu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sp>
          <p:nvSpPr>
            <p:cNvPr id="17" name="Google Shape;773;p72">
              <a:extLst>
                <a:ext uri="{FF2B5EF4-FFF2-40B4-BE49-F238E27FC236}">
                  <a16:creationId xmlns:a16="http://schemas.microsoft.com/office/drawing/2014/main" id="{2BCBC5E6-C48C-965D-8EFE-FEE3E77BAD90}"/>
                </a:ext>
              </a:extLst>
            </p:cNvPr>
            <p:cNvSpPr/>
            <p:nvPr/>
          </p:nvSpPr>
          <p:spPr>
            <a:xfrm>
              <a:off x="1190625" y="238125"/>
              <a:ext cx="5219200" cy="5219200"/>
            </a:xfrm>
            <a:custGeom>
              <a:avLst/>
              <a:gdLst/>
              <a:ahLst/>
              <a:cxnLst/>
              <a:rect l="l" t="t" r="r" b="b"/>
              <a:pathLst>
                <a:path w="208768" h="208768" extrusionOk="0">
                  <a:moveTo>
                    <a:pt x="104384" y="12232"/>
                  </a:moveTo>
                  <a:cubicBezTo>
                    <a:pt x="155205" y="12232"/>
                    <a:pt x="196535" y="53562"/>
                    <a:pt x="196535" y="104384"/>
                  </a:cubicBezTo>
                  <a:cubicBezTo>
                    <a:pt x="196535" y="155205"/>
                    <a:pt x="155205" y="196535"/>
                    <a:pt x="104384" y="196535"/>
                  </a:cubicBezTo>
                  <a:cubicBezTo>
                    <a:pt x="53562" y="196535"/>
                    <a:pt x="12232" y="155205"/>
                    <a:pt x="12232" y="104384"/>
                  </a:cubicBezTo>
                  <a:cubicBezTo>
                    <a:pt x="12232" y="53562"/>
                    <a:pt x="53562" y="12232"/>
                    <a:pt x="104384" y="12232"/>
                  </a:cubicBezTo>
                  <a:close/>
                  <a:moveTo>
                    <a:pt x="104384" y="0"/>
                  </a:moveTo>
                  <a:cubicBezTo>
                    <a:pt x="76494" y="0"/>
                    <a:pt x="50300" y="10862"/>
                    <a:pt x="30565" y="30565"/>
                  </a:cubicBezTo>
                  <a:cubicBezTo>
                    <a:pt x="10862" y="50300"/>
                    <a:pt x="0" y="76494"/>
                    <a:pt x="0" y="104384"/>
                  </a:cubicBezTo>
                  <a:cubicBezTo>
                    <a:pt x="0" y="132274"/>
                    <a:pt x="10862" y="158467"/>
                    <a:pt x="30565" y="178202"/>
                  </a:cubicBezTo>
                  <a:cubicBezTo>
                    <a:pt x="50300" y="197905"/>
                    <a:pt x="76494" y="208767"/>
                    <a:pt x="104384" y="208767"/>
                  </a:cubicBezTo>
                  <a:cubicBezTo>
                    <a:pt x="132274" y="208767"/>
                    <a:pt x="158467" y="197905"/>
                    <a:pt x="178202" y="178202"/>
                  </a:cubicBezTo>
                  <a:cubicBezTo>
                    <a:pt x="197905" y="158467"/>
                    <a:pt x="208767" y="132274"/>
                    <a:pt x="208767" y="104384"/>
                  </a:cubicBezTo>
                  <a:cubicBezTo>
                    <a:pt x="208767" y="76494"/>
                    <a:pt x="197905" y="50300"/>
                    <a:pt x="178202" y="30565"/>
                  </a:cubicBezTo>
                  <a:cubicBezTo>
                    <a:pt x="158467" y="10862"/>
                    <a:pt x="132274" y="0"/>
                    <a:pt x="104384" y="0"/>
                  </a:cubicBezTo>
                  <a:close/>
                </a:path>
              </a:pathLst>
            </a:cu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sp>
          <p:nvSpPr>
            <p:cNvPr id="18" name="Google Shape;774;p72">
              <a:extLst>
                <a:ext uri="{FF2B5EF4-FFF2-40B4-BE49-F238E27FC236}">
                  <a16:creationId xmlns:a16="http://schemas.microsoft.com/office/drawing/2014/main" id="{3EDEA835-7327-D6AC-23E4-F4E6D50F4C9A}"/>
                </a:ext>
              </a:extLst>
            </p:cNvPr>
            <p:cNvSpPr/>
            <p:nvPr/>
          </p:nvSpPr>
          <p:spPr>
            <a:xfrm>
              <a:off x="1800600" y="848100"/>
              <a:ext cx="3999225" cy="3999225"/>
            </a:xfrm>
            <a:custGeom>
              <a:avLst/>
              <a:gdLst/>
              <a:ahLst/>
              <a:cxnLst/>
              <a:rect l="l" t="t" r="r" b="b"/>
              <a:pathLst>
                <a:path w="159969" h="159969" extrusionOk="0">
                  <a:moveTo>
                    <a:pt x="79985" y="12233"/>
                  </a:moveTo>
                  <a:cubicBezTo>
                    <a:pt x="117334" y="12233"/>
                    <a:pt x="147736" y="42635"/>
                    <a:pt x="147736" y="79985"/>
                  </a:cubicBezTo>
                  <a:cubicBezTo>
                    <a:pt x="147736" y="117334"/>
                    <a:pt x="117334" y="147736"/>
                    <a:pt x="79985" y="147736"/>
                  </a:cubicBezTo>
                  <a:cubicBezTo>
                    <a:pt x="42635" y="147736"/>
                    <a:pt x="12233" y="117334"/>
                    <a:pt x="12233" y="79985"/>
                  </a:cubicBezTo>
                  <a:cubicBezTo>
                    <a:pt x="12233" y="42635"/>
                    <a:pt x="42635" y="12233"/>
                    <a:pt x="79985" y="12233"/>
                  </a:cubicBezTo>
                  <a:close/>
                  <a:moveTo>
                    <a:pt x="79985" y="1"/>
                  </a:moveTo>
                  <a:cubicBezTo>
                    <a:pt x="35883" y="1"/>
                    <a:pt x="1" y="35883"/>
                    <a:pt x="1" y="79985"/>
                  </a:cubicBezTo>
                  <a:cubicBezTo>
                    <a:pt x="1" y="124087"/>
                    <a:pt x="35883" y="159968"/>
                    <a:pt x="79985" y="159968"/>
                  </a:cubicBezTo>
                  <a:cubicBezTo>
                    <a:pt x="124087" y="159968"/>
                    <a:pt x="159968" y="124087"/>
                    <a:pt x="159968" y="79985"/>
                  </a:cubicBezTo>
                  <a:cubicBezTo>
                    <a:pt x="159968" y="35883"/>
                    <a:pt x="124087" y="1"/>
                    <a:pt x="79985" y="1"/>
                  </a:cubicBezTo>
                  <a:close/>
                </a:path>
              </a:pathLst>
            </a:cu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sp>
          <p:nvSpPr>
            <p:cNvPr id="20" name="Google Shape;775;p72">
              <a:extLst>
                <a:ext uri="{FF2B5EF4-FFF2-40B4-BE49-F238E27FC236}">
                  <a16:creationId xmlns:a16="http://schemas.microsoft.com/office/drawing/2014/main" id="{DAF32951-2027-A895-D0D5-0DE6636591E3}"/>
                </a:ext>
              </a:extLst>
            </p:cNvPr>
            <p:cNvSpPr/>
            <p:nvPr/>
          </p:nvSpPr>
          <p:spPr>
            <a:xfrm>
              <a:off x="5250150" y="1651375"/>
              <a:ext cx="40000" cy="31000"/>
            </a:xfrm>
            <a:custGeom>
              <a:avLst/>
              <a:gdLst/>
              <a:ahLst/>
              <a:cxnLst/>
              <a:rect l="l" t="t" r="r" b="b"/>
              <a:pathLst>
                <a:path w="1600" h="1240" extrusionOk="0">
                  <a:moveTo>
                    <a:pt x="816" y="0"/>
                  </a:moveTo>
                  <a:cubicBezTo>
                    <a:pt x="1" y="0"/>
                    <a:pt x="1" y="1240"/>
                    <a:pt x="816" y="1240"/>
                  </a:cubicBezTo>
                  <a:cubicBezTo>
                    <a:pt x="1599" y="1240"/>
                    <a:pt x="1599" y="0"/>
                    <a:pt x="816" y="0"/>
                  </a:cubicBezTo>
                  <a:close/>
                </a:path>
              </a:pathLst>
            </a:cu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grpSp>
    </p:spTree>
    <p:extLst>
      <p:ext uri="{BB962C8B-B14F-4D97-AF65-F5344CB8AC3E}">
        <p14:creationId xmlns:p14="http://schemas.microsoft.com/office/powerpoint/2010/main" val="34223386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FD45C1-76C8-0B85-2867-74053038E8D3}"/>
            </a:ext>
          </a:extLst>
        </p:cNvPr>
        <p:cNvGrpSpPr/>
        <p:nvPr/>
      </p:nvGrpSpPr>
      <p:grpSpPr>
        <a:xfrm>
          <a:off x="0" y="0"/>
          <a:ext cx="0" cy="0"/>
          <a:chOff x="0" y="0"/>
          <a:chExt cx="0" cy="0"/>
        </a:xfrm>
      </p:grpSpPr>
      <p:graphicFrame>
        <p:nvGraphicFramePr>
          <p:cNvPr id="5" name="Picture Placeholder 4">
            <a:extLst>
              <a:ext uri="{FF2B5EF4-FFF2-40B4-BE49-F238E27FC236}">
                <a16:creationId xmlns:a16="http://schemas.microsoft.com/office/drawing/2014/main" id="{F669F093-218F-C1BA-734D-684032FC61BF}"/>
              </a:ext>
            </a:extLst>
          </p:cNvPr>
          <p:cNvGraphicFramePr>
            <a:graphicFrameLocks noGrp="1"/>
          </p:cNvGraphicFramePr>
          <p:nvPr>
            <p:ph type="pic" idx="3"/>
          </p:nvPr>
        </p:nvGraphicFramePr>
        <p:xfrm>
          <a:off x="765508" y="942348"/>
          <a:ext cx="10885718" cy="3780871"/>
        </p:xfrm>
        <a:graphic>
          <a:graphicData uri="http://schemas.openxmlformats.org/drawingml/2006/table">
            <a:tbl>
              <a:tblPr firstRow="1" bandRow="1">
                <a:tableStyleId>{2D5ABB26-0587-4C30-8999-92F81FD0307C}</a:tableStyleId>
              </a:tblPr>
              <a:tblGrid>
                <a:gridCol w="9173163">
                  <a:extLst>
                    <a:ext uri="{9D8B030D-6E8A-4147-A177-3AD203B41FA5}">
                      <a16:colId xmlns:a16="http://schemas.microsoft.com/office/drawing/2014/main" val="132465801"/>
                    </a:ext>
                  </a:extLst>
                </a:gridCol>
                <a:gridCol w="1712555">
                  <a:extLst>
                    <a:ext uri="{9D8B030D-6E8A-4147-A177-3AD203B41FA5}">
                      <a16:colId xmlns:a16="http://schemas.microsoft.com/office/drawing/2014/main" val="2619344112"/>
                    </a:ext>
                  </a:extLst>
                </a:gridCol>
              </a:tblGrid>
              <a:tr h="492331">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Στήριξη φιλικών προς το περιβάλλον διεργασιών παραγωγής &amp; αποδοτικής χρήσης πόρων</a:t>
                      </a:r>
                    </a:p>
                  </a:txBody>
                  <a:tcPr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17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8012004"/>
                  </a:ext>
                </a:extLst>
              </a:tr>
              <a:tr h="652272">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Ανάπτυξη υποδομών και προστασία περιβάλλοντος (μικρά φράγματα, αρδευτικά δίκτυα, ύδρευση - αποχέτευση, αντιπλημμυρικά κ.λπ.)</a:t>
                      </a:r>
                    </a:p>
                  </a:txBody>
                  <a:tcPr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4.70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7074969"/>
                  </a:ext>
                </a:extLst>
              </a:tr>
              <a:tr h="492331">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Πράσινες πόλεις (αστικές αναπλάσεις, εκσυγχρονισμός στόλου αστικών μεταφορών κ.λπ.)</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14.50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9038813"/>
                  </a:ext>
                </a:extLst>
              </a:tr>
              <a:tr h="492331">
                <a:tc>
                  <a:txBody>
                    <a:bodyPr/>
                    <a:lstStyle/>
                    <a:p>
                      <a:pPr marL="0" marR="0">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Υγεία - υποδομές, εξοπλισμός</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14.139.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3903392"/>
                  </a:ext>
                </a:extLst>
              </a:tr>
              <a:tr h="492331">
                <a:tc>
                  <a:txBody>
                    <a:bodyPr/>
                    <a:lstStyle/>
                    <a:p>
                      <a:pPr marL="0" marR="0">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Ενίσχυση υποδομών για βελτίωση της ενσωμάτωσης ΑΜΕΑ</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2.20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4753557"/>
                  </a:ext>
                </a:extLst>
              </a:tr>
              <a:tr h="666944">
                <a:tc>
                  <a:txBody>
                    <a:bodyPr/>
                    <a:lstStyle/>
                    <a:p>
                      <a:pPr marL="0" marR="0">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Κάτοικοι των μικρών νησιών και απομακρυσμένων περιοχών που ωφελούνται από ολοκληρωμένες παρεμβάσεις τοπικής ανάπτυξης και απασχόλησης</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5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1597973"/>
                  </a:ext>
                </a:extLst>
              </a:tr>
              <a:tr h="492331">
                <a:tc>
                  <a:txBody>
                    <a:bodyPr/>
                    <a:lstStyle/>
                    <a:p>
                      <a:pPr marL="0" marR="0">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Δράσεις εκπαίδευσης – κατάρτισης εργαζομένων</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50.000</a:t>
                      </a:r>
                      <a:r>
                        <a:rPr lang="en-US" sz="1600" kern="120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976462"/>
                  </a:ext>
                </a:extLst>
              </a:tr>
            </a:tbl>
          </a:graphicData>
        </a:graphic>
      </p:graphicFrame>
      <p:graphicFrame>
        <p:nvGraphicFramePr>
          <p:cNvPr id="8" name="Picture Placeholder 4">
            <a:extLst>
              <a:ext uri="{FF2B5EF4-FFF2-40B4-BE49-F238E27FC236}">
                <a16:creationId xmlns:a16="http://schemas.microsoft.com/office/drawing/2014/main" id="{D6FCB2A9-CB8E-180F-6967-F1477BA5E843}"/>
              </a:ext>
            </a:extLst>
          </p:cNvPr>
          <p:cNvGraphicFramePr>
            <a:graphicFrameLocks/>
          </p:cNvGraphicFramePr>
          <p:nvPr/>
        </p:nvGraphicFramePr>
        <p:xfrm>
          <a:off x="765509" y="4723218"/>
          <a:ext cx="10889569" cy="1557511"/>
        </p:xfrm>
        <a:graphic>
          <a:graphicData uri="http://schemas.openxmlformats.org/drawingml/2006/table">
            <a:tbl>
              <a:tblPr firstRow="1" bandRow="1">
                <a:tableStyleId>{2D5ABB26-0587-4C30-8999-92F81FD0307C}</a:tableStyleId>
              </a:tblPr>
              <a:tblGrid>
                <a:gridCol w="9173164">
                  <a:extLst>
                    <a:ext uri="{9D8B030D-6E8A-4147-A177-3AD203B41FA5}">
                      <a16:colId xmlns:a16="http://schemas.microsoft.com/office/drawing/2014/main" val="132465801"/>
                    </a:ext>
                  </a:extLst>
                </a:gridCol>
                <a:gridCol w="1716405">
                  <a:extLst>
                    <a:ext uri="{9D8B030D-6E8A-4147-A177-3AD203B41FA5}">
                      <a16:colId xmlns:a16="http://schemas.microsoft.com/office/drawing/2014/main" val="2619344112"/>
                    </a:ext>
                  </a:extLst>
                </a:gridCol>
              </a:tblGrid>
              <a:tr h="493024">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Υποδομές στον τομέα του αθλητισμού</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5.000.000 €</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7074969"/>
                  </a:ext>
                </a:extLst>
              </a:tr>
              <a:tr h="560832">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Ολοκληρωμένη ανάπτυξη των αστικών, αγροτικών και παράκτιων περιοχών - στήριξη τοπικών πρωτοβουλιών</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200.000</a:t>
                      </a:r>
                      <a:r>
                        <a:rPr lang="el-GR" sz="1600" kern="1200" baseline="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9038813"/>
                  </a:ext>
                </a:extLst>
              </a:tr>
              <a:tr h="503655">
                <a:tc>
                  <a:txBody>
                    <a:bodyPr/>
                    <a:lstStyle/>
                    <a:p>
                      <a:pPr marL="0" marR="0" algn="l" defTabSz="914400" rtl="0" eaLnBrk="1" latinLnBrk="0" hangingPunct="1">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Ασφάλεια, προστασία και δικαιοσύνη</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40.000.000</a:t>
                      </a:r>
                      <a:r>
                        <a:rPr lang="el-GR" sz="1600" kern="1200" baseline="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p>
                  </a:txBody>
                  <a:tcPr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3903392"/>
                  </a:ext>
                </a:extLst>
              </a:tr>
            </a:tbl>
          </a:graphicData>
        </a:graphic>
      </p:graphicFrame>
      <p:sp>
        <p:nvSpPr>
          <p:cNvPr id="7"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8963377" cy="795145"/>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Arial" panose="020B0604020202020204" pitchFamily="34" charset="0"/>
                <a:ea typeface="Urbanist" panose="020B0604020202020204" charset="0"/>
                <a:cs typeface="Arial" panose="020B0604020202020204" pitchFamily="34" charset="0"/>
              </a:rPr>
              <a:t>Άξονες Προτεραιότητας Ειδικού Προγράμματος ΔΑΜ</a:t>
            </a:r>
          </a:p>
        </p:txBody>
      </p:sp>
      <p:cxnSp>
        <p:nvCxnSpPr>
          <p:cNvPr id="10" name="Ευθεία γραμμή σύνδεσης 9">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11" name="Ομάδα 10">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12"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13"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976910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38788A-5F3E-26D2-E4F2-04CCB18CDC89}"/>
            </a:ext>
          </a:extLst>
        </p:cNvPr>
        <p:cNvGrpSpPr/>
        <p:nvPr/>
      </p:nvGrpSpPr>
      <p:grpSpPr>
        <a:xfrm>
          <a:off x="0" y="0"/>
          <a:ext cx="0" cy="0"/>
          <a:chOff x="0" y="0"/>
          <a:chExt cx="0" cy="0"/>
        </a:xfrm>
      </p:grpSpPr>
      <p:graphicFrame>
        <p:nvGraphicFramePr>
          <p:cNvPr id="5" name="Picture Placeholder 4">
            <a:extLst>
              <a:ext uri="{FF2B5EF4-FFF2-40B4-BE49-F238E27FC236}">
                <a16:creationId xmlns:a16="http://schemas.microsoft.com/office/drawing/2014/main" id="{47B8913F-CB3D-13F0-A334-49D3F1F5B536}"/>
              </a:ext>
            </a:extLst>
          </p:cNvPr>
          <p:cNvGraphicFramePr>
            <a:graphicFrameLocks noGrp="1"/>
          </p:cNvGraphicFramePr>
          <p:nvPr>
            <p:ph type="pic" idx="3"/>
          </p:nvPr>
        </p:nvGraphicFramePr>
        <p:xfrm>
          <a:off x="723467" y="1042015"/>
          <a:ext cx="10885718" cy="3780871"/>
        </p:xfrm>
        <a:graphic>
          <a:graphicData uri="http://schemas.openxmlformats.org/drawingml/2006/table">
            <a:tbl>
              <a:tblPr firstRow="1" bandRow="1">
                <a:tableStyleId>{2D5ABB26-0587-4C30-8999-92F81FD0307C}</a:tableStyleId>
              </a:tblPr>
              <a:tblGrid>
                <a:gridCol w="9173163">
                  <a:extLst>
                    <a:ext uri="{9D8B030D-6E8A-4147-A177-3AD203B41FA5}">
                      <a16:colId xmlns:a16="http://schemas.microsoft.com/office/drawing/2014/main" val="132465801"/>
                    </a:ext>
                  </a:extLst>
                </a:gridCol>
                <a:gridCol w="1712555">
                  <a:extLst>
                    <a:ext uri="{9D8B030D-6E8A-4147-A177-3AD203B41FA5}">
                      <a16:colId xmlns:a16="http://schemas.microsoft.com/office/drawing/2014/main" val="2619344112"/>
                    </a:ext>
                  </a:extLst>
                </a:gridCol>
              </a:tblGrid>
              <a:tr h="492331">
                <a:tc>
                  <a:txBody>
                    <a:bodyPr/>
                    <a:lstStyle/>
                    <a:p>
                      <a:pPr marL="0" marR="0">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Οδικές υποδομές</a:t>
                      </a:r>
                    </a:p>
                  </a:txBody>
                  <a:tcPr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2.000.000</a:t>
                      </a:r>
                      <a:r>
                        <a:rPr lang="el-GR" sz="1600" kern="1200" baseline="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8012004"/>
                  </a:ext>
                </a:extLst>
              </a:tr>
              <a:tr h="652272">
                <a:tc>
                  <a:txBody>
                    <a:bodyPr/>
                    <a:lstStyle/>
                    <a:p>
                      <a:pPr marL="0" marR="0">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Προώθηση και ανάπτυξη υποδομών για εναλλακτικές μορφές τουρισμού (</a:t>
                      </a:r>
                      <a:r>
                        <a:rPr lang="el-GR" sz="1600" kern="1200" dirty="0" err="1">
                          <a:solidFill>
                            <a:srgbClr val="0F4E8C"/>
                          </a:solidFill>
                          <a:latin typeface="Arial" panose="020B0604020202020204" pitchFamily="34" charset="0"/>
                          <a:ea typeface="+mn-ea"/>
                          <a:cs typeface="Arial" panose="020B0604020202020204" pitchFamily="34" charset="0"/>
                        </a:rPr>
                        <a:t>health</a:t>
                      </a:r>
                      <a:r>
                        <a:rPr lang="el-GR" sz="1600" kern="1200" dirty="0">
                          <a:solidFill>
                            <a:srgbClr val="0F4E8C"/>
                          </a:solidFill>
                          <a:latin typeface="Arial" panose="020B0604020202020204" pitchFamily="34" charset="0"/>
                          <a:ea typeface="+mn-ea"/>
                          <a:cs typeface="Arial" panose="020B0604020202020204" pitchFamily="34" charset="0"/>
                        </a:rPr>
                        <a:t> &amp; </a:t>
                      </a:r>
                      <a:r>
                        <a:rPr lang="el-GR" sz="1600" kern="1200" dirty="0" err="1">
                          <a:solidFill>
                            <a:srgbClr val="0F4E8C"/>
                          </a:solidFill>
                          <a:latin typeface="Arial" panose="020B0604020202020204" pitchFamily="34" charset="0"/>
                          <a:ea typeface="+mn-ea"/>
                          <a:cs typeface="Arial" panose="020B0604020202020204" pitchFamily="34" charset="0"/>
                        </a:rPr>
                        <a:t>wellness</a:t>
                      </a:r>
                      <a:r>
                        <a:rPr lang="el-GR" sz="1600" kern="1200" dirty="0">
                          <a:solidFill>
                            <a:srgbClr val="0F4E8C"/>
                          </a:solidFill>
                          <a:latin typeface="Arial" panose="020B0604020202020204" pitchFamily="34" charset="0"/>
                          <a:ea typeface="+mn-ea"/>
                          <a:cs typeface="Arial" panose="020B0604020202020204" pitchFamily="34" charset="0"/>
                        </a:rPr>
                        <a:t>, </a:t>
                      </a:r>
                      <a:r>
                        <a:rPr lang="el-GR" sz="1600" kern="1200" dirty="0" err="1">
                          <a:solidFill>
                            <a:srgbClr val="0F4E8C"/>
                          </a:solidFill>
                          <a:latin typeface="Arial" panose="020B0604020202020204" pitchFamily="34" charset="0"/>
                          <a:ea typeface="+mn-ea"/>
                          <a:cs typeface="Arial" panose="020B0604020202020204" pitchFamily="34" charset="0"/>
                        </a:rPr>
                        <a:t>city</a:t>
                      </a:r>
                      <a:r>
                        <a:rPr lang="el-GR" sz="1600" kern="1200" dirty="0">
                          <a:solidFill>
                            <a:srgbClr val="0F4E8C"/>
                          </a:solidFill>
                          <a:latin typeface="Arial" panose="020B0604020202020204" pitchFamily="34" charset="0"/>
                          <a:ea typeface="+mn-ea"/>
                          <a:cs typeface="Arial" panose="020B0604020202020204" pitchFamily="34" charset="0"/>
                        </a:rPr>
                        <a:t> </a:t>
                      </a:r>
                      <a:r>
                        <a:rPr lang="el-GR" sz="1600" kern="1200" dirty="0" err="1">
                          <a:solidFill>
                            <a:srgbClr val="0F4E8C"/>
                          </a:solidFill>
                          <a:latin typeface="Arial" panose="020B0604020202020204" pitchFamily="34" charset="0"/>
                          <a:ea typeface="+mn-ea"/>
                          <a:cs typeface="Arial" panose="020B0604020202020204" pitchFamily="34" charset="0"/>
                        </a:rPr>
                        <a:t>break</a:t>
                      </a:r>
                      <a:r>
                        <a:rPr lang="el-GR" sz="1600" kern="1200" dirty="0">
                          <a:solidFill>
                            <a:srgbClr val="0F4E8C"/>
                          </a:solidFill>
                          <a:latin typeface="Arial" panose="020B0604020202020204" pitchFamily="34" charset="0"/>
                          <a:ea typeface="+mn-ea"/>
                          <a:cs typeface="Arial" panose="020B0604020202020204" pitchFamily="34" charset="0"/>
                        </a:rPr>
                        <a:t>, </a:t>
                      </a:r>
                      <a:r>
                        <a:rPr lang="el-GR" sz="1600" kern="1200" dirty="0" err="1">
                          <a:solidFill>
                            <a:srgbClr val="0F4E8C"/>
                          </a:solidFill>
                          <a:latin typeface="Arial" panose="020B0604020202020204" pitchFamily="34" charset="0"/>
                          <a:ea typeface="+mn-ea"/>
                          <a:cs typeface="Arial" panose="020B0604020202020204" pitchFamily="34" charset="0"/>
                        </a:rPr>
                        <a:t>αγροτουρισμός</a:t>
                      </a:r>
                      <a:r>
                        <a:rPr lang="el-GR" sz="1600" kern="1200" dirty="0">
                          <a:solidFill>
                            <a:srgbClr val="0F4E8C"/>
                          </a:solidFill>
                          <a:latin typeface="Arial" panose="020B0604020202020204" pitchFamily="34" charset="0"/>
                          <a:ea typeface="+mn-ea"/>
                          <a:cs typeface="Arial" panose="020B0604020202020204" pitchFamily="34" charset="0"/>
                        </a:rPr>
                        <a:t>, ορειβατικός τουρισμός κ.λπ.)</a:t>
                      </a:r>
                    </a:p>
                  </a:txBody>
                  <a:tcPr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372.000</a:t>
                      </a:r>
                      <a:r>
                        <a:rPr lang="el-GR" sz="1600" kern="1200" baseline="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7074969"/>
                  </a:ext>
                </a:extLst>
              </a:tr>
              <a:tr h="492331">
                <a:tc>
                  <a:txBody>
                    <a:bodyPr/>
                    <a:lstStyle/>
                    <a:p>
                      <a:pPr marL="0" marR="0">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Προστασία, ανάπτυξη και προβολή της πολιτιστικής κληρονομιάς</a:t>
                      </a:r>
                      <a:endParaRPr lang="en-US" sz="1600" kern="1200" dirty="0">
                        <a:solidFill>
                          <a:srgbClr val="0F4E8C"/>
                        </a:solidFill>
                        <a:latin typeface="Arial" panose="020B0604020202020204" pitchFamily="34" charset="0"/>
                        <a:ea typeface="+mn-ea"/>
                        <a:cs typeface="Arial" panose="020B0604020202020204" pitchFamily="34" charset="0"/>
                      </a:endParaRPr>
                    </a:p>
                  </a:txBody>
                  <a:tcPr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50.000</a:t>
                      </a:r>
                      <a:r>
                        <a:rPr lang="el-GR" sz="1600" kern="1200" baseline="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9038813"/>
                  </a:ext>
                </a:extLst>
              </a:tr>
              <a:tr h="492331">
                <a:tc>
                  <a:txBody>
                    <a:bodyPr/>
                    <a:lstStyle/>
                    <a:p>
                      <a:pPr marL="0" marR="0">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Μουσεία και Πολιτιστικά Κέντρα</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2.460.000</a:t>
                      </a:r>
                      <a:r>
                        <a:rPr lang="el-GR" sz="1600" kern="1200" baseline="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3903392"/>
                  </a:ext>
                </a:extLst>
              </a:tr>
              <a:tr h="492331">
                <a:tc>
                  <a:txBody>
                    <a:bodyPr/>
                    <a:lstStyle/>
                    <a:p>
                      <a:pPr marL="0" marR="0">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Διοικητική Υποστήριξη</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500.000</a:t>
                      </a:r>
                      <a:r>
                        <a:rPr lang="el-GR" sz="1600" kern="1200" baseline="0" dirty="0">
                          <a:solidFill>
                            <a:srgbClr val="0F4E8C"/>
                          </a:solidFill>
                          <a:latin typeface="Arial" panose="020B0604020202020204" pitchFamily="34" charset="0"/>
                          <a:ea typeface="+mn-ea"/>
                          <a:cs typeface="Arial" panose="020B0604020202020204" pitchFamily="34" charset="0"/>
                        </a:rPr>
                        <a:t> </a:t>
                      </a:r>
                      <a:r>
                        <a:rPr lang="el-GR" sz="1600" kern="1200" dirty="0">
                          <a:solidFill>
                            <a:srgbClr val="0F4E8C"/>
                          </a:solidFill>
                          <a:latin typeface="Arial" panose="020B0604020202020204" pitchFamily="34" charset="0"/>
                          <a:ea typeface="+mn-ea"/>
                          <a:cs typeface="Arial" panose="020B0604020202020204" pitchFamily="34" charset="0"/>
                        </a:rPr>
                        <a:t>€</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4753557"/>
                  </a:ext>
                </a:extLst>
              </a:tr>
              <a:tr h="666944">
                <a:tc>
                  <a:txBody>
                    <a:bodyPr/>
                    <a:lstStyle/>
                    <a:p>
                      <a:pPr marL="0" marR="0">
                        <a:lnSpc>
                          <a:spcPct val="115000"/>
                        </a:lnSpc>
                        <a:spcAft>
                          <a:spcPts val="800"/>
                        </a:spcAft>
                        <a:buNone/>
                      </a:pPr>
                      <a:r>
                        <a:rPr lang="el-GR" sz="1600" kern="1200" dirty="0">
                          <a:solidFill>
                            <a:srgbClr val="0F4E8C"/>
                          </a:solidFill>
                          <a:latin typeface="Arial" panose="020B0604020202020204" pitchFamily="34" charset="0"/>
                          <a:ea typeface="+mn-ea"/>
                          <a:cs typeface="Arial" panose="020B0604020202020204" pitchFamily="34" charset="0"/>
                        </a:rPr>
                        <a:t>Τεχνική Βοήθεια</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15000"/>
                        </a:lnSpc>
                        <a:spcBef>
                          <a:spcPts val="0"/>
                        </a:spcBef>
                        <a:spcAft>
                          <a:spcPts val="800"/>
                        </a:spcAft>
                        <a:buClr>
                          <a:srgbClr val="000000"/>
                        </a:buClr>
                        <a:buSzTx/>
                        <a:buFont typeface="Arial"/>
                        <a:buNone/>
                        <a:tabLst/>
                        <a:defRPr/>
                      </a:pPr>
                      <a:r>
                        <a:rPr lang="el-GR" sz="1600" kern="1200" dirty="0">
                          <a:solidFill>
                            <a:srgbClr val="0F4E8C"/>
                          </a:solidFill>
                          <a:latin typeface="Arial" panose="020B0604020202020204" pitchFamily="34" charset="0"/>
                          <a:ea typeface="+mn-ea"/>
                          <a:cs typeface="Arial" panose="020B0604020202020204" pitchFamily="34" charset="0"/>
                        </a:rPr>
                        <a:t>1.867.000 €</a:t>
                      </a:r>
                      <a:endParaRPr lang="en-US" sz="1600"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1597973"/>
                  </a:ext>
                </a:extLst>
              </a:tr>
              <a:tr h="492331">
                <a:tc>
                  <a:txBody>
                    <a:bodyPr/>
                    <a:lstStyle/>
                    <a:p>
                      <a:pPr marL="0" marR="0" algn="ctr">
                        <a:lnSpc>
                          <a:spcPct val="115000"/>
                        </a:lnSpc>
                        <a:spcAft>
                          <a:spcPts val="800"/>
                        </a:spcAft>
                        <a:buNone/>
                      </a:pPr>
                      <a:r>
                        <a:rPr lang="el-GR" sz="2100" b="1" kern="1200" dirty="0">
                          <a:solidFill>
                            <a:srgbClr val="0F4E8C"/>
                          </a:solidFill>
                          <a:latin typeface="Arial" panose="020B0604020202020204" pitchFamily="34" charset="0"/>
                          <a:ea typeface="+mn-ea"/>
                          <a:cs typeface="Arial" panose="020B0604020202020204" pitchFamily="34" charset="0"/>
                        </a:rPr>
                        <a:t>ΣΥΝΟΛΟ</a:t>
                      </a:r>
                      <a:endParaRPr lang="en-US" sz="2100" b="1"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a:noFill/>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15000"/>
                        </a:lnSpc>
                        <a:spcBef>
                          <a:spcPts val="0"/>
                        </a:spcBef>
                        <a:spcAft>
                          <a:spcPts val="800"/>
                        </a:spcAft>
                        <a:buClr>
                          <a:srgbClr val="000000"/>
                        </a:buClr>
                        <a:buSzTx/>
                        <a:buFont typeface="Arial"/>
                        <a:buNone/>
                        <a:tabLst/>
                        <a:defRPr/>
                      </a:pPr>
                      <a:r>
                        <a:rPr lang="el-GR" sz="1900" b="1" kern="1200" dirty="0">
                          <a:solidFill>
                            <a:srgbClr val="0F4E8C"/>
                          </a:solidFill>
                          <a:latin typeface="Arial" panose="020B0604020202020204" pitchFamily="34" charset="0"/>
                          <a:ea typeface="+mn-ea"/>
                          <a:cs typeface="Arial" panose="020B0604020202020204" pitchFamily="34" charset="0"/>
                        </a:rPr>
                        <a:t>186.688.000 €</a:t>
                      </a:r>
                      <a:endParaRPr lang="en-US" sz="1900" b="1" kern="1200" dirty="0">
                        <a:solidFill>
                          <a:srgbClr val="0F4E8C"/>
                        </a:solidFill>
                        <a:latin typeface="Arial" panose="020B0604020202020204" pitchFamily="34" charset="0"/>
                        <a:ea typeface="+mn-ea"/>
                        <a:cs typeface="Arial" panose="020B0604020202020204" pitchFamily="34" charset="0"/>
                      </a:endParaRPr>
                    </a:p>
                  </a:txBody>
                  <a:tcPr marL="68580" marR="68580" marT="0" marB="0" anchor="ctr">
                    <a:lnL w="12700" cap="flat" cmpd="sng" algn="ctr">
                      <a:solidFill>
                        <a:srgbClr val="1F497D"/>
                      </a:solidFill>
                      <a:prstDash val="lgDash"/>
                      <a:round/>
                      <a:headEnd type="none" w="med" len="med"/>
                      <a:tailEnd type="none" w="med" len="med"/>
                    </a:lnL>
                    <a:lnR w="12700" cap="flat" cmpd="sng" algn="ctr">
                      <a:solidFill>
                        <a:srgbClr val="1F497D"/>
                      </a:solidFill>
                      <a:prstDash val="lgDash"/>
                      <a:round/>
                      <a:headEnd type="none" w="med" len="med"/>
                      <a:tailEnd type="none" w="med" len="med"/>
                    </a:lnR>
                    <a:lnT w="12700" cap="flat" cmpd="sng" algn="ctr">
                      <a:solidFill>
                        <a:srgbClr val="1F497D"/>
                      </a:solidFill>
                      <a:prstDash val="lgDash"/>
                      <a:round/>
                      <a:headEnd type="none" w="med" len="med"/>
                      <a:tailEnd type="none" w="med" len="med"/>
                    </a:lnT>
                    <a:lnB w="12700" cap="flat" cmpd="sng" algn="ctr">
                      <a:solidFill>
                        <a:srgbClr val="1F497D"/>
                      </a:solidFill>
                      <a:prstDash val="lgDash"/>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63976462"/>
                  </a:ext>
                </a:extLst>
              </a:tr>
            </a:tbl>
          </a:graphicData>
        </a:graphic>
      </p:graphicFrame>
      <p:sp>
        <p:nvSpPr>
          <p:cNvPr id="8"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8963377" cy="795145"/>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Arial" panose="020B0604020202020204" pitchFamily="34" charset="0"/>
                <a:ea typeface="Urbanist" panose="020B0604020202020204" charset="0"/>
                <a:cs typeface="Arial" panose="020B0604020202020204" pitchFamily="34" charset="0"/>
              </a:rPr>
              <a:t>Άξονες Προτεραιότητας Ειδικού Προγράμματος ΔΑΜ </a:t>
            </a:r>
          </a:p>
        </p:txBody>
      </p:sp>
      <p:cxnSp>
        <p:nvCxnSpPr>
          <p:cNvPr id="9" name="Ευθεία γραμμή σύνδεσης 8">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10" name="Ομάδα 9">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11"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12"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90054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F666D-0ADF-D06D-FEA3-35F79BCB0775}"/>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D2A40DD3-6273-D812-E063-F6A00E93487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224" name="think-cell Slide" r:id="rId4" imgW="350" imgH="350" progId="TCLayout.ActiveDocument.1">
                  <p:embed/>
                </p:oleObj>
              </mc:Choice>
              <mc:Fallback>
                <p:oleObj name="think-cell Slide" r:id="rId4" imgW="350" imgH="350" progId="TCLayout.ActiveDocument.1">
                  <p:embed/>
                  <p:pic>
                    <p:nvPicPr>
                      <p:cNvPr id="20" name="think-cell data - do not delete" hidden="1">
                        <a:extLst>
                          <a:ext uri="{FF2B5EF4-FFF2-40B4-BE49-F238E27FC236}">
                            <a16:creationId xmlns:a16="http://schemas.microsoft.com/office/drawing/2014/main" id="{D2A40DD3-6273-D812-E063-F6A00E93487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9" name="Google Shape;490;p30">
            <a:extLst>
              <a:ext uri="{FF2B5EF4-FFF2-40B4-BE49-F238E27FC236}">
                <a16:creationId xmlns:a16="http://schemas.microsoft.com/office/drawing/2014/main" id="{83158652-855E-C9BC-3451-D10E72FC1207}"/>
              </a:ext>
            </a:extLst>
          </p:cNvPr>
          <p:cNvSpPr/>
          <p:nvPr/>
        </p:nvSpPr>
        <p:spPr>
          <a:xfrm>
            <a:off x="893490" y="905806"/>
            <a:ext cx="10853620" cy="1302863"/>
          </a:xfrm>
          <a:custGeom>
            <a:avLst/>
            <a:gdLst/>
            <a:ahLst/>
            <a:cxnLst/>
            <a:rect l="l" t="t" r="r" b="b"/>
            <a:pathLst>
              <a:path w="3182683" h="845438" extrusionOk="0">
                <a:moveTo>
                  <a:pt x="3182684" y="163830"/>
                </a:moveTo>
                <a:lnTo>
                  <a:pt x="3182684" y="681609"/>
                </a:lnTo>
                <a:cubicBezTo>
                  <a:pt x="3182684" y="772097"/>
                  <a:pt x="3129058" y="845439"/>
                  <a:pt x="3062954" y="845439"/>
                </a:cubicBezTo>
                <a:lnTo>
                  <a:pt x="119729" y="845439"/>
                </a:lnTo>
                <a:cubicBezTo>
                  <a:pt x="53626" y="845439"/>
                  <a:pt x="0" y="772097"/>
                  <a:pt x="0" y="681609"/>
                </a:cubicBezTo>
                <a:lnTo>
                  <a:pt x="0" y="163830"/>
                </a:lnTo>
                <a:cubicBezTo>
                  <a:pt x="0" y="73438"/>
                  <a:pt x="53626" y="0"/>
                  <a:pt x="119729" y="0"/>
                </a:cubicBezTo>
                <a:lnTo>
                  <a:pt x="3062954" y="0"/>
                </a:lnTo>
                <a:cubicBezTo>
                  <a:pt x="3129058" y="0"/>
                  <a:pt x="3182684" y="73438"/>
                  <a:pt x="3182684" y="163830"/>
                </a:cubicBezTo>
                <a:close/>
              </a:path>
            </a:pathLst>
          </a:custGeom>
          <a:solidFill>
            <a:schemeClr val="accent5">
              <a:lumMod val="95000"/>
            </a:schemeClr>
          </a:solid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buClrTx/>
              <a:defRPr/>
            </a:pPr>
            <a:r>
              <a:rPr lang="el-GR" sz="2400" b="1" dirty="0">
                <a:solidFill>
                  <a:srgbClr val="005E88"/>
                </a:solidFill>
                <a:latin typeface="Arial" panose="020B0604020202020204" pitchFamily="34" charset="0"/>
                <a:ea typeface="Urbanist" panose="020B0604020202020204" charset="0"/>
                <a:cs typeface="Arial" panose="020B0604020202020204" pitchFamily="34" charset="0"/>
                <a:sym typeface="Calibri"/>
              </a:rPr>
              <a:t>    </a:t>
            </a:r>
            <a:r>
              <a:rPr lang="el-GR" sz="2400" b="1" dirty="0">
                <a:solidFill>
                  <a:schemeClr val="bg1"/>
                </a:solidFill>
                <a:latin typeface="Arial" panose="020B0604020202020204" pitchFamily="34" charset="0"/>
                <a:ea typeface="Urbanist" panose="020B0604020202020204" charset="0"/>
                <a:cs typeface="Arial" panose="020B0604020202020204" pitchFamily="34" charset="0"/>
                <a:sym typeface="Calibri"/>
              </a:rPr>
              <a:t>15 έργα </a:t>
            </a:r>
            <a:r>
              <a:rPr lang="el-GR" sz="2400" dirty="0">
                <a:solidFill>
                  <a:schemeClr val="bg1"/>
                </a:solidFill>
                <a:latin typeface="Arial" panose="020B0604020202020204" pitchFamily="34" charset="0"/>
                <a:ea typeface="Urbanist" panose="020B0604020202020204" charset="0"/>
                <a:cs typeface="Arial" panose="020B0604020202020204" pitchFamily="34" charset="0"/>
                <a:sym typeface="Calibri"/>
              </a:rPr>
              <a:t>της Περιφέρειας Δυτικής Μακεδονίας </a:t>
            </a:r>
          </a:p>
          <a:p>
            <a:pPr lvl="0" algn="ctr">
              <a:buClrTx/>
              <a:defRPr/>
            </a:pPr>
            <a:r>
              <a:rPr lang="el-GR" sz="2400" dirty="0">
                <a:solidFill>
                  <a:schemeClr val="bg1"/>
                </a:solidFill>
                <a:latin typeface="Arial" panose="020B0604020202020204" pitchFamily="34" charset="0"/>
                <a:ea typeface="Urbanist" panose="020B0604020202020204" charset="0"/>
                <a:cs typeface="Arial" panose="020B0604020202020204" pitchFamily="34" charset="0"/>
                <a:sym typeface="Calibri"/>
              </a:rPr>
              <a:t>με χρηματοδότηση από Ευρωπαϊκή Τράπεζα Επενδύσεων &amp; Ευρωπαϊκή Επιτροπή / </a:t>
            </a:r>
            <a:r>
              <a:rPr lang="en-US" sz="2400" dirty="0">
                <a:solidFill>
                  <a:schemeClr val="bg1"/>
                </a:solidFill>
                <a:latin typeface="Arial" panose="020B0604020202020204" pitchFamily="34" charset="0"/>
                <a:ea typeface="Urbanist" panose="020B0604020202020204" charset="0"/>
                <a:cs typeface="Arial" panose="020B0604020202020204" pitchFamily="34" charset="0"/>
                <a:sym typeface="Calibri"/>
              </a:rPr>
              <a:t>CINEA </a:t>
            </a:r>
            <a:endParaRPr lang="el-GR" sz="2400" dirty="0">
              <a:solidFill>
                <a:schemeClr val="bg1"/>
              </a:solidFill>
              <a:latin typeface="Arial" panose="020B0604020202020204" pitchFamily="34" charset="0"/>
              <a:ea typeface="Urbanist" panose="020B0604020202020204" charset="0"/>
              <a:cs typeface="Arial" panose="020B0604020202020204" pitchFamily="34" charset="0"/>
              <a:sym typeface="Calibri"/>
            </a:endParaRPr>
          </a:p>
        </p:txBody>
      </p:sp>
      <p:sp>
        <p:nvSpPr>
          <p:cNvPr id="10" name="Google Shape;494;p30">
            <a:extLst>
              <a:ext uri="{FF2B5EF4-FFF2-40B4-BE49-F238E27FC236}">
                <a16:creationId xmlns:a16="http://schemas.microsoft.com/office/drawing/2014/main" id="{25145A59-3ABD-9127-FD9A-3D3EC6B83A3C}"/>
              </a:ext>
            </a:extLst>
          </p:cNvPr>
          <p:cNvSpPr/>
          <p:nvPr/>
        </p:nvSpPr>
        <p:spPr>
          <a:xfrm>
            <a:off x="332347" y="905805"/>
            <a:ext cx="748800" cy="748800"/>
          </a:xfrm>
          <a:prstGeom prst="roundRect">
            <a:avLst>
              <a:gd name="adj" fmla="val 9727"/>
            </a:avLst>
          </a:prstGeom>
          <a:solidFill>
            <a:srgbClr val="F4B183"/>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1219140">
              <a:defRPr/>
            </a:pPr>
            <a:endParaRPr sz="2400">
              <a:latin typeface="+mn-lt"/>
              <a:ea typeface="Montserrat Medium"/>
              <a:cs typeface="Montserrat Medium"/>
              <a:sym typeface="Montserrat Medium"/>
            </a:endParaRPr>
          </a:p>
        </p:txBody>
      </p:sp>
      <p:sp>
        <p:nvSpPr>
          <p:cNvPr id="12" name="Ορθογώνιο 11">
            <a:extLst>
              <a:ext uri="{FF2B5EF4-FFF2-40B4-BE49-F238E27FC236}">
                <a16:creationId xmlns:a16="http://schemas.microsoft.com/office/drawing/2014/main" id="{7823AB4F-FC82-14AA-4325-3A96E5EAAC89}"/>
              </a:ext>
            </a:extLst>
          </p:cNvPr>
          <p:cNvSpPr/>
          <p:nvPr/>
        </p:nvSpPr>
        <p:spPr>
          <a:xfrm>
            <a:off x="4276214" y="2208668"/>
            <a:ext cx="2204023" cy="461665"/>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Bef>
                <a:spcPts val="800"/>
              </a:spcBef>
              <a:buClr>
                <a:srgbClr val="78B5B6"/>
              </a:buClr>
            </a:pPr>
            <a:r>
              <a:rPr lang="el-GR" sz="2400" b="1" dirty="0">
                <a:solidFill>
                  <a:srgbClr val="2D4F8B"/>
                </a:solidFill>
                <a:latin typeface="Arial" panose="020B0604020202020204" pitchFamily="34" charset="0"/>
                <a:ea typeface="Urbanist" panose="020B0604020202020204" charset="0"/>
                <a:cs typeface="Arial" panose="020B0604020202020204" pitchFamily="34" charset="0"/>
              </a:rPr>
              <a:t>Π/Υ: </a:t>
            </a:r>
            <a:r>
              <a:rPr lang="el-GR" sz="2400" b="1" dirty="0">
                <a:solidFill>
                  <a:srgbClr val="F4B183"/>
                </a:solidFill>
                <a:latin typeface="Arial" panose="020B0604020202020204" pitchFamily="34" charset="0"/>
                <a:ea typeface="Urbanist" panose="020B0604020202020204" charset="0"/>
                <a:cs typeface="Arial" panose="020B0604020202020204" pitchFamily="34" charset="0"/>
              </a:rPr>
              <a:t>80,7 εκ.€</a:t>
            </a:r>
          </a:p>
        </p:txBody>
      </p:sp>
      <p:grpSp>
        <p:nvGrpSpPr>
          <p:cNvPr id="14" name="Google Shape;771;p72">
            <a:extLst>
              <a:ext uri="{FF2B5EF4-FFF2-40B4-BE49-F238E27FC236}">
                <a16:creationId xmlns:a16="http://schemas.microsoft.com/office/drawing/2014/main" id="{6824F0C5-D88F-6E52-EC50-B5E6FA7C6700}"/>
              </a:ext>
            </a:extLst>
          </p:cNvPr>
          <p:cNvGrpSpPr/>
          <p:nvPr/>
        </p:nvGrpSpPr>
        <p:grpSpPr>
          <a:xfrm>
            <a:off x="438185" y="994868"/>
            <a:ext cx="537127" cy="550848"/>
            <a:chOff x="1190625" y="238125"/>
            <a:chExt cx="5219200" cy="5219200"/>
          </a:xfrm>
          <a:solidFill>
            <a:srgbClr val="1F497D"/>
          </a:solidFill>
        </p:grpSpPr>
        <p:sp>
          <p:nvSpPr>
            <p:cNvPr id="16" name="Google Shape;772;p72">
              <a:extLst>
                <a:ext uri="{FF2B5EF4-FFF2-40B4-BE49-F238E27FC236}">
                  <a16:creationId xmlns:a16="http://schemas.microsoft.com/office/drawing/2014/main" id="{87B7056B-225C-0135-5542-F42848FBDC63}"/>
                </a:ext>
              </a:extLst>
            </p:cNvPr>
            <p:cNvSpPr/>
            <p:nvPr/>
          </p:nvSpPr>
          <p:spPr>
            <a:xfrm>
              <a:off x="2623450" y="1695400"/>
              <a:ext cx="2032225" cy="2213275"/>
            </a:xfrm>
            <a:custGeom>
              <a:avLst/>
              <a:gdLst/>
              <a:ahLst/>
              <a:cxnLst/>
              <a:rect l="l" t="t" r="r" b="b"/>
              <a:pathLst>
                <a:path w="81289" h="88531" extrusionOk="0">
                  <a:moveTo>
                    <a:pt x="56074" y="1"/>
                  </a:moveTo>
                  <a:cubicBezTo>
                    <a:pt x="36241" y="1"/>
                    <a:pt x="19409" y="13147"/>
                    <a:pt x="13798" y="31153"/>
                  </a:cubicBezTo>
                  <a:lnTo>
                    <a:pt x="6100" y="31153"/>
                  </a:lnTo>
                  <a:cubicBezTo>
                    <a:pt x="2740" y="31153"/>
                    <a:pt x="0" y="33893"/>
                    <a:pt x="0" y="37285"/>
                  </a:cubicBezTo>
                  <a:cubicBezTo>
                    <a:pt x="0" y="40645"/>
                    <a:pt x="2740" y="43385"/>
                    <a:pt x="6100" y="43385"/>
                  </a:cubicBezTo>
                  <a:lnTo>
                    <a:pt x="11808" y="43385"/>
                  </a:lnTo>
                  <a:cubicBezTo>
                    <a:pt x="11808" y="43679"/>
                    <a:pt x="11808" y="43972"/>
                    <a:pt x="11808" y="44266"/>
                  </a:cubicBezTo>
                  <a:cubicBezTo>
                    <a:pt x="11808" y="45799"/>
                    <a:pt x="11874" y="47300"/>
                    <a:pt x="12037" y="48800"/>
                  </a:cubicBezTo>
                  <a:lnTo>
                    <a:pt x="6100" y="48800"/>
                  </a:lnTo>
                  <a:cubicBezTo>
                    <a:pt x="2740" y="48800"/>
                    <a:pt x="0" y="51540"/>
                    <a:pt x="0" y="54900"/>
                  </a:cubicBezTo>
                  <a:cubicBezTo>
                    <a:pt x="0" y="58292"/>
                    <a:pt x="2740" y="61032"/>
                    <a:pt x="6100" y="61032"/>
                  </a:cubicBezTo>
                  <a:lnTo>
                    <a:pt x="15103" y="61032"/>
                  </a:lnTo>
                  <a:cubicBezTo>
                    <a:pt x="21725" y="77147"/>
                    <a:pt x="37578" y="88531"/>
                    <a:pt x="56074" y="88531"/>
                  </a:cubicBezTo>
                  <a:cubicBezTo>
                    <a:pt x="63478" y="88531"/>
                    <a:pt x="70785" y="86672"/>
                    <a:pt x="77244" y="83181"/>
                  </a:cubicBezTo>
                  <a:cubicBezTo>
                    <a:pt x="80212" y="81550"/>
                    <a:pt x="81289" y="77832"/>
                    <a:pt x="79690" y="74863"/>
                  </a:cubicBezTo>
                  <a:cubicBezTo>
                    <a:pt x="78570" y="72824"/>
                    <a:pt x="76465" y="71678"/>
                    <a:pt x="74294" y="71678"/>
                  </a:cubicBezTo>
                  <a:cubicBezTo>
                    <a:pt x="73305" y="71678"/>
                    <a:pt x="72302" y="71916"/>
                    <a:pt x="71372" y="72417"/>
                  </a:cubicBezTo>
                  <a:cubicBezTo>
                    <a:pt x="66708" y="74961"/>
                    <a:pt x="61423" y="76299"/>
                    <a:pt x="56074" y="76299"/>
                  </a:cubicBezTo>
                  <a:cubicBezTo>
                    <a:pt x="44559" y="76299"/>
                    <a:pt x="34414" y="70199"/>
                    <a:pt x="28771" y="61032"/>
                  </a:cubicBezTo>
                  <a:lnTo>
                    <a:pt x="55715" y="61032"/>
                  </a:lnTo>
                  <a:cubicBezTo>
                    <a:pt x="59107" y="61032"/>
                    <a:pt x="61847" y="58292"/>
                    <a:pt x="61847" y="54900"/>
                  </a:cubicBezTo>
                  <a:cubicBezTo>
                    <a:pt x="61847" y="51540"/>
                    <a:pt x="59107" y="48800"/>
                    <a:pt x="55715" y="48800"/>
                  </a:cubicBezTo>
                  <a:lnTo>
                    <a:pt x="24367" y="48800"/>
                  </a:lnTo>
                  <a:cubicBezTo>
                    <a:pt x="24171" y="47332"/>
                    <a:pt x="24041" y="45799"/>
                    <a:pt x="24041" y="44266"/>
                  </a:cubicBezTo>
                  <a:cubicBezTo>
                    <a:pt x="24041" y="43972"/>
                    <a:pt x="24074" y="43679"/>
                    <a:pt x="24074" y="43385"/>
                  </a:cubicBezTo>
                  <a:lnTo>
                    <a:pt x="55715" y="43385"/>
                  </a:lnTo>
                  <a:cubicBezTo>
                    <a:pt x="59107" y="43385"/>
                    <a:pt x="61847" y="40645"/>
                    <a:pt x="61847" y="37285"/>
                  </a:cubicBezTo>
                  <a:cubicBezTo>
                    <a:pt x="61847" y="33893"/>
                    <a:pt x="59107" y="31153"/>
                    <a:pt x="55715" y="31153"/>
                  </a:cubicBezTo>
                  <a:lnTo>
                    <a:pt x="26879" y="31153"/>
                  </a:lnTo>
                  <a:cubicBezTo>
                    <a:pt x="31902" y="20029"/>
                    <a:pt x="43091" y="12233"/>
                    <a:pt x="56074" y="12233"/>
                  </a:cubicBezTo>
                  <a:cubicBezTo>
                    <a:pt x="61325" y="12233"/>
                    <a:pt x="66316" y="13473"/>
                    <a:pt x="70916" y="15887"/>
                  </a:cubicBezTo>
                  <a:cubicBezTo>
                    <a:pt x="71820" y="16358"/>
                    <a:pt x="72787" y="16581"/>
                    <a:pt x="73739" y="16581"/>
                  </a:cubicBezTo>
                  <a:cubicBezTo>
                    <a:pt x="75946" y="16581"/>
                    <a:pt x="78075" y="15383"/>
                    <a:pt x="79169" y="13310"/>
                  </a:cubicBezTo>
                  <a:cubicBezTo>
                    <a:pt x="80734" y="10309"/>
                    <a:pt x="79593" y="6623"/>
                    <a:pt x="76592" y="5057"/>
                  </a:cubicBezTo>
                  <a:cubicBezTo>
                    <a:pt x="70296" y="1762"/>
                    <a:pt x="63217" y="1"/>
                    <a:pt x="56074" y="1"/>
                  </a:cubicBezTo>
                  <a:close/>
                </a:path>
              </a:pathLst>
            </a:cu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sp>
          <p:nvSpPr>
            <p:cNvPr id="21" name="Google Shape;773;p72">
              <a:extLst>
                <a:ext uri="{FF2B5EF4-FFF2-40B4-BE49-F238E27FC236}">
                  <a16:creationId xmlns:a16="http://schemas.microsoft.com/office/drawing/2014/main" id="{D1273649-75E5-81ED-38C2-B3F68EE52481}"/>
                </a:ext>
              </a:extLst>
            </p:cNvPr>
            <p:cNvSpPr/>
            <p:nvPr/>
          </p:nvSpPr>
          <p:spPr>
            <a:xfrm>
              <a:off x="1190625" y="238125"/>
              <a:ext cx="5219200" cy="5219200"/>
            </a:xfrm>
            <a:custGeom>
              <a:avLst/>
              <a:gdLst/>
              <a:ahLst/>
              <a:cxnLst/>
              <a:rect l="l" t="t" r="r" b="b"/>
              <a:pathLst>
                <a:path w="208768" h="208768" extrusionOk="0">
                  <a:moveTo>
                    <a:pt x="104384" y="12232"/>
                  </a:moveTo>
                  <a:cubicBezTo>
                    <a:pt x="155205" y="12232"/>
                    <a:pt x="196535" y="53562"/>
                    <a:pt x="196535" y="104384"/>
                  </a:cubicBezTo>
                  <a:cubicBezTo>
                    <a:pt x="196535" y="155205"/>
                    <a:pt x="155205" y="196535"/>
                    <a:pt x="104384" y="196535"/>
                  </a:cubicBezTo>
                  <a:cubicBezTo>
                    <a:pt x="53562" y="196535"/>
                    <a:pt x="12232" y="155205"/>
                    <a:pt x="12232" y="104384"/>
                  </a:cubicBezTo>
                  <a:cubicBezTo>
                    <a:pt x="12232" y="53562"/>
                    <a:pt x="53562" y="12232"/>
                    <a:pt x="104384" y="12232"/>
                  </a:cubicBezTo>
                  <a:close/>
                  <a:moveTo>
                    <a:pt x="104384" y="0"/>
                  </a:moveTo>
                  <a:cubicBezTo>
                    <a:pt x="76494" y="0"/>
                    <a:pt x="50300" y="10862"/>
                    <a:pt x="30565" y="30565"/>
                  </a:cubicBezTo>
                  <a:cubicBezTo>
                    <a:pt x="10862" y="50300"/>
                    <a:pt x="0" y="76494"/>
                    <a:pt x="0" y="104384"/>
                  </a:cubicBezTo>
                  <a:cubicBezTo>
                    <a:pt x="0" y="132274"/>
                    <a:pt x="10862" y="158467"/>
                    <a:pt x="30565" y="178202"/>
                  </a:cubicBezTo>
                  <a:cubicBezTo>
                    <a:pt x="50300" y="197905"/>
                    <a:pt x="76494" y="208767"/>
                    <a:pt x="104384" y="208767"/>
                  </a:cubicBezTo>
                  <a:cubicBezTo>
                    <a:pt x="132274" y="208767"/>
                    <a:pt x="158467" y="197905"/>
                    <a:pt x="178202" y="178202"/>
                  </a:cubicBezTo>
                  <a:cubicBezTo>
                    <a:pt x="197905" y="158467"/>
                    <a:pt x="208767" y="132274"/>
                    <a:pt x="208767" y="104384"/>
                  </a:cubicBezTo>
                  <a:cubicBezTo>
                    <a:pt x="208767" y="76494"/>
                    <a:pt x="197905" y="50300"/>
                    <a:pt x="178202" y="30565"/>
                  </a:cubicBezTo>
                  <a:cubicBezTo>
                    <a:pt x="158467" y="10862"/>
                    <a:pt x="132274" y="0"/>
                    <a:pt x="104384" y="0"/>
                  </a:cubicBezTo>
                  <a:close/>
                </a:path>
              </a:pathLst>
            </a:cu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sp>
          <p:nvSpPr>
            <p:cNvPr id="22" name="Google Shape;774;p72">
              <a:extLst>
                <a:ext uri="{FF2B5EF4-FFF2-40B4-BE49-F238E27FC236}">
                  <a16:creationId xmlns:a16="http://schemas.microsoft.com/office/drawing/2014/main" id="{FC8A46B6-7CA0-BC38-1B13-716FC6287D27}"/>
                </a:ext>
              </a:extLst>
            </p:cNvPr>
            <p:cNvSpPr/>
            <p:nvPr/>
          </p:nvSpPr>
          <p:spPr>
            <a:xfrm>
              <a:off x="1800600" y="848100"/>
              <a:ext cx="3999225" cy="3999225"/>
            </a:xfrm>
            <a:custGeom>
              <a:avLst/>
              <a:gdLst/>
              <a:ahLst/>
              <a:cxnLst/>
              <a:rect l="l" t="t" r="r" b="b"/>
              <a:pathLst>
                <a:path w="159969" h="159969" extrusionOk="0">
                  <a:moveTo>
                    <a:pt x="79985" y="12233"/>
                  </a:moveTo>
                  <a:cubicBezTo>
                    <a:pt x="117334" y="12233"/>
                    <a:pt x="147736" y="42635"/>
                    <a:pt x="147736" y="79985"/>
                  </a:cubicBezTo>
                  <a:cubicBezTo>
                    <a:pt x="147736" y="117334"/>
                    <a:pt x="117334" y="147736"/>
                    <a:pt x="79985" y="147736"/>
                  </a:cubicBezTo>
                  <a:cubicBezTo>
                    <a:pt x="42635" y="147736"/>
                    <a:pt x="12233" y="117334"/>
                    <a:pt x="12233" y="79985"/>
                  </a:cubicBezTo>
                  <a:cubicBezTo>
                    <a:pt x="12233" y="42635"/>
                    <a:pt x="42635" y="12233"/>
                    <a:pt x="79985" y="12233"/>
                  </a:cubicBezTo>
                  <a:close/>
                  <a:moveTo>
                    <a:pt x="79985" y="1"/>
                  </a:moveTo>
                  <a:cubicBezTo>
                    <a:pt x="35883" y="1"/>
                    <a:pt x="1" y="35883"/>
                    <a:pt x="1" y="79985"/>
                  </a:cubicBezTo>
                  <a:cubicBezTo>
                    <a:pt x="1" y="124087"/>
                    <a:pt x="35883" y="159968"/>
                    <a:pt x="79985" y="159968"/>
                  </a:cubicBezTo>
                  <a:cubicBezTo>
                    <a:pt x="124087" y="159968"/>
                    <a:pt x="159968" y="124087"/>
                    <a:pt x="159968" y="79985"/>
                  </a:cubicBezTo>
                  <a:cubicBezTo>
                    <a:pt x="159968" y="35883"/>
                    <a:pt x="124087" y="1"/>
                    <a:pt x="79985" y="1"/>
                  </a:cubicBezTo>
                  <a:close/>
                </a:path>
              </a:pathLst>
            </a:cu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sp>
          <p:nvSpPr>
            <p:cNvPr id="23" name="Google Shape;775;p72">
              <a:extLst>
                <a:ext uri="{FF2B5EF4-FFF2-40B4-BE49-F238E27FC236}">
                  <a16:creationId xmlns:a16="http://schemas.microsoft.com/office/drawing/2014/main" id="{EC42FF3E-8954-330F-FFED-9028B1F123CD}"/>
                </a:ext>
              </a:extLst>
            </p:cNvPr>
            <p:cNvSpPr/>
            <p:nvPr/>
          </p:nvSpPr>
          <p:spPr>
            <a:xfrm>
              <a:off x="5250150" y="1651375"/>
              <a:ext cx="40000" cy="31000"/>
            </a:xfrm>
            <a:custGeom>
              <a:avLst/>
              <a:gdLst/>
              <a:ahLst/>
              <a:cxnLst/>
              <a:rect l="l" t="t" r="r" b="b"/>
              <a:pathLst>
                <a:path w="1600" h="1240" extrusionOk="0">
                  <a:moveTo>
                    <a:pt x="816" y="0"/>
                  </a:moveTo>
                  <a:cubicBezTo>
                    <a:pt x="1" y="0"/>
                    <a:pt x="1" y="1240"/>
                    <a:pt x="816" y="1240"/>
                  </a:cubicBezTo>
                  <a:cubicBezTo>
                    <a:pt x="1599" y="1240"/>
                    <a:pt x="1599" y="0"/>
                    <a:pt x="816" y="0"/>
                  </a:cubicBezTo>
                  <a:close/>
                </a:path>
              </a:pathLst>
            </a:cu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grpSp>
      <p:pic>
        <p:nvPicPr>
          <p:cNvPr id="26" name="Εικόνα 25">
            <a:extLst>
              <a:ext uri="{FF2B5EF4-FFF2-40B4-BE49-F238E27FC236}">
                <a16:creationId xmlns:a16="http://schemas.microsoft.com/office/drawing/2014/main" id="{14AC0239-3444-F808-74DB-A22634D9E0A9}"/>
              </a:ext>
            </a:extLst>
          </p:cNvPr>
          <p:cNvPicPr>
            <a:picLocks noChangeAspect="1"/>
          </p:cNvPicPr>
          <p:nvPr/>
        </p:nvPicPr>
        <p:blipFill>
          <a:blip r:embed="rId6"/>
          <a:stretch>
            <a:fillRect/>
          </a:stretch>
        </p:blipFill>
        <p:spPr>
          <a:xfrm>
            <a:off x="1536570" y="2711435"/>
            <a:ext cx="8501869" cy="3822547"/>
          </a:xfrm>
          <a:prstGeom prst="rect">
            <a:avLst/>
          </a:prstGeom>
        </p:spPr>
      </p:pic>
      <p:sp>
        <p:nvSpPr>
          <p:cNvPr id="17"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8963377" cy="795145"/>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Arial" panose="020B0604020202020204" pitchFamily="34" charset="0"/>
                <a:ea typeface="Urbanist" panose="020B0604020202020204" charset="0"/>
                <a:cs typeface="Arial" panose="020B0604020202020204" pitchFamily="34" charset="0"/>
              </a:rPr>
              <a:t>Εγκεκριμένη Δανειακή Σύμβαση Δυτικής Μακεδονίας</a:t>
            </a:r>
          </a:p>
        </p:txBody>
      </p:sp>
      <p:cxnSp>
        <p:nvCxnSpPr>
          <p:cNvPr id="18" name="Ευθεία γραμμή σύνδεσης 17">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19" name="Ομάδα 18">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25"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27"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729672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3F740-D9FA-81F3-62CB-00323287482B}"/>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FB60F770-D123-DEC8-465E-9A124791F55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48" name="think-cell Slide" r:id="rId4" imgW="350" imgH="350" progId="TCLayout.ActiveDocument.1">
                  <p:embed/>
                </p:oleObj>
              </mc:Choice>
              <mc:Fallback>
                <p:oleObj name="think-cell Slide" r:id="rId4" imgW="350" imgH="350" progId="TCLayout.ActiveDocument.1">
                  <p:embed/>
                  <p:pic>
                    <p:nvPicPr>
                      <p:cNvPr id="20" name="think-cell data - do not delete" hidden="1">
                        <a:extLst>
                          <a:ext uri="{FF2B5EF4-FFF2-40B4-BE49-F238E27FC236}">
                            <a16:creationId xmlns:a16="http://schemas.microsoft.com/office/drawing/2014/main" id="{FB60F770-D123-DEC8-465E-9A124791F55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9" name="Google Shape;490;p30">
            <a:extLst>
              <a:ext uri="{FF2B5EF4-FFF2-40B4-BE49-F238E27FC236}">
                <a16:creationId xmlns:a16="http://schemas.microsoft.com/office/drawing/2014/main" id="{0EA97C0F-5D4E-C7F6-2822-39F529B6C060}"/>
              </a:ext>
            </a:extLst>
          </p:cNvPr>
          <p:cNvSpPr/>
          <p:nvPr/>
        </p:nvSpPr>
        <p:spPr>
          <a:xfrm>
            <a:off x="2770095" y="1063521"/>
            <a:ext cx="7062349" cy="1591755"/>
          </a:xfrm>
          <a:custGeom>
            <a:avLst/>
            <a:gdLst/>
            <a:ahLst/>
            <a:cxnLst/>
            <a:rect l="l" t="t" r="r" b="b"/>
            <a:pathLst>
              <a:path w="3182683" h="845438" extrusionOk="0">
                <a:moveTo>
                  <a:pt x="3182684" y="163830"/>
                </a:moveTo>
                <a:lnTo>
                  <a:pt x="3182684" y="681609"/>
                </a:lnTo>
                <a:cubicBezTo>
                  <a:pt x="3182684" y="772097"/>
                  <a:pt x="3129058" y="845439"/>
                  <a:pt x="3062954" y="845439"/>
                </a:cubicBezTo>
                <a:lnTo>
                  <a:pt x="119729" y="845439"/>
                </a:lnTo>
                <a:cubicBezTo>
                  <a:pt x="53626" y="845439"/>
                  <a:pt x="0" y="772097"/>
                  <a:pt x="0" y="681609"/>
                </a:cubicBezTo>
                <a:lnTo>
                  <a:pt x="0" y="163830"/>
                </a:lnTo>
                <a:cubicBezTo>
                  <a:pt x="0" y="73438"/>
                  <a:pt x="53626" y="0"/>
                  <a:pt x="119729" y="0"/>
                </a:cubicBezTo>
                <a:lnTo>
                  <a:pt x="3062954" y="0"/>
                </a:lnTo>
                <a:cubicBezTo>
                  <a:pt x="3129058" y="0"/>
                  <a:pt x="3182684" y="73438"/>
                  <a:pt x="3182684" y="163830"/>
                </a:cubicBezTo>
                <a:close/>
              </a:path>
            </a:pathLst>
          </a:custGeom>
          <a:solidFill>
            <a:schemeClr val="tx2">
              <a:lumMod val="20000"/>
              <a:lumOff val="80000"/>
            </a:schemeClr>
          </a:solid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buClrTx/>
              <a:defRPr/>
            </a:pPr>
            <a:r>
              <a:rPr lang="el-GR" sz="2400" dirty="0">
                <a:solidFill>
                  <a:srgbClr val="005E88"/>
                </a:solidFill>
                <a:latin typeface="Arial" panose="020B0604020202020204" pitchFamily="34" charset="0"/>
                <a:ea typeface="Urbanist" panose="020B0604020202020204" charset="0"/>
                <a:cs typeface="Arial" panose="020B0604020202020204" pitchFamily="34" charset="0"/>
                <a:sym typeface="Calibri"/>
              </a:rPr>
              <a:t>    Υπό διαμόρφωση σε συνεργασία με την Ευρωπαϊκή Τράπεζα Επενδύσεων </a:t>
            </a:r>
          </a:p>
          <a:p>
            <a:pPr lvl="0" algn="ctr">
              <a:buClrTx/>
              <a:defRPr/>
            </a:pPr>
            <a:r>
              <a:rPr lang="el-GR" sz="2400" dirty="0">
                <a:solidFill>
                  <a:srgbClr val="005E88"/>
                </a:solidFill>
                <a:latin typeface="Arial" panose="020B0604020202020204" pitchFamily="34" charset="0"/>
                <a:ea typeface="Urbanist" panose="020B0604020202020204" charset="0"/>
                <a:cs typeface="Arial" panose="020B0604020202020204" pitchFamily="34" charset="0"/>
                <a:sym typeface="Calibri"/>
              </a:rPr>
              <a:t>&amp; την Ειδική Υπηρεσία ΔΑΜ</a:t>
            </a:r>
          </a:p>
        </p:txBody>
      </p:sp>
      <p:sp>
        <p:nvSpPr>
          <p:cNvPr id="10" name="Google Shape;494;p30">
            <a:extLst>
              <a:ext uri="{FF2B5EF4-FFF2-40B4-BE49-F238E27FC236}">
                <a16:creationId xmlns:a16="http://schemas.microsoft.com/office/drawing/2014/main" id="{D247FA8E-DCB5-4EC5-A8F3-59F8D33C9068}"/>
              </a:ext>
            </a:extLst>
          </p:cNvPr>
          <p:cNvSpPr/>
          <p:nvPr/>
        </p:nvSpPr>
        <p:spPr>
          <a:xfrm>
            <a:off x="2273028" y="944065"/>
            <a:ext cx="748800" cy="748800"/>
          </a:xfrm>
          <a:prstGeom prst="roundRect">
            <a:avLst>
              <a:gd name="adj" fmla="val 9727"/>
            </a:avLst>
          </a:prstGeom>
          <a:solidFill>
            <a:srgbClr val="F4B183"/>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1219140">
              <a:defRPr/>
            </a:pPr>
            <a:endParaRPr sz="2400">
              <a:latin typeface="+mn-lt"/>
              <a:ea typeface="Montserrat Medium"/>
              <a:cs typeface="Montserrat Medium"/>
              <a:sym typeface="Montserrat Medium"/>
            </a:endParaRPr>
          </a:p>
        </p:txBody>
      </p:sp>
      <p:grpSp>
        <p:nvGrpSpPr>
          <p:cNvPr id="14" name="Google Shape;771;p72">
            <a:extLst>
              <a:ext uri="{FF2B5EF4-FFF2-40B4-BE49-F238E27FC236}">
                <a16:creationId xmlns:a16="http://schemas.microsoft.com/office/drawing/2014/main" id="{47ECD962-7E3B-E1F5-55A1-275226F8AE4F}"/>
              </a:ext>
            </a:extLst>
          </p:cNvPr>
          <p:cNvGrpSpPr/>
          <p:nvPr/>
        </p:nvGrpSpPr>
        <p:grpSpPr>
          <a:xfrm>
            <a:off x="2406747" y="1094915"/>
            <a:ext cx="481364" cy="447101"/>
            <a:chOff x="1190625" y="238125"/>
            <a:chExt cx="5219200" cy="5219200"/>
          </a:xfrm>
          <a:solidFill>
            <a:srgbClr val="1F497D"/>
          </a:solidFill>
        </p:grpSpPr>
        <p:sp>
          <p:nvSpPr>
            <p:cNvPr id="16" name="Google Shape;772;p72">
              <a:extLst>
                <a:ext uri="{FF2B5EF4-FFF2-40B4-BE49-F238E27FC236}">
                  <a16:creationId xmlns:a16="http://schemas.microsoft.com/office/drawing/2014/main" id="{ABB8DA6E-9A96-199C-A973-34C707456068}"/>
                </a:ext>
              </a:extLst>
            </p:cNvPr>
            <p:cNvSpPr/>
            <p:nvPr/>
          </p:nvSpPr>
          <p:spPr>
            <a:xfrm>
              <a:off x="2623450" y="1695400"/>
              <a:ext cx="2032225" cy="2213275"/>
            </a:xfrm>
            <a:custGeom>
              <a:avLst/>
              <a:gdLst/>
              <a:ahLst/>
              <a:cxnLst/>
              <a:rect l="l" t="t" r="r" b="b"/>
              <a:pathLst>
                <a:path w="81289" h="88531" extrusionOk="0">
                  <a:moveTo>
                    <a:pt x="56074" y="1"/>
                  </a:moveTo>
                  <a:cubicBezTo>
                    <a:pt x="36241" y="1"/>
                    <a:pt x="19409" y="13147"/>
                    <a:pt x="13798" y="31153"/>
                  </a:cubicBezTo>
                  <a:lnTo>
                    <a:pt x="6100" y="31153"/>
                  </a:lnTo>
                  <a:cubicBezTo>
                    <a:pt x="2740" y="31153"/>
                    <a:pt x="0" y="33893"/>
                    <a:pt x="0" y="37285"/>
                  </a:cubicBezTo>
                  <a:cubicBezTo>
                    <a:pt x="0" y="40645"/>
                    <a:pt x="2740" y="43385"/>
                    <a:pt x="6100" y="43385"/>
                  </a:cubicBezTo>
                  <a:lnTo>
                    <a:pt x="11808" y="43385"/>
                  </a:lnTo>
                  <a:cubicBezTo>
                    <a:pt x="11808" y="43679"/>
                    <a:pt x="11808" y="43972"/>
                    <a:pt x="11808" y="44266"/>
                  </a:cubicBezTo>
                  <a:cubicBezTo>
                    <a:pt x="11808" y="45799"/>
                    <a:pt x="11874" y="47300"/>
                    <a:pt x="12037" y="48800"/>
                  </a:cubicBezTo>
                  <a:lnTo>
                    <a:pt x="6100" y="48800"/>
                  </a:lnTo>
                  <a:cubicBezTo>
                    <a:pt x="2740" y="48800"/>
                    <a:pt x="0" y="51540"/>
                    <a:pt x="0" y="54900"/>
                  </a:cubicBezTo>
                  <a:cubicBezTo>
                    <a:pt x="0" y="58292"/>
                    <a:pt x="2740" y="61032"/>
                    <a:pt x="6100" y="61032"/>
                  </a:cubicBezTo>
                  <a:lnTo>
                    <a:pt x="15103" y="61032"/>
                  </a:lnTo>
                  <a:cubicBezTo>
                    <a:pt x="21725" y="77147"/>
                    <a:pt x="37578" y="88531"/>
                    <a:pt x="56074" y="88531"/>
                  </a:cubicBezTo>
                  <a:cubicBezTo>
                    <a:pt x="63478" y="88531"/>
                    <a:pt x="70785" y="86672"/>
                    <a:pt x="77244" y="83181"/>
                  </a:cubicBezTo>
                  <a:cubicBezTo>
                    <a:pt x="80212" y="81550"/>
                    <a:pt x="81289" y="77832"/>
                    <a:pt x="79690" y="74863"/>
                  </a:cubicBezTo>
                  <a:cubicBezTo>
                    <a:pt x="78570" y="72824"/>
                    <a:pt x="76465" y="71678"/>
                    <a:pt x="74294" y="71678"/>
                  </a:cubicBezTo>
                  <a:cubicBezTo>
                    <a:pt x="73305" y="71678"/>
                    <a:pt x="72302" y="71916"/>
                    <a:pt x="71372" y="72417"/>
                  </a:cubicBezTo>
                  <a:cubicBezTo>
                    <a:pt x="66708" y="74961"/>
                    <a:pt x="61423" y="76299"/>
                    <a:pt x="56074" y="76299"/>
                  </a:cubicBezTo>
                  <a:cubicBezTo>
                    <a:pt x="44559" y="76299"/>
                    <a:pt x="34414" y="70199"/>
                    <a:pt x="28771" y="61032"/>
                  </a:cubicBezTo>
                  <a:lnTo>
                    <a:pt x="55715" y="61032"/>
                  </a:lnTo>
                  <a:cubicBezTo>
                    <a:pt x="59107" y="61032"/>
                    <a:pt x="61847" y="58292"/>
                    <a:pt x="61847" y="54900"/>
                  </a:cubicBezTo>
                  <a:cubicBezTo>
                    <a:pt x="61847" y="51540"/>
                    <a:pt x="59107" y="48800"/>
                    <a:pt x="55715" y="48800"/>
                  </a:cubicBezTo>
                  <a:lnTo>
                    <a:pt x="24367" y="48800"/>
                  </a:lnTo>
                  <a:cubicBezTo>
                    <a:pt x="24171" y="47332"/>
                    <a:pt x="24041" y="45799"/>
                    <a:pt x="24041" y="44266"/>
                  </a:cubicBezTo>
                  <a:cubicBezTo>
                    <a:pt x="24041" y="43972"/>
                    <a:pt x="24074" y="43679"/>
                    <a:pt x="24074" y="43385"/>
                  </a:cubicBezTo>
                  <a:lnTo>
                    <a:pt x="55715" y="43385"/>
                  </a:lnTo>
                  <a:cubicBezTo>
                    <a:pt x="59107" y="43385"/>
                    <a:pt x="61847" y="40645"/>
                    <a:pt x="61847" y="37285"/>
                  </a:cubicBezTo>
                  <a:cubicBezTo>
                    <a:pt x="61847" y="33893"/>
                    <a:pt x="59107" y="31153"/>
                    <a:pt x="55715" y="31153"/>
                  </a:cubicBezTo>
                  <a:lnTo>
                    <a:pt x="26879" y="31153"/>
                  </a:lnTo>
                  <a:cubicBezTo>
                    <a:pt x="31902" y="20029"/>
                    <a:pt x="43091" y="12233"/>
                    <a:pt x="56074" y="12233"/>
                  </a:cubicBezTo>
                  <a:cubicBezTo>
                    <a:pt x="61325" y="12233"/>
                    <a:pt x="66316" y="13473"/>
                    <a:pt x="70916" y="15887"/>
                  </a:cubicBezTo>
                  <a:cubicBezTo>
                    <a:pt x="71820" y="16358"/>
                    <a:pt x="72787" y="16581"/>
                    <a:pt x="73739" y="16581"/>
                  </a:cubicBezTo>
                  <a:cubicBezTo>
                    <a:pt x="75946" y="16581"/>
                    <a:pt x="78075" y="15383"/>
                    <a:pt x="79169" y="13310"/>
                  </a:cubicBezTo>
                  <a:cubicBezTo>
                    <a:pt x="80734" y="10309"/>
                    <a:pt x="79593" y="6623"/>
                    <a:pt x="76592" y="5057"/>
                  </a:cubicBezTo>
                  <a:cubicBezTo>
                    <a:pt x="70296" y="1762"/>
                    <a:pt x="63217" y="1"/>
                    <a:pt x="56074" y="1"/>
                  </a:cubicBezTo>
                  <a:close/>
                </a:path>
              </a:pathLst>
            </a:cu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sp>
          <p:nvSpPr>
            <p:cNvPr id="21" name="Google Shape;773;p72">
              <a:extLst>
                <a:ext uri="{FF2B5EF4-FFF2-40B4-BE49-F238E27FC236}">
                  <a16:creationId xmlns:a16="http://schemas.microsoft.com/office/drawing/2014/main" id="{D983E471-F63A-A2CA-21FB-C790E01C713D}"/>
                </a:ext>
              </a:extLst>
            </p:cNvPr>
            <p:cNvSpPr/>
            <p:nvPr/>
          </p:nvSpPr>
          <p:spPr>
            <a:xfrm>
              <a:off x="1190625" y="238125"/>
              <a:ext cx="5219200" cy="5219200"/>
            </a:xfrm>
            <a:custGeom>
              <a:avLst/>
              <a:gdLst/>
              <a:ahLst/>
              <a:cxnLst/>
              <a:rect l="l" t="t" r="r" b="b"/>
              <a:pathLst>
                <a:path w="208768" h="208768" extrusionOk="0">
                  <a:moveTo>
                    <a:pt x="104384" y="12232"/>
                  </a:moveTo>
                  <a:cubicBezTo>
                    <a:pt x="155205" y="12232"/>
                    <a:pt x="196535" y="53562"/>
                    <a:pt x="196535" y="104384"/>
                  </a:cubicBezTo>
                  <a:cubicBezTo>
                    <a:pt x="196535" y="155205"/>
                    <a:pt x="155205" y="196535"/>
                    <a:pt x="104384" y="196535"/>
                  </a:cubicBezTo>
                  <a:cubicBezTo>
                    <a:pt x="53562" y="196535"/>
                    <a:pt x="12232" y="155205"/>
                    <a:pt x="12232" y="104384"/>
                  </a:cubicBezTo>
                  <a:cubicBezTo>
                    <a:pt x="12232" y="53562"/>
                    <a:pt x="53562" y="12232"/>
                    <a:pt x="104384" y="12232"/>
                  </a:cubicBezTo>
                  <a:close/>
                  <a:moveTo>
                    <a:pt x="104384" y="0"/>
                  </a:moveTo>
                  <a:cubicBezTo>
                    <a:pt x="76494" y="0"/>
                    <a:pt x="50300" y="10862"/>
                    <a:pt x="30565" y="30565"/>
                  </a:cubicBezTo>
                  <a:cubicBezTo>
                    <a:pt x="10862" y="50300"/>
                    <a:pt x="0" y="76494"/>
                    <a:pt x="0" y="104384"/>
                  </a:cubicBezTo>
                  <a:cubicBezTo>
                    <a:pt x="0" y="132274"/>
                    <a:pt x="10862" y="158467"/>
                    <a:pt x="30565" y="178202"/>
                  </a:cubicBezTo>
                  <a:cubicBezTo>
                    <a:pt x="50300" y="197905"/>
                    <a:pt x="76494" y="208767"/>
                    <a:pt x="104384" y="208767"/>
                  </a:cubicBezTo>
                  <a:cubicBezTo>
                    <a:pt x="132274" y="208767"/>
                    <a:pt x="158467" y="197905"/>
                    <a:pt x="178202" y="178202"/>
                  </a:cubicBezTo>
                  <a:cubicBezTo>
                    <a:pt x="197905" y="158467"/>
                    <a:pt x="208767" y="132274"/>
                    <a:pt x="208767" y="104384"/>
                  </a:cubicBezTo>
                  <a:cubicBezTo>
                    <a:pt x="208767" y="76494"/>
                    <a:pt x="197905" y="50300"/>
                    <a:pt x="178202" y="30565"/>
                  </a:cubicBezTo>
                  <a:cubicBezTo>
                    <a:pt x="158467" y="10862"/>
                    <a:pt x="132274" y="0"/>
                    <a:pt x="104384" y="0"/>
                  </a:cubicBezTo>
                  <a:close/>
                </a:path>
              </a:pathLst>
            </a:cu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sp>
          <p:nvSpPr>
            <p:cNvPr id="22" name="Google Shape;774;p72">
              <a:extLst>
                <a:ext uri="{FF2B5EF4-FFF2-40B4-BE49-F238E27FC236}">
                  <a16:creationId xmlns:a16="http://schemas.microsoft.com/office/drawing/2014/main" id="{A159FD2A-DFB1-713D-45E2-54D2FCFEDBF6}"/>
                </a:ext>
              </a:extLst>
            </p:cNvPr>
            <p:cNvSpPr/>
            <p:nvPr/>
          </p:nvSpPr>
          <p:spPr>
            <a:xfrm>
              <a:off x="1800600" y="848100"/>
              <a:ext cx="3999225" cy="3999225"/>
            </a:xfrm>
            <a:custGeom>
              <a:avLst/>
              <a:gdLst/>
              <a:ahLst/>
              <a:cxnLst/>
              <a:rect l="l" t="t" r="r" b="b"/>
              <a:pathLst>
                <a:path w="159969" h="159969" extrusionOk="0">
                  <a:moveTo>
                    <a:pt x="79985" y="12233"/>
                  </a:moveTo>
                  <a:cubicBezTo>
                    <a:pt x="117334" y="12233"/>
                    <a:pt x="147736" y="42635"/>
                    <a:pt x="147736" y="79985"/>
                  </a:cubicBezTo>
                  <a:cubicBezTo>
                    <a:pt x="147736" y="117334"/>
                    <a:pt x="117334" y="147736"/>
                    <a:pt x="79985" y="147736"/>
                  </a:cubicBezTo>
                  <a:cubicBezTo>
                    <a:pt x="42635" y="147736"/>
                    <a:pt x="12233" y="117334"/>
                    <a:pt x="12233" y="79985"/>
                  </a:cubicBezTo>
                  <a:cubicBezTo>
                    <a:pt x="12233" y="42635"/>
                    <a:pt x="42635" y="12233"/>
                    <a:pt x="79985" y="12233"/>
                  </a:cubicBezTo>
                  <a:close/>
                  <a:moveTo>
                    <a:pt x="79985" y="1"/>
                  </a:moveTo>
                  <a:cubicBezTo>
                    <a:pt x="35883" y="1"/>
                    <a:pt x="1" y="35883"/>
                    <a:pt x="1" y="79985"/>
                  </a:cubicBezTo>
                  <a:cubicBezTo>
                    <a:pt x="1" y="124087"/>
                    <a:pt x="35883" y="159968"/>
                    <a:pt x="79985" y="159968"/>
                  </a:cubicBezTo>
                  <a:cubicBezTo>
                    <a:pt x="124087" y="159968"/>
                    <a:pt x="159968" y="124087"/>
                    <a:pt x="159968" y="79985"/>
                  </a:cubicBezTo>
                  <a:cubicBezTo>
                    <a:pt x="159968" y="35883"/>
                    <a:pt x="124087" y="1"/>
                    <a:pt x="79985" y="1"/>
                  </a:cubicBezTo>
                  <a:close/>
                </a:path>
              </a:pathLst>
            </a:cu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sp>
          <p:nvSpPr>
            <p:cNvPr id="23" name="Google Shape;775;p72">
              <a:extLst>
                <a:ext uri="{FF2B5EF4-FFF2-40B4-BE49-F238E27FC236}">
                  <a16:creationId xmlns:a16="http://schemas.microsoft.com/office/drawing/2014/main" id="{C67D6035-8171-6979-FA9A-CDA35558B282}"/>
                </a:ext>
              </a:extLst>
            </p:cNvPr>
            <p:cNvSpPr/>
            <p:nvPr/>
          </p:nvSpPr>
          <p:spPr>
            <a:xfrm>
              <a:off x="5250150" y="1651375"/>
              <a:ext cx="40000" cy="31000"/>
            </a:xfrm>
            <a:custGeom>
              <a:avLst/>
              <a:gdLst/>
              <a:ahLst/>
              <a:cxnLst/>
              <a:rect l="l" t="t" r="r" b="b"/>
              <a:pathLst>
                <a:path w="1600" h="1240" extrusionOk="0">
                  <a:moveTo>
                    <a:pt x="816" y="0"/>
                  </a:moveTo>
                  <a:cubicBezTo>
                    <a:pt x="1" y="0"/>
                    <a:pt x="1" y="1240"/>
                    <a:pt x="816" y="1240"/>
                  </a:cubicBezTo>
                  <a:cubicBezTo>
                    <a:pt x="1599" y="1240"/>
                    <a:pt x="1599" y="0"/>
                    <a:pt x="816" y="0"/>
                  </a:cubicBezTo>
                  <a:close/>
                </a:path>
              </a:pathLst>
            </a:cu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grpSp>
      <p:sp>
        <p:nvSpPr>
          <p:cNvPr id="2" name="Στρογγυλεμένο ορθογώνιο 17">
            <a:extLst>
              <a:ext uri="{FF2B5EF4-FFF2-40B4-BE49-F238E27FC236}">
                <a16:creationId xmlns:a16="http://schemas.microsoft.com/office/drawing/2014/main" id="{E183E1FD-A035-D568-0210-256A70F97225}"/>
              </a:ext>
            </a:extLst>
          </p:cNvPr>
          <p:cNvSpPr/>
          <p:nvPr/>
        </p:nvSpPr>
        <p:spPr>
          <a:xfrm>
            <a:off x="3875279" y="3510252"/>
            <a:ext cx="4830147" cy="2511857"/>
          </a:xfrm>
          <a:prstGeom prst="roundRect">
            <a:avLst/>
          </a:prstGeom>
          <a:noFill/>
          <a:ln w="19050">
            <a:solidFill>
              <a:srgbClr val="369089"/>
            </a:solidFill>
          </a:ln>
        </p:spPr>
        <p:style>
          <a:lnRef idx="2">
            <a:schemeClr val="accent5"/>
          </a:lnRef>
          <a:fillRef idx="1">
            <a:schemeClr val="lt1"/>
          </a:fillRef>
          <a:effectRef idx="0">
            <a:schemeClr val="accent5"/>
          </a:effectRef>
          <a:fontRef idx="minor">
            <a:schemeClr val="dk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spcBef>
                <a:spcPts val="800"/>
              </a:spcBef>
              <a:buClr>
                <a:srgbClr val="FFC000"/>
              </a:buClr>
            </a:pPr>
            <a:r>
              <a:rPr lang="el-GR" sz="2400" b="1" dirty="0">
                <a:solidFill>
                  <a:srgbClr val="085195"/>
                </a:solidFill>
                <a:latin typeface="Arial" panose="020B0604020202020204" pitchFamily="34" charset="0"/>
                <a:cs typeface="Arial" panose="020B0604020202020204" pitchFamily="34" charset="0"/>
              </a:rPr>
              <a:t>Τομείς Παρέμβασης</a:t>
            </a:r>
            <a:endParaRPr lang="el-GR" sz="2400" dirty="0">
              <a:solidFill>
                <a:srgbClr val="085195"/>
              </a:solidFill>
              <a:latin typeface="Arial" panose="020B0604020202020204" pitchFamily="34" charset="0"/>
              <a:cs typeface="Arial" panose="020B0604020202020204" pitchFamily="34" charset="0"/>
            </a:endParaRPr>
          </a:p>
          <a:p>
            <a:pPr marL="228594" indent="-228594">
              <a:spcBef>
                <a:spcPts val="800"/>
              </a:spcBef>
              <a:buClr>
                <a:srgbClr val="FFC000"/>
              </a:buClr>
              <a:buFont typeface="Wingdings" panose="05000000000000000000" pitchFamily="2" charset="2"/>
              <a:buChar char="q"/>
            </a:pPr>
            <a:r>
              <a:rPr lang="el-GR" sz="2000" dirty="0" smtClean="0">
                <a:solidFill>
                  <a:srgbClr val="085195"/>
                </a:solidFill>
                <a:latin typeface="Arial" panose="020B0604020202020204" pitchFamily="34" charset="0"/>
                <a:cs typeface="Arial" panose="020B0604020202020204" pitchFamily="34" charset="0"/>
              </a:rPr>
              <a:t> Μεταφορές</a:t>
            </a:r>
            <a:endParaRPr lang="el-GR" sz="2000" dirty="0">
              <a:solidFill>
                <a:srgbClr val="085195"/>
              </a:solidFill>
              <a:latin typeface="Arial" panose="020B0604020202020204" pitchFamily="34" charset="0"/>
              <a:cs typeface="Arial" panose="020B0604020202020204" pitchFamily="34" charset="0"/>
            </a:endParaRPr>
          </a:p>
          <a:p>
            <a:pPr marL="228594" indent="-228594">
              <a:spcBef>
                <a:spcPts val="800"/>
              </a:spcBef>
              <a:buClr>
                <a:srgbClr val="FFC000"/>
              </a:buClr>
              <a:buFont typeface="Wingdings" panose="05000000000000000000" pitchFamily="2" charset="2"/>
              <a:buChar char="q"/>
            </a:pPr>
            <a:r>
              <a:rPr lang="el-GR" sz="2000" dirty="0" smtClean="0">
                <a:solidFill>
                  <a:srgbClr val="085195"/>
                </a:solidFill>
                <a:latin typeface="Arial" panose="020B0604020202020204" pitchFamily="34" charset="0"/>
                <a:cs typeface="Arial" panose="020B0604020202020204" pitchFamily="34" charset="0"/>
              </a:rPr>
              <a:t> Ενεργειακή </a:t>
            </a:r>
            <a:r>
              <a:rPr lang="el-GR" sz="2000" dirty="0">
                <a:solidFill>
                  <a:srgbClr val="085195"/>
                </a:solidFill>
                <a:latin typeface="Arial" panose="020B0604020202020204" pitchFamily="34" charset="0"/>
                <a:cs typeface="Arial" panose="020B0604020202020204" pitchFamily="34" charset="0"/>
              </a:rPr>
              <a:t>απόδοση</a:t>
            </a:r>
          </a:p>
          <a:p>
            <a:pPr marL="228594" indent="-228594">
              <a:spcBef>
                <a:spcPts val="800"/>
              </a:spcBef>
              <a:buClr>
                <a:srgbClr val="FFC000"/>
              </a:buClr>
              <a:buFont typeface="Wingdings" panose="05000000000000000000" pitchFamily="2" charset="2"/>
              <a:buChar char="q"/>
            </a:pPr>
            <a:r>
              <a:rPr lang="el-GR" sz="2000" dirty="0" smtClean="0">
                <a:solidFill>
                  <a:srgbClr val="085195"/>
                </a:solidFill>
                <a:latin typeface="Arial" panose="020B0604020202020204" pitchFamily="34" charset="0"/>
                <a:cs typeface="Arial" panose="020B0604020202020204" pitchFamily="34" charset="0"/>
              </a:rPr>
              <a:t> Εκπαίδευση</a:t>
            </a:r>
            <a:endParaRPr lang="el-GR" sz="2000" dirty="0">
              <a:solidFill>
                <a:srgbClr val="085195"/>
              </a:solidFill>
              <a:latin typeface="Arial" panose="020B0604020202020204" pitchFamily="34" charset="0"/>
              <a:cs typeface="Arial" panose="020B0604020202020204" pitchFamily="34" charset="0"/>
            </a:endParaRPr>
          </a:p>
          <a:p>
            <a:pPr marL="228594" indent="-228594">
              <a:spcBef>
                <a:spcPts val="800"/>
              </a:spcBef>
              <a:buClr>
                <a:srgbClr val="FFC000"/>
              </a:buClr>
              <a:buFont typeface="Wingdings" panose="05000000000000000000" pitchFamily="2" charset="2"/>
              <a:buChar char="q"/>
            </a:pPr>
            <a:r>
              <a:rPr lang="el-GR" sz="2000" dirty="0" smtClean="0">
                <a:solidFill>
                  <a:srgbClr val="085195"/>
                </a:solidFill>
                <a:latin typeface="Arial" panose="020B0604020202020204" pitchFamily="34" charset="0"/>
                <a:cs typeface="Arial" panose="020B0604020202020204" pitchFamily="34" charset="0"/>
              </a:rPr>
              <a:t> Αστική </a:t>
            </a:r>
            <a:r>
              <a:rPr lang="el-GR" sz="2000" dirty="0">
                <a:solidFill>
                  <a:srgbClr val="085195"/>
                </a:solidFill>
                <a:latin typeface="Arial" panose="020B0604020202020204" pitchFamily="34" charset="0"/>
                <a:cs typeface="Arial" panose="020B0604020202020204" pitchFamily="34" charset="0"/>
              </a:rPr>
              <a:t>ανάπλαση </a:t>
            </a:r>
          </a:p>
        </p:txBody>
      </p:sp>
      <p:sp>
        <p:nvSpPr>
          <p:cNvPr id="24" name="Google Shape;439;p5">
            <a:extLst>
              <a:ext uri="{FF2B5EF4-FFF2-40B4-BE49-F238E27FC236}">
                <a16:creationId xmlns:a16="http://schemas.microsoft.com/office/drawing/2014/main" id="{D6F6634F-ABC8-4589-994B-48489D5A5071}"/>
              </a:ext>
            </a:extLst>
          </p:cNvPr>
          <p:cNvSpPr/>
          <p:nvPr/>
        </p:nvSpPr>
        <p:spPr>
          <a:xfrm>
            <a:off x="2888111" y="2774732"/>
            <a:ext cx="2550583" cy="536821"/>
          </a:xfrm>
          <a:prstGeom prst="roundRect">
            <a:avLst>
              <a:gd name="adj" fmla="val 50000"/>
            </a:avLst>
          </a:prstGeom>
          <a:solidFill>
            <a:schemeClr val="accent6">
              <a:lumMod val="20000"/>
              <a:lumOff val="8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rtl="0">
              <a:buClr>
                <a:schemeClr val="dk1"/>
              </a:buClr>
              <a:buSzPts val="1200"/>
            </a:pPr>
            <a:r>
              <a:rPr lang="el-GR" sz="2133" b="1" dirty="0">
                <a:solidFill>
                  <a:srgbClr val="0070C0"/>
                </a:solidFill>
              </a:rPr>
              <a:t>Π/Υ: ~ 110,1 εκ.</a:t>
            </a:r>
            <a:r>
              <a:rPr lang="el-GR" sz="2133" b="1" dirty="0" smtClean="0">
                <a:solidFill>
                  <a:srgbClr val="0070C0"/>
                </a:solidFill>
              </a:rPr>
              <a:t>€</a:t>
            </a:r>
            <a:endParaRPr lang="el-GR" sz="2133" b="1" dirty="0">
              <a:solidFill>
                <a:srgbClr val="0070C0"/>
              </a:solidFill>
            </a:endParaRPr>
          </a:p>
        </p:txBody>
      </p:sp>
      <p:sp>
        <p:nvSpPr>
          <p:cNvPr id="17"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8963377" cy="795145"/>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Arial" panose="020B0604020202020204" pitchFamily="34" charset="0"/>
                <a:ea typeface="Urbanist" panose="020B0604020202020204" charset="0"/>
                <a:cs typeface="Arial" panose="020B0604020202020204" pitchFamily="34" charset="0"/>
              </a:rPr>
              <a:t>Νέο</a:t>
            </a:r>
            <a:r>
              <a:rPr lang="el-GR" sz="2400" b="0" dirty="0">
                <a:solidFill>
                  <a:srgbClr val="085195"/>
                </a:solidFill>
                <a:latin typeface="+mn-lt"/>
                <a:ea typeface="Urbanist" panose="020B0604020202020204" charset="0"/>
                <a:cs typeface="Urbanist" panose="020B0604020202020204" charset="0"/>
              </a:rPr>
              <a:t> Επενδυτικό Σχέδιο Δυτικής Μακεδονίας</a:t>
            </a:r>
          </a:p>
        </p:txBody>
      </p:sp>
      <p:cxnSp>
        <p:nvCxnSpPr>
          <p:cNvPr id="18" name="Ευθεία γραμμή σύνδεσης 17">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19" name="Ομάδα 18">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26"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27"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04495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924642-6172-E2FA-E4A0-1063B36C4C6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52EA41D-79A9-EE9F-C5A4-396DAE457ECB}"/>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272" name="think-cell Slide" r:id="rId4" imgW="350" imgH="350" progId="TCLayout.ActiveDocument.1">
                  <p:embed/>
                </p:oleObj>
              </mc:Choice>
              <mc:Fallback>
                <p:oleObj name="think-cell Slide" r:id="rId4" imgW="350" imgH="350" progId="TCLayout.ActiveDocument.1">
                  <p:embed/>
                  <p:pic>
                    <p:nvPicPr>
                      <p:cNvPr id="7" name="think-cell data - do not delete" hidden="1">
                        <a:extLst>
                          <a:ext uri="{FF2B5EF4-FFF2-40B4-BE49-F238E27FC236}">
                            <a16:creationId xmlns:a16="http://schemas.microsoft.com/office/drawing/2014/main" id="{652EA41D-79A9-EE9F-C5A4-396DAE457EC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Google Shape;2093;p60">
            <a:extLst>
              <a:ext uri="{FF2B5EF4-FFF2-40B4-BE49-F238E27FC236}">
                <a16:creationId xmlns:a16="http://schemas.microsoft.com/office/drawing/2014/main" id="{83980440-8704-4949-95EA-39770922F6F6}"/>
              </a:ext>
            </a:extLst>
          </p:cNvPr>
          <p:cNvSpPr/>
          <p:nvPr/>
        </p:nvSpPr>
        <p:spPr>
          <a:xfrm>
            <a:off x="1262143" y="1311499"/>
            <a:ext cx="9607480" cy="3383723"/>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dirty="0"/>
          </a:p>
        </p:txBody>
      </p:sp>
      <p:sp>
        <p:nvSpPr>
          <p:cNvPr id="12" name="Google Shape;240;p22">
            <a:extLst>
              <a:ext uri="{FF2B5EF4-FFF2-40B4-BE49-F238E27FC236}">
                <a16:creationId xmlns:a16="http://schemas.microsoft.com/office/drawing/2014/main" id="{FA8048F9-D7B8-4747-BC57-2BD096A49699}"/>
              </a:ext>
            </a:extLst>
          </p:cNvPr>
          <p:cNvSpPr txBox="1"/>
          <p:nvPr/>
        </p:nvSpPr>
        <p:spPr>
          <a:xfrm>
            <a:off x="1862919" y="3420180"/>
            <a:ext cx="1837273" cy="6441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buClr>
                <a:srgbClr val="000000"/>
              </a:buClr>
              <a:buFont typeface="Arial"/>
              <a:buNone/>
            </a:pPr>
            <a:r>
              <a:rPr lang="en-US" sz="2489" dirty="0">
                <a:solidFill>
                  <a:srgbClr val="00B0F0"/>
                </a:solidFill>
                <a:latin typeface="Arial Black" panose="020B0A04020102020204" pitchFamily="34" charset="0"/>
                <a:sym typeface="Montserrat Medium"/>
              </a:rPr>
              <a:t>294 </a:t>
            </a:r>
            <a:r>
              <a:rPr lang="el-GR" sz="2489" dirty="0">
                <a:solidFill>
                  <a:srgbClr val="00B0F0"/>
                </a:solidFill>
                <a:latin typeface="Arial Black" panose="020B0A04020102020204" pitchFamily="34" charset="0"/>
                <a:sym typeface="Montserrat Medium"/>
              </a:rPr>
              <a:t>εκ.€</a:t>
            </a:r>
            <a:endParaRPr sz="2489" dirty="0">
              <a:solidFill>
                <a:srgbClr val="00B0F0"/>
              </a:solidFill>
              <a:latin typeface="Arial Black" panose="020B0A04020102020204" pitchFamily="34" charset="0"/>
              <a:sym typeface="Montserrat Medium"/>
            </a:endParaRPr>
          </a:p>
        </p:txBody>
      </p:sp>
      <p:sp>
        <p:nvSpPr>
          <p:cNvPr id="13" name="Google Shape;240;p22">
            <a:extLst>
              <a:ext uri="{FF2B5EF4-FFF2-40B4-BE49-F238E27FC236}">
                <a16:creationId xmlns:a16="http://schemas.microsoft.com/office/drawing/2014/main" id="{0FA9A500-FA27-4FBF-B52D-8B1BD8AFB897}"/>
              </a:ext>
            </a:extLst>
          </p:cNvPr>
          <p:cNvSpPr txBox="1"/>
          <p:nvPr/>
        </p:nvSpPr>
        <p:spPr>
          <a:xfrm>
            <a:off x="4065785" y="3413514"/>
            <a:ext cx="1546500" cy="6441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2489" b="1" dirty="0">
                <a:sym typeface="Montserrat Medium"/>
              </a:rPr>
              <a:t>394 </a:t>
            </a:r>
            <a:r>
              <a:rPr lang="el-GR" sz="2489" b="1" dirty="0">
                <a:sym typeface="Montserrat Medium"/>
              </a:rPr>
              <a:t>εκ.€</a:t>
            </a:r>
            <a:endParaRPr sz="2489" b="1" dirty="0">
              <a:sym typeface="Montserrat Medium"/>
            </a:endParaRPr>
          </a:p>
        </p:txBody>
      </p:sp>
      <p:sp>
        <p:nvSpPr>
          <p:cNvPr id="14" name="Google Shape;240;p22">
            <a:extLst>
              <a:ext uri="{FF2B5EF4-FFF2-40B4-BE49-F238E27FC236}">
                <a16:creationId xmlns:a16="http://schemas.microsoft.com/office/drawing/2014/main" id="{86F745EE-ED84-449E-8CE5-86E91DEABB6F}"/>
              </a:ext>
            </a:extLst>
          </p:cNvPr>
          <p:cNvSpPr txBox="1"/>
          <p:nvPr/>
        </p:nvSpPr>
        <p:spPr>
          <a:xfrm>
            <a:off x="6365535" y="3409338"/>
            <a:ext cx="1546500" cy="6441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89" b="1" dirty="0">
                <a:sym typeface="Montserrat Medium"/>
              </a:rPr>
              <a:t>13</a:t>
            </a:r>
            <a:r>
              <a:rPr lang="en-US" sz="2489" b="1" dirty="0">
                <a:sym typeface="Montserrat Medium"/>
              </a:rPr>
              <a:t>2 </a:t>
            </a:r>
            <a:r>
              <a:rPr lang="el-GR" sz="2489" b="1" dirty="0">
                <a:sym typeface="Montserrat Medium"/>
              </a:rPr>
              <a:t>εκ.€</a:t>
            </a:r>
            <a:endParaRPr sz="2489" b="1" dirty="0">
              <a:sym typeface="Montserrat Medium"/>
            </a:endParaRPr>
          </a:p>
        </p:txBody>
      </p:sp>
      <p:sp>
        <p:nvSpPr>
          <p:cNvPr id="15" name="Google Shape;240;p22">
            <a:extLst>
              <a:ext uri="{FF2B5EF4-FFF2-40B4-BE49-F238E27FC236}">
                <a16:creationId xmlns:a16="http://schemas.microsoft.com/office/drawing/2014/main" id="{FB2ED36A-6592-4C0A-A288-A092FB8DCE8F}"/>
              </a:ext>
            </a:extLst>
          </p:cNvPr>
          <p:cNvSpPr txBox="1"/>
          <p:nvPr/>
        </p:nvSpPr>
        <p:spPr>
          <a:xfrm>
            <a:off x="8460066" y="3373506"/>
            <a:ext cx="1546500" cy="6441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89" b="1" dirty="0"/>
              <a:t>337</a:t>
            </a:r>
            <a:r>
              <a:rPr lang="en-US" sz="2489" b="1" dirty="0">
                <a:sym typeface="Montserrat Medium"/>
              </a:rPr>
              <a:t> </a:t>
            </a:r>
            <a:r>
              <a:rPr lang="el-GR" sz="2489" b="1" dirty="0">
                <a:sym typeface="Montserrat Medium"/>
              </a:rPr>
              <a:t>εκ.€</a:t>
            </a:r>
            <a:endParaRPr sz="2489" b="1" dirty="0">
              <a:sym typeface="Montserrat Medium"/>
            </a:endParaRPr>
          </a:p>
        </p:txBody>
      </p:sp>
      <p:grpSp>
        <p:nvGrpSpPr>
          <p:cNvPr id="16" name="Ομάδα 15">
            <a:extLst>
              <a:ext uri="{FF2B5EF4-FFF2-40B4-BE49-F238E27FC236}">
                <a16:creationId xmlns:a16="http://schemas.microsoft.com/office/drawing/2014/main" id="{6FAFEF5D-6157-4863-9CFE-E7483456D4A6}"/>
              </a:ext>
            </a:extLst>
          </p:cNvPr>
          <p:cNvGrpSpPr/>
          <p:nvPr/>
        </p:nvGrpSpPr>
        <p:grpSpPr>
          <a:xfrm>
            <a:off x="1740539" y="1466083"/>
            <a:ext cx="8454759" cy="1933683"/>
            <a:chOff x="1401939" y="4115366"/>
            <a:chExt cx="8454758" cy="1933683"/>
          </a:xfrm>
        </p:grpSpPr>
        <p:sp>
          <p:nvSpPr>
            <p:cNvPr id="17" name="Google Shape;4466;p62">
              <a:extLst>
                <a:ext uri="{FF2B5EF4-FFF2-40B4-BE49-F238E27FC236}">
                  <a16:creationId xmlns:a16="http://schemas.microsoft.com/office/drawing/2014/main" id="{66F7B812-6F49-4108-B4B3-45B596CEE80A}"/>
                </a:ext>
              </a:extLst>
            </p:cNvPr>
            <p:cNvSpPr/>
            <p:nvPr/>
          </p:nvSpPr>
          <p:spPr>
            <a:xfrm>
              <a:off x="7875556" y="4115366"/>
              <a:ext cx="1981141" cy="185610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3462AB"/>
            </a:solidFill>
            <a:ln>
              <a:solidFill>
                <a:srgbClr val="3462AB"/>
              </a:solid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grpSp>
          <p:nvGrpSpPr>
            <p:cNvPr id="18" name="Google Shape;4463;p62">
              <a:extLst>
                <a:ext uri="{FF2B5EF4-FFF2-40B4-BE49-F238E27FC236}">
                  <a16:creationId xmlns:a16="http://schemas.microsoft.com/office/drawing/2014/main" id="{15FC8CA9-2C56-4372-8149-B45F3C4B1412}"/>
                </a:ext>
              </a:extLst>
            </p:cNvPr>
            <p:cNvGrpSpPr/>
            <p:nvPr/>
          </p:nvGrpSpPr>
          <p:grpSpPr>
            <a:xfrm>
              <a:off x="1401939" y="4115366"/>
              <a:ext cx="6242530" cy="1933683"/>
              <a:chOff x="5439567" y="3484366"/>
              <a:chExt cx="2556498" cy="987304"/>
            </a:xfrm>
          </p:grpSpPr>
          <p:grpSp>
            <p:nvGrpSpPr>
              <p:cNvPr id="20" name="Google Shape;4468;p62">
                <a:extLst>
                  <a:ext uri="{FF2B5EF4-FFF2-40B4-BE49-F238E27FC236}">
                    <a16:creationId xmlns:a16="http://schemas.microsoft.com/office/drawing/2014/main" id="{DA73111F-BA37-4700-85C6-D6AB9CA5F3F5}"/>
                  </a:ext>
                </a:extLst>
              </p:cNvPr>
              <p:cNvGrpSpPr/>
              <p:nvPr/>
            </p:nvGrpSpPr>
            <p:grpSpPr>
              <a:xfrm>
                <a:off x="7184633" y="3484366"/>
                <a:ext cx="811432" cy="987304"/>
                <a:chOff x="2913099" y="1617275"/>
                <a:chExt cx="1090775" cy="1327200"/>
              </a:xfrm>
            </p:grpSpPr>
            <p:sp>
              <p:nvSpPr>
                <p:cNvPr id="29" name="Google Shape;4469;p62">
                  <a:extLst>
                    <a:ext uri="{FF2B5EF4-FFF2-40B4-BE49-F238E27FC236}">
                      <a16:creationId xmlns:a16="http://schemas.microsoft.com/office/drawing/2014/main" id="{CFA2D66B-C2C0-4176-82AC-6E788FC05A11}"/>
                    </a:ext>
                  </a:extLst>
                </p:cNvPr>
                <p:cNvSpPr/>
                <p:nvPr/>
              </p:nvSpPr>
              <p:spPr>
                <a:xfrm>
                  <a:off x="3043778" y="1792400"/>
                  <a:ext cx="819762"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solidFill>
                  <a:srgbClr val="3462AB"/>
                </a:solidFill>
                <a:ln>
                  <a:solidFill>
                    <a:srgbClr val="3462AB"/>
                  </a:solid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buClr>
                      <a:srgbClr val="000000"/>
                    </a:buClr>
                  </a:pPr>
                  <a:r>
                    <a:rPr lang="el-GR" sz="1400" b="1" dirty="0">
                      <a:solidFill>
                        <a:schemeClr val="bg1"/>
                      </a:solidFill>
                      <a:latin typeface="Arial" panose="020B0604020202020204" pitchFamily="34" charset="0"/>
                    </a:rPr>
                    <a:t>Περιφερειακό ΕΠΑ </a:t>
                  </a:r>
                </a:p>
                <a:p>
                  <a:pPr algn="ctr">
                    <a:buClr>
                      <a:srgbClr val="000000"/>
                    </a:buClr>
                  </a:pPr>
                  <a:r>
                    <a:rPr lang="el-GR" sz="1400" b="1" dirty="0">
                      <a:solidFill>
                        <a:schemeClr val="bg1"/>
                      </a:solidFill>
                      <a:latin typeface="Arial" panose="020B0604020202020204" pitchFamily="34" charset="0"/>
                    </a:rPr>
                    <a:t>2021 - 2025</a:t>
                  </a:r>
                  <a:endParaRPr sz="1400" dirty="0"/>
                </a:p>
              </p:txBody>
            </p:sp>
            <p:sp>
              <p:nvSpPr>
                <p:cNvPr id="30" name="Google Shape;4470;p62">
                  <a:extLst>
                    <a:ext uri="{FF2B5EF4-FFF2-40B4-BE49-F238E27FC236}">
                      <a16:creationId xmlns:a16="http://schemas.microsoft.com/office/drawing/2014/main" id="{CF5ED115-8B5E-4A20-8A71-F1EF0E1020A5}"/>
                    </a:ext>
                  </a:extLst>
                </p:cNvPr>
                <p:cNvSpPr/>
                <p:nvPr/>
              </p:nvSpPr>
              <p:spPr>
                <a:xfrm>
                  <a:off x="2913099"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3462AB"/>
                </a:solidFill>
                <a:ln>
                  <a:solidFill>
                    <a:srgbClr val="3462AB"/>
                  </a:solid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sp>
              <p:nvSpPr>
                <p:cNvPr id="31" name="Google Shape;4471;p62">
                  <a:extLst>
                    <a:ext uri="{FF2B5EF4-FFF2-40B4-BE49-F238E27FC236}">
                      <a16:creationId xmlns:a16="http://schemas.microsoft.com/office/drawing/2014/main" id="{43945F48-01E0-4C70-A3B3-CE998726C0C7}"/>
                    </a:ext>
                  </a:extLst>
                </p:cNvPr>
                <p:cNvSpPr/>
                <p:nvPr/>
              </p:nvSpPr>
              <p:spPr>
                <a:xfrm>
                  <a:off x="330877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3462AB"/>
                </a:solidFill>
                <a:ln>
                  <a:solidFill>
                    <a:srgbClr val="3462AB"/>
                  </a:solid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grpSp>
          <p:grpSp>
            <p:nvGrpSpPr>
              <p:cNvPr id="21" name="Google Shape;4472;p62">
                <a:extLst>
                  <a:ext uri="{FF2B5EF4-FFF2-40B4-BE49-F238E27FC236}">
                    <a16:creationId xmlns:a16="http://schemas.microsoft.com/office/drawing/2014/main" id="{5B1CA7F4-DD23-4545-B135-690DA9053109}"/>
                  </a:ext>
                </a:extLst>
              </p:cNvPr>
              <p:cNvGrpSpPr/>
              <p:nvPr/>
            </p:nvGrpSpPr>
            <p:grpSpPr>
              <a:xfrm>
                <a:off x="6319333" y="3484366"/>
                <a:ext cx="811337" cy="987304"/>
                <a:chOff x="1749920" y="1617275"/>
                <a:chExt cx="1090650" cy="1327200"/>
              </a:xfrm>
            </p:grpSpPr>
            <p:sp>
              <p:nvSpPr>
                <p:cNvPr id="26" name="Google Shape;4473;p62">
                  <a:extLst>
                    <a:ext uri="{FF2B5EF4-FFF2-40B4-BE49-F238E27FC236}">
                      <a16:creationId xmlns:a16="http://schemas.microsoft.com/office/drawing/2014/main" id="{3AAFC9AE-F16A-46C8-B717-D8A8A2443FEC}"/>
                    </a:ext>
                  </a:extLst>
                </p:cNvPr>
                <p:cNvSpPr/>
                <p:nvPr/>
              </p:nvSpPr>
              <p:spPr>
                <a:xfrm>
                  <a:off x="1875748" y="1792400"/>
                  <a:ext cx="819637"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solidFill>
                  <a:srgbClr val="445D73"/>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r>
                    <a:rPr lang="el-GR" sz="1600" b="1" dirty="0">
                      <a:solidFill>
                        <a:srgbClr val="FFFFFF"/>
                      </a:solidFill>
                      <a:latin typeface="Arial" panose="020B0604020202020204" pitchFamily="34" charset="0"/>
                    </a:rPr>
                    <a:t>ΠΕΠ ΕΣΠΑ 2021 – 2027</a:t>
                  </a:r>
                  <a:endParaRPr sz="1600" b="1" dirty="0">
                    <a:solidFill>
                      <a:srgbClr val="FFFFFF"/>
                    </a:solidFill>
                    <a:latin typeface="Arial" panose="020B0604020202020204" pitchFamily="34" charset="0"/>
                  </a:endParaRPr>
                </a:p>
              </p:txBody>
            </p:sp>
            <p:sp>
              <p:nvSpPr>
                <p:cNvPr id="27" name="Google Shape;4474;p62">
                  <a:extLst>
                    <a:ext uri="{FF2B5EF4-FFF2-40B4-BE49-F238E27FC236}">
                      <a16:creationId xmlns:a16="http://schemas.microsoft.com/office/drawing/2014/main" id="{A47C1C8A-D41F-44AE-8138-251591992AEB}"/>
                    </a:ext>
                  </a:extLst>
                </p:cNvPr>
                <p:cNvSpPr/>
                <p:nvPr/>
              </p:nvSpPr>
              <p:spPr>
                <a:xfrm>
                  <a:off x="174992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dirty="0"/>
                </a:p>
              </p:txBody>
            </p:sp>
            <p:sp>
              <p:nvSpPr>
                <p:cNvPr id="28" name="Google Shape;4475;p62">
                  <a:extLst>
                    <a:ext uri="{FF2B5EF4-FFF2-40B4-BE49-F238E27FC236}">
                      <a16:creationId xmlns:a16="http://schemas.microsoft.com/office/drawing/2014/main" id="{DFA0BE66-D6E8-4167-B72C-382E210A693B}"/>
                    </a:ext>
                  </a:extLst>
                </p:cNvPr>
                <p:cNvSpPr/>
                <p:nvPr/>
              </p:nvSpPr>
              <p:spPr>
                <a:xfrm>
                  <a:off x="2145569"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grpSp>
          <p:grpSp>
            <p:nvGrpSpPr>
              <p:cNvPr id="22" name="Google Shape;4476;p62">
                <a:extLst>
                  <a:ext uri="{FF2B5EF4-FFF2-40B4-BE49-F238E27FC236}">
                    <a16:creationId xmlns:a16="http://schemas.microsoft.com/office/drawing/2014/main" id="{FAF0B038-3065-42C8-93B7-0B445616D936}"/>
                  </a:ext>
                </a:extLst>
              </p:cNvPr>
              <p:cNvGrpSpPr/>
              <p:nvPr/>
            </p:nvGrpSpPr>
            <p:grpSpPr>
              <a:xfrm>
                <a:off x="5439567" y="3484366"/>
                <a:ext cx="811406" cy="987304"/>
                <a:chOff x="567272" y="1617275"/>
                <a:chExt cx="1090750" cy="1327200"/>
              </a:xfrm>
            </p:grpSpPr>
            <p:sp>
              <p:nvSpPr>
                <p:cNvPr id="23" name="Google Shape;4477;p62">
                  <a:extLst>
                    <a:ext uri="{FF2B5EF4-FFF2-40B4-BE49-F238E27FC236}">
                      <a16:creationId xmlns:a16="http://schemas.microsoft.com/office/drawing/2014/main" id="{2C779726-29A9-4473-ADBA-8DA2278EF709}"/>
                    </a:ext>
                  </a:extLst>
                </p:cNvPr>
                <p:cNvSpPr/>
                <p:nvPr/>
              </p:nvSpPr>
              <p:spPr>
                <a:xfrm>
                  <a:off x="702946" y="1792400"/>
                  <a:ext cx="819562"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solidFill>
                  <a:srgbClr val="3462AB"/>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r>
                    <a:rPr lang="el-GR" sz="1600" b="1" dirty="0">
                      <a:solidFill>
                        <a:srgbClr val="FFFFFF"/>
                      </a:solidFill>
                      <a:latin typeface="Arial" panose="020B0604020202020204" pitchFamily="34" charset="0"/>
                    </a:rPr>
                    <a:t>ΠΕΠ ΕΣΠΑ 2014 – 2020</a:t>
                  </a:r>
                  <a:endParaRPr sz="1400" dirty="0"/>
                </a:p>
              </p:txBody>
            </p:sp>
            <p:sp>
              <p:nvSpPr>
                <p:cNvPr id="24" name="Google Shape;4478;p62">
                  <a:extLst>
                    <a:ext uri="{FF2B5EF4-FFF2-40B4-BE49-F238E27FC236}">
                      <a16:creationId xmlns:a16="http://schemas.microsoft.com/office/drawing/2014/main" id="{FD7299F0-2502-4F97-87DA-4A7DA0C70E07}"/>
                    </a:ext>
                  </a:extLst>
                </p:cNvPr>
                <p:cNvSpPr/>
                <p:nvPr/>
              </p:nvSpPr>
              <p:spPr>
                <a:xfrm>
                  <a:off x="567272"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3462AB"/>
                </a:solidFill>
                <a:ln>
                  <a:solidFill>
                    <a:srgbClr val="3462AB"/>
                  </a:solid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sp>
              <p:nvSpPr>
                <p:cNvPr id="25" name="Google Shape;4479;p62">
                  <a:extLst>
                    <a:ext uri="{FF2B5EF4-FFF2-40B4-BE49-F238E27FC236}">
                      <a16:creationId xmlns:a16="http://schemas.microsoft.com/office/drawing/2014/main" id="{FE04CD0A-F307-4541-8096-7037DD42ED6F}"/>
                    </a:ext>
                  </a:extLst>
                </p:cNvPr>
                <p:cNvSpPr/>
                <p:nvPr/>
              </p:nvSpPr>
              <p:spPr>
                <a:xfrm>
                  <a:off x="962882"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3462AB"/>
                </a:solidFill>
                <a:ln>
                  <a:solidFill>
                    <a:srgbClr val="3462AB"/>
                  </a:solid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grpSp>
        </p:grpSp>
        <p:sp>
          <p:nvSpPr>
            <p:cNvPr id="19" name="Google Shape;4465;p62">
              <a:extLst>
                <a:ext uri="{FF2B5EF4-FFF2-40B4-BE49-F238E27FC236}">
                  <a16:creationId xmlns:a16="http://schemas.microsoft.com/office/drawing/2014/main" id="{7C4D3B66-EF67-44E5-99B8-FBA97E13D1CD}"/>
                </a:ext>
              </a:extLst>
            </p:cNvPr>
            <p:cNvSpPr/>
            <p:nvPr/>
          </p:nvSpPr>
          <p:spPr>
            <a:xfrm>
              <a:off x="8100653" y="4370517"/>
              <a:ext cx="1523668" cy="1078700"/>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solidFill>
              <a:srgbClr val="3462AB"/>
            </a:solidFill>
            <a:ln>
              <a:solidFill>
                <a:srgbClr val="3462AB"/>
              </a:solid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buClr>
                  <a:srgbClr val="000000"/>
                </a:buClr>
              </a:pPr>
              <a:r>
                <a:rPr lang="el-GR" sz="1400" b="1" dirty="0">
                  <a:solidFill>
                    <a:srgbClr val="FFFFFF"/>
                  </a:solidFill>
                  <a:latin typeface="Arial" panose="020B0604020202020204" pitchFamily="34" charset="0"/>
                </a:rPr>
                <a:t>Ταμείο Ανάκαμψης &amp; Ανθεκτικότητας</a:t>
              </a:r>
            </a:p>
          </p:txBody>
        </p:sp>
      </p:grpSp>
      <p:sp>
        <p:nvSpPr>
          <p:cNvPr id="42" name="Google Shape;4467;p62">
            <a:extLst>
              <a:ext uri="{FF2B5EF4-FFF2-40B4-BE49-F238E27FC236}">
                <a16:creationId xmlns:a16="http://schemas.microsoft.com/office/drawing/2014/main" id="{E1571FE3-04EF-4DCE-9C2F-210DCDCD3E90}"/>
              </a:ext>
            </a:extLst>
          </p:cNvPr>
          <p:cNvSpPr/>
          <p:nvPr/>
        </p:nvSpPr>
        <p:spPr>
          <a:xfrm>
            <a:off x="8942719" y="3157193"/>
            <a:ext cx="546533" cy="252492"/>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3462AB"/>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p>
        </p:txBody>
      </p:sp>
      <p:sp>
        <p:nvSpPr>
          <p:cNvPr id="44"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8963377" cy="795145"/>
          </a:xfrm>
        </p:spPr>
        <p:txBody>
          <a:bodyPr vert="horz"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smtClean="0">
                <a:solidFill>
                  <a:srgbClr val="085195"/>
                </a:solidFill>
                <a:latin typeface="Arial" panose="020B0604020202020204" pitchFamily="34" charset="0"/>
                <a:ea typeface="Urbanist" panose="020B0604020202020204" charset="0"/>
                <a:cs typeface="Arial" panose="020B0604020202020204" pitchFamily="34" charset="0"/>
              </a:rPr>
              <a:t> Χρηματοδοτικά Εργαλεία – Περιφέρεια Δυτικής Μακεδονίας</a:t>
            </a:r>
            <a:endParaRPr lang="el-GR" sz="2400" b="0" dirty="0">
              <a:solidFill>
                <a:srgbClr val="085195"/>
              </a:solidFill>
              <a:latin typeface="Arial" panose="020B0604020202020204" pitchFamily="34" charset="0"/>
              <a:ea typeface="Urbanist" panose="020B0604020202020204" charset="0"/>
              <a:cs typeface="Arial" panose="020B0604020202020204" pitchFamily="34" charset="0"/>
            </a:endParaRPr>
          </a:p>
        </p:txBody>
      </p:sp>
      <p:cxnSp>
        <p:nvCxnSpPr>
          <p:cNvPr id="45" name="Ευθεία γραμμή σύνδεσης 44">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46" name="Ομάδα 45">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47"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48"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ounded Rectangle 7">
            <a:extLst>
              <a:ext uri="{FF2B5EF4-FFF2-40B4-BE49-F238E27FC236}">
                <a16:creationId xmlns:a16="http://schemas.microsoft.com/office/drawing/2014/main" id="{301DA434-6101-032D-0D15-04C7994425EA}"/>
              </a:ext>
            </a:extLst>
          </p:cNvPr>
          <p:cNvSpPr/>
          <p:nvPr/>
        </p:nvSpPr>
        <p:spPr>
          <a:xfrm>
            <a:off x="6805237" y="4489648"/>
            <a:ext cx="5042471" cy="998787"/>
          </a:xfrm>
          <a:prstGeom prst="roundRect">
            <a:avLst>
              <a:gd name="adj" fmla="val 50000"/>
            </a:avLst>
          </a:prstGeom>
          <a:solidFill>
            <a:schemeClr val="tx2">
              <a:lumMod val="20000"/>
              <a:lumOff val="80000"/>
            </a:schemeClr>
          </a:solidFill>
          <a:ln w="19050">
            <a:solidFill>
              <a:srgbClr val="369089"/>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smtClean="0">
                <a:ln>
                  <a:noFill/>
                </a:ln>
                <a:solidFill>
                  <a:srgbClr val="297AB8"/>
                </a:solidFill>
                <a:effectLst/>
                <a:uLnTx/>
                <a:uFillTx/>
                <a:ea typeface="Urbanist" panose="020B0604020202020204" charset="0"/>
                <a:cs typeface="Urbanist" panose="020B0604020202020204" charset="0"/>
              </a:rPr>
              <a:t>  Συνολικά</a:t>
            </a:r>
            <a:r>
              <a:rPr kumimoji="0" lang="el-GR" sz="2400" b="1" i="0" u="none" strike="noStrike" kern="1200" cap="none" spc="0" normalizeH="0" baseline="0" noProof="0" dirty="0">
                <a:ln>
                  <a:noFill/>
                </a:ln>
                <a:solidFill>
                  <a:srgbClr val="297AB8"/>
                </a:solidFill>
                <a:effectLst/>
                <a:uLnTx/>
                <a:uFillTx/>
                <a:ea typeface="Urbanist" panose="020B0604020202020204" charset="0"/>
                <a:cs typeface="Urbanist" panose="020B0604020202020204" charset="0"/>
              </a:rPr>
              <a:t>:</a:t>
            </a:r>
            <a:r>
              <a:rPr lang="el-GR" sz="2400" b="1" kern="1200" dirty="0">
                <a:solidFill>
                  <a:srgbClr val="0F4E8C"/>
                </a:solidFill>
                <a:ea typeface="Urbanist" panose="020B0604020202020204" charset="0"/>
                <a:cs typeface="Urbanist" panose="020B0604020202020204" charset="0"/>
              </a:rPr>
              <a:t>  </a:t>
            </a:r>
            <a:r>
              <a:rPr lang="el-GR" sz="2800" b="1" kern="1200" dirty="0">
                <a:solidFill>
                  <a:srgbClr val="3C918B"/>
                </a:solidFill>
                <a:ea typeface="Urbanist" panose="020B0604020202020204" charset="0"/>
                <a:cs typeface="Urbanist" panose="020B0604020202020204" charset="0"/>
              </a:rPr>
              <a:t>1,15 δισ.€</a:t>
            </a:r>
            <a:endParaRPr kumimoji="0" lang="el-GR" sz="2800" b="1" i="0" u="none" strike="noStrike" kern="1200" cap="none" spc="0" normalizeH="0" baseline="0" noProof="0" dirty="0">
              <a:ln>
                <a:noFill/>
              </a:ln>
              <a:solidFill>
                <a:srgbClr val="3C918B"/>
              </a:solidFill>
              <a:effectLst/>
              <a:uLnTx/>
              <a:uFillTx/>
              <a:ea typeface="Urbanist" panose="020B0604020202020204" charset="0"/>
              <a:cs typeface="Urbanist" panose="020B0604020202020204" charset="0"/>
            </a:endParaRPr>
          </a:p>
        </p:txBody>
      </p:sp>
      <p:grpSp>
        <p:nvGrpSpPr>
          <p:cNvPr id="58" name="Google Shape;8174;p58"/>
          <p:cNvGrpSpPr/>
          <p:nvPr/>
        </p:nvGrpSpPr>
        <p:grpSpPr>
          <a:xfrm>
            <a:off x="7150476" y="4703966"/>
            <a:ext cx="479459" cy="471879"/>
            <a:chOff x="4687894" y="2289713"/>
            <a:chExt cx="359594" cy="353909"/>
          </a:xfrm>
        </p:grpSpPr>
        <p:sp>
          <p:nvSpPr>
            <p:cNvPr id="59" name="Google Shape;8175;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solidFill>
                <a:srgbClr val="369089"/>
              </a:solid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latin typeface="+mn-lt"/>
              </a:endParaRPr>
            </a:p>
          </p:txBody>
        </p:sp>
        <p:sp>
          <p:nvSpPr>
            <p:cNvPr id="60" name="Google Shape;8176;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solidFill>
                <a:srgbClr val="369089"/>
              </a:solid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latin typeface="+mn-lt"/>
              </a:endParaRPr>
            </a:p>
          </p:txBody>
        </p:sp>
        <p:sp>
          <p:nvSpPr>
            <p:cNvPr id="61" name="Google Shape;8177;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solidFill>
                <a:srgbClr val="369089"/>
              </a:solid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latin typeface="+mn-lt"/>
              </a:endParaRPr>
            </a:p>
          </p:txBody>
        </p:sp>
      </p:grpSp>
      <p:sp>
        <p:nvSpPr>
          <p:cNvPr id="144" name="Google Shape;490;p30">
            <a:extLst>
              <a:ext uri="{FF2B5EF4-FFF2-40B4-BE49-F238E27FC236}">
                <a16:creationId xmlns:a16="http://schemas.microsoft.com/office/drawing/2014/main" id="{182653EC-0BC0-4CFE-BD68-4DC5A8241E47}"/>
              </a:ext>
            </a:extLst>
          </p:cNvPr>
          <p:cNvSpPr/>
          <p:nvPr/>
        </p:nvSpPr>
        <p:spPr>
          <a:xfrm>
            <a:off x="2154936" y="4585335"/>
            <a:ext cx="2333937" cy="894492"/>
          </a:xfrm>
          <a:custGeom>
            <a:avLst/>
            <a:gdLst/>
            <a:ahLst/>
            <a:cxnLst/>
            <a:rect l="l" t="t" r="r" b="b"/>
            <a:pathLst>
              <a:path w="3182683" h="845438" extrusionOk="0">
                <a:moveTo>
                  <a:pt x="3182684" y="163830"/>
                </a:moveTo>
                <a:lnTo>
                  <a:pt x="3182684" y="681609"/>
                </a:lnTo>
                <a:cubicBezTo>
                  <a:pt x="3182684" y="772097"/>
                  <a:pt x="3129058" y="845439"/>
                  <a:pt x="3062954" y="845439"/>
                </a:cubicBezTo>
                <a:lnTo>
                  <a:pt x="119729" y="845439"/>
                </a:lnTo>
                <a:cubicBezTo>
                  <a:pt x="53626" y="845439"/>
                  <a:pt x="0" y="772097"/>
                  <a:pt x="0" y="681609"/>
                </a:cubicBezTo>
                <a:lnTo>
                  <a:pt x="0" y="163830"/>
                </a:lnTo>
                <a:cubicBezTo>
                  <a:pt x="0" y="73438"/>
                  <a:pt x="53626" y="0"/>
                  <a:pt x="119729" y="0"/>
                </a:cubicBezTo>
                <a:lnTo>
                  <a:pt x="3062954" y="0"/>
                </a:lnTo>
                <a:cubicBezTo>
                  <a:pt x="3129058" y="0"/>
                  <a:pt x="3182684" y="73438"/>
                  <a:pt x="3182684" y="163830"/>
                </a:cubicBezTo>
                <a:close/>
              </a:path>
            </a:pathLst>
          </a:custGeom>
          <a:solidFill>
            <a:srgbClr val="FFEAC4"/>
          </a:solid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1219170" eaLnBrk="1" fontAlgn="auto" latinLnBrk="0" hangingPunct="1">
              <a:lnSpc>
                <a:spcPct val="100000"/>
              </a:lnSpc>
              <a:spcBef>
                <a:spcPts val="0"/>
              </a:spcBef>
              <a:spcAft>
                <a:spcPts val="0"/>
              </a:spcAft>
              <a:buClrTx/>
              <a:buSzTx/>
              <a:buFontTx/>
              <a:buNone/>
              <a:tabLst/>
              <a:defRPr/>
            </a:pPr>
            <a:r>
              <a:rPr lang="el-GR" sz="2667" b="1" kern="0" dirty="0">
                <a:solidFill>
                  <a:srgbClr val="005E88"/>
                </a:solidFill>
                <a:ea typeface="Urbanist" panose="020B0604020202020204" charset="0"/>
                <a:cs typeface="Urbanist" panose="020B0604020202020204" charset="0"/>
                <a:sym typeface="Calibri"/>
              </a:rPr>
              <a:t>ΕΣΠΑ </a:t>
            </a:r>
          </a:p>
          <a:p>
            <a:pPr marL="0" marR="0" lvl="0" indent="0" algn="ctr" defTabSz="1219170" eaLnBrk="1" fontAlgn="auto" latinLnBrk="0" hangingPunct="1">
              <a:lnSpc>
                <a:spcPct val="100000"/>
              </a:lnSpc>
              <a:spcBef>
                <a:spcPts val="0"/>
              </a:spcBef>
              <a:spcAft>
                <a:spcPts val="0"/>
              </a:spcAft>
              <a:buClrTx/>
              <a:buSzTx/>
              <a:buFontTx/>
              <a:buNone/>
              <a:tabLst/>
              <a:defRPr/>
            </a:pPr>
            <a:r>
              <a:rPr lang="el-GR" sz="2667" b="1" kern="0" dirty="0">
                <a:solidFill>
                  <a:srgbClr val="005E88"/>
                </a:solidFill>
                <a:ea typeface="Urbanist" panose="020B0604020202020204" charset="0"/>
                <a:cs typeface="Urbanist" panose="020B0604020202020204" charset="0"/>
                <a:sym typeface="Calibri"/>
              </a:rPr>
              <a:t>2021 - 2027</a:t>
            </a:r>
            <a:endParaRPr kumimoji="0" sz="2667" b="1" i="0" u="none" strike="noStrike" kern="0" cap="none" spc="0" normalizeH="0" baseline="0" noProof="0" dirty="0">
              <a:ln>
                <a:noFill/>
              </a:ln>
              <a:solidFill>
                <a:srgbClr val="005E88"/>
              </a:solidFill>
              <a:effectLst/>
              <a:uLnTx/>
              <a:uFillTx/>
              <a:ea typeface="Urbanist" panose="020B0604020202020204" charset="0"/>
              <a:cs typeface="Urbanist" panose="020B0604020202020204" charset="0"/>
              <a:sym typeface="Calibri"/>
            </a:endParaRPr>
          </a:p>
        </p:txBody>
      </p:sp>
      <p:sp>
        <p:nvSpPr>
          <p:cNvPr id="145" name="Ορθογώνιο 144">
            <a:extLst>
              <a:ext uri="{FF2B5EF4-FFF2-40B4-BE49-F238E27FC236}">
                <a16:creationId xmlns:a16="http://schemas.microsoft.com/office/drawing/2014/main" id="{409D9307-403D-496A-AD0C-4047B6CD3866}"/>
              </a:ext>
            </a:extLst>
          </p:cNvPr>
          <p:cNvSpPr/>
          <p:nvPr/>
        </p:nvSpPr>
        <p:spPr>
          <a:xfrm>
            <a:off x="2303162" y="5747250"/>
            <a:ext cx="5064116" cy="461665"/>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2400" dirty="0">
                <a:solidFill>
                  <a:srgbClr val="00B0F0"/>
                </a:solidFill>
                <a:latin typeface="Arial Black" panose="020B0A04020102020204" pitchFamily="34" charset="0"/>
                <a:cs typeface="Calibri" panose="020F0502020204030204" pitchFamily="34" charset="0"/>
              </a:rPr>
              <a:t>3</a:t>
            </a:r>
            <a:r>
              <a:rPr lang="el-GR" sz="2400" dirty="0">
                <a:solidFill>
                  <a:srgbClr val="00B0F0"/>
                </a:solidFill>
                <a:latin typeface="Arial Black" panose="020B0A04020102020204" pitchFamily="34" charset="0"/>
                <a:cs typeface="Calibri" panose="020F0502020204030204" pitchFamily="34" charset="0"/>
              </a:rPr>
              <a:t>4,</a:t>
            </a:r>
            <a:r>
              <a:rPr lang="en-US" sz="2400" dirty="0">
                <a:solidFill>
                  <a:srgbClr val="00B0F0"/>
                </a:solidFill>
                <a:latin typeface="Arial Black" panose="020B0A04020102020204" pitchFamily="34" charset="0"/>
                <a:cs typeface="Calibri" panose="020F0502020204030204" pitchFamily="34" charset="0"/>
              </a:rPr>
              <a:t>1</a:t>
            </a:r>
            <a:r>
              <a:rPr lang="el-GR" sz="2400" dirty="0">
                <a:solidFill>
                  <a:srgbClr val="00B0F0"/>
                </a:solidFill>
                <a:latin typeface="Arial Black" panose="020B0A04020102020204" pitchFamily="34" charset="0"/>
                <a:cs typeface="Calibri" panose="020F0502020204030204" pitchFamily="34" charset="0"/>
              </a:rPr>
              <a:t>%</a:t>
            </a:r>
            <a:r>
              <a:rPr lang="el-GR" sz="2400" dirty="0">
                <a:solidFill>
                  <a:srgbClr val="FF0000"/>
                </a:solidFill>
                <a:latin typeface="Arial Black" panose="020B0A04020102020204" pitchFamily="34" charset="0"/>
                <a:cs typeface="Calibri" panose="020F0502020204030204" pitchFamily="34" charset="0"/>
              </a:rPr>
              <a:t> </a:t>
            </a:r>
            <a:r>
              <a:rPr lang="el-GR" sz="2000" dirty="0">
                <a:solidFill>
                  <a:srgbClr val="002060"/>
                </a:solidFill>
                <a:cs typeface="Calibri" panose="020F0502020204030204" pitchFamily="34" charset="0"/>
              </a:rPr>
              <a:t>σε σχέση με την ΠΠ 2014-2020</a:t>
            </a:r>
            <a:endParaRPr lang="el-GR" sz="2000" dirty="0"/>
          </a:p>
        </p:txBody>
      </p:sp>
      <p:grpSp>
        <p:nvGrpSpPr>
          <p:cNvPr id="146" name="Google Shape;1978;p60">
            <a:extLst>
              <a:ext uri="{FF2B5EF4-FFF2-40B4-BE49-F238E27FC236}">
                <a16:creationId xmlns:a16="http://schemas.microsoft.com/office/drawing/2014/main" id="{7EA65A9D-2B7D-46CF-8DCF-7E72D0A4A680}"/>
              </a:ext>
            </a:extLst>
          </p:cNvPr>
          <p:cNvGrpSpPr/>
          <p:nvPr/>
        </p:nvGrpSpPr>
        <p:grpSpPr>
          <a:xfrm rot="16200000">
            <a:off x="1220500" y="5110873"/>
            <a:ext cx="1421785" cy="1055527"/>
            <a:chOff x="4943575" y="2516350"/>
            <a:chExt cx="98675" cy="81700"/>
          </a:xfrm>
          <a:solidFill>
            <a:srgbClr val="00B0F0"/>
          </a:solidFill>
        </p:grpSpPr>
        <p:sp>
          <p:nvSpPr>
            <p:cNvPr id="147" name="Google Shape;1979;p60">
              <a:extLst>
                <a:ext uri="{FF2B5EF4-FFF2-40B4-BE49-F238E27FC236}">
                  <a16:creationId xmlns:a16="http://schemas.microsoft.com/office/drawing/2014/main" id="{C5483FEB-8F2F-4FF6-BE5F-F28902DA4B9F}"/>
                </a:ext>
              </a:extLst>
            </p:cNvPr>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48" name="Google Shape;1980;p60">
              <a:extLst>
                <a:ext uri="{FF2B5EF4-FFF2-40B4-BE49-F238E27FC236}">
                  <a16:creationId xmlns:a16="http://schemas.microsoft.com/office/drawing/2014/main" id="{BDF3EB0E-A4F1-497A-B3DB-1616629923DD}"/>
                </a:ext>
              </a:extLst>
            </p:cNvPr>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49" name="Google Shape;1981;p60">
              <a:extLst>
                <a:ext uri="{FF2B5EF4-FFF2-40B4-BE49-F238E27FC236}">
                  <a16:creationId xmlns:a16="http://schemas.microsoft.com/office/drawing/2014/main" id="{8EDED10C-30FB-4AA5-A17A-E0DFCF844EDF}"/>
                </a:ext>
              </a:extLst>
            </p:cNvPr>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50" name="Google Shape;1982;p60">
              <a:extLst>
                <a:ext uri="{FF2B5EF4-FFF2-40B4-BE49-F238E27FC236}">
                  <a16:creationId xmlns:a16="http://schemas.microsoft.com/office/drawing/2014/main" id="{17A0FFAF-BE02-4933-805D-38A32E7B21D8}"/>
                </a:ext>
              </a:extLst>
            </p:cNvPr>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51" name="Google Shape;1983;p60">
              <a:extLst>
                <a:ext uri="{FF2B5EF4-FFF2-40B4-BE49-F238E27FC236}">
                  <a16:creationId xmlns:a16="http://schemas.microsoft.com/office/drawing/2014/main" id="{F528BD5F-5A0C-4634-96A5-3A1C5C0565EE}"/>
                </a:ext>
              </a:extLst>
            </p:cNvPr>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52" name="Google Shape;1984;p60">
              <a:extLst>
                <a:ext uri="{FF2B5EF4-FFF2-40B4-BE49-F238E27FC236}">
                  <a16:creationId xmlns:a16="http://schemas.microsoft.com/office/drawing/2014/main" id="{96FC46AF-F8D9-4E10-9BDF-2B88F65A5F57}"/>
                </a:ext>
              </a:extLst>
            </p:cNvPr>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53" name="Google Shape;1985;p60">
              <a:extLst>
                <a:ext uri="{FF2B5EF4-FFF2-40B4-BE49-F238E27FC236}">
                  <a16:creationId xmlns:a16="http://schemas.microsoft.com/office/drawing/2014/main" id="{202835DC-F35B-4C54-A2A0-D397CB6E62B3}"/>
                </a:ext>
              </a:extLst>
            </p:cNvPr>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54" name="Google Shape;1986;p60">
              <a:extLst>
                <a:ext uri="{FF2B5EF4-FFF2-40B4-BE49-F238E27FC236}">
                  <a16:creationId xmlns:a16="http://schemas.microsoft.com/office/drawing/2014/main" id="{E282F439-7602-4B88-9E8B-DF4AB695AB88}"/>
                </a:ext>
              </a:extLst>
            </p:cNvPr>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55" name="Google Shape;1987;p60">
              <a:extLst>
                <a:ext uri="{FF2B5EF4-FFF2-40B4-BE49-F238E27FC236}">
                  <a16:creationId xmlns:a16="http://schemas.microsoft.com/office/drawing/2014/main" id="{0DEFC75C-CC44-4FC2-923B-486FCCCEEDB1}"/>
                </a:ext>
              </a:extLst>
            </p:cNvPr>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56" name="Google Shape;1988;p60">
              <a:extLst>
                <a:ext uri="{FF2B5EF4-FFF2-40B4-BE49-F238E27FC236}">
                  <a16:creationId xmlns:a16="http://schemas.microsoft.com/office/drawing/2014/main" id="{9F7BDCFB-466E-4AD9-A129-AE65A26E92EB}"/>
                </a:ext>
              </a:extLst>
            </p:cNvPr>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57" name="Google Shape;1989;p60">
              <a:extLst>
                <a:ext uri="{FF2B5EF4-FFF2-40B4-BE49-F238E27FC236}">
                  <a16:creationId xmlns:a16="http://schemas.microsoft.com/office/drawing/2014/main" id="{61236E80-7200-4395-A966-811C95AFDEBE}"/>
                </a:ext>
              </a:extLst>
            </p:cNvPr>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58" name="Google Shape;1990;p60">
              <a:extLst>
                <a:ext uri="{FF2B5EF4-FFF2-40B4-BE49-F238E27FC236}">
                  <a16:creationId xmlns:a16="http://schemas.microsoft.com/office/drawing/2014/main" id="{2F88867A-398C-42BB-90A2-B7C6F2F70766}"/>
                </a:ext>
              </a:extLst>
            </p:cNvPr>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59" name="Google Shape;1991;p60">
              <a:extLst>
                <a:ext uri="{FF2B5EF4-FFF2-40B4-BE49-F238E27FC236}">
                  <a16:creationId xmlns:a16="http://schemas.microsoft.com/office/drawing/2014/main" id="{C4FB5B7D-0A30-4EB7-A6DC-38CAD5043880}"/>
                </a:ext>
              </a:extLst>
            </p:cNvPr>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60" name="Google Shape;1992;p60">
              <a:extLst>
                <a:ext uri="{FF2B5EF4-FFF2-40B4-BE49-F238E27FC236}">
                  <a16:creationId xmlns:a16="http://schemas.microsoft.com/office/drawing/2014/main" id="{9BFF342F-74A9-4BDC-A1C6-C6D149B87A5A}"/>
                </a:ext>
              </a:extLst>
            </p:cNvPr>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61" name="Google Shape;1993;p60">
              <a:extLst>
                <a:ext uri="{FF2B5EF4-FFF2-40B4-BE49-F238E27FC236}">
                  <a16:creationId xmlns:a16="http://schemas.microsoft.com/office/drawing/2014/main" id="{4E8695D8-6920-4FFF-BB7B-E606DB6FFF89}"/>
                </a:ext>
              </a:extLst>
            </p:cNvPr>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62" name="Google Shape;1994;p60">
              <a:extLst>
                <a:ext uri="{FF2B5EF4-FFF2-40B4-BE49-F238E27FC236}">
                  <a16:creationId xmlns:a16="http://schemas.microsoft.com/office/drawing/2014/main" id="{DC185089-E0EB-4C3E-9CEE-FBB1D926BC27}"/>
                </a:ext>
              </a:extLst>
            </p:cNvPr>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63" name="Google Shape;1995;p60">
              <a:extLst>
                <a:ext uri="{FF2B5EF4-FFF2-40B4-BE49-F238E27FC236}">
                  <a16:creationId xmlns:a16="http://schemas.microsoft.com/office/drawing/2014/main" id="{D22D5D76-4CD4-4C76-99FD-58D18261F92D}"/>
                </a:ext>
              </a:extLst>
            </p:cNvPr>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64" name="Google Shape;1996;p60">
              <a:extLst>
                <a:ext uri="{FF2B5EF4-FFF2-40B4-BE49-F238E27FC236}">
                  <a16:creationId xmlns:a16="http://schemas.microsoft.com/office/drawing/2014/main" id="{D8A2249A-E4F0-419F-BE99-141880C79917}"/>
                </a:ext>
              </a:extLst>
            </p:cNvPr>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65" name="Google Shape;1997;p60">
              <a:extLst>
                <a:ext uri="{FF2B5EF4-FFF2-40B4-BE49-F238E27FC236}">
                  <a16:creationId xmlns:a16="http://schemas.microsoft.com/office/drawing/2014/main" id="{0F24022E-2BFA-4E15-84EE-82A4391D0A86}"/>
                </a:ext>
              </a:extLst>
            </p:cNvPr>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66" name="Google Shape;1998;p60">
              <a:extLst>
                <a:ext uri="{FF2B5EF4-FFF2-40B4-BE49-F238E27FC236}">
                  <a16:creationId xmlns:a16="http://schemas.microsoft.com/office/drawing/2014/main" id="{108354BD-B84D-455A-BB9F-7C680338EB95}"/>
                </a:ext>
              </a:extLst>
            </p:cNvPr>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67" name="Google Shape;1999;p60">
              <a:extLst>
                <a:ext uri="{FF2B5EF4-FFF2-40B4-BE49-F238E27FC236}">
                  <a16:creationId xmlns:a16="http://schemas.microsoft.com/office/drawing/2014/main" id="{0D86D12D-B683-4E8E-BCE6-050F45419739}"/>
                </a:ext>
              </a:extLst>
            </p:cNvPr>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68" name="Google Shape;2000;p60">
              <a:extLst>
                <a:ext uri="{FF2B5EF4-FFF2-40B4-BE49-F238E27FC236}">
                  <a16:creationId xmlns:a16="http://schemas.microsoft.com/office/drawing/2014/main" id="{3F59D480-8B2D-499E-82C9-F11B4581EEB3}"/>
                </a:ext>
              </a:extLst>
            </p:cNvPr>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69" name="Google Shape;2001;p60">
              <a:extLst>
                <a:ext uri="{FF2B5EF4-FFF2-40B4-BE49-F238E27FC236}">
                  <a16:creationId xmlns:a16="http://schemas.microsoft.com/office/drawing/2014/main" id="{3A4CD033-94BB-4F55-8904-89F924D10D2B}"/>
                </a:ext>
              </a:extLst>
            </p:cNvPr>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70" name="Google Shape;2002;p60">
              <a:extLst>
                <a:ext uri="{FF2B5EF4-FFF2-40B4-BE49-F238E27FC236}">
                  <a16:creationId xmlns:a16="http://schemas.microsoft.com/office/drawing/2014/main" id="{48BDE3D3-33A5-4CC7-99F1-4D459E3E2309}"/>
                </a:ext>
              </a:extLst>
            </p:cNvPr>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71" name="Google Shape;2003;p60">
              <a:extLst>
                <a:ext uri="{FF2B5EF4-FFF2-40B4-BE49-F238E27FC236}">
                  <a16:creationId xmlns:a16="http://schemas.microsoft.com/office/drawing/2014/main" id="{79FB7163-E315-487D-A816-53728BC7E854}"/>
                </a:ext>
              </a:extLst>
            </p:cNvPr>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72" name="Google Shape;2004;p60">
              <a:extLst>
                <a:ext uri="{FF2B5EF4-FFF2-40B4-BE49-F238E27FC236}">
                  <a16:creationId xmlns:a16="http://schemas.microsoft.com/office/drawing/2014/main" id="{BD0322CA-5CB6-4A9F-B273-FB16D14616BA}"/>
                </a:ext>
              </a:extLst>
            </p:cNvPr>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73" name="Google Shape;2005;p60">
              <a:extLst>
                <a:ext uri="{FF2B5EF4-FFF2-40B4-BE49-F238E27FC236}">
                  <a16:creationId xmlns:a16="http://schemas.microsoft.com/office/drawing/2014/main" id="{0F1CCB23-40B5-463C-9AC9-02B36CC125F5}"/>
                </a:ext>
              </a:extLst>
            </p:cNvPr>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74" name="Google Shape;2006;p60">
              <a:extLst>
                <a:ext uri="{FF2B5EF4-FFF2-40B4-BE49-F238E27FC236}">
                  <a16:creationId xmlns:a16="http://schemas.microsoft.com/office/drawing/2014/main" id="{7F6AA60E-09EE-4FF1-BBD6-4E7AEAD23003}"/>
                </a:ext>
              </a:extLst>
            </p:cNvPr>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75" name="Google Shape;2007;p60">
              <a:extLst>
                <a:ext uri="{FF2B5EF4-FFF2-40B4-BE49-F238E27FC236}">
                  <a16:creationId xmlns:a16="http://schemas.microsoft.com/office/drawing/2014/main" id="{F4E89E25-C802-4B36-A0A5-0F820E922103}"/>
                </a:ext>
              </a:extLst>
            </p:cNvPr>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76" name="Google Shape;2008;p60">
              <a:extLst>
                <a:ext uri="{FF2B5EF4-FFF2-40B4-BE49-F238E27FC236}">
                  <a16:creationId xmlns:a16="http://schemas.microsoft.com/office/drawing/2014/main" id="{78C52403-0B88-422A-B040-5B75112B55C3}"/>
                </a:ext>
              </a:extLst>
            </p:cNvPr>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77" name="Google Shape;2009;p60">
              <a:extLst>
                <a:ext uri="{FF2B5EF4-FFF2-40B4-BE49-F238E27FC236}">
                  <a16:creationId xmlns:a16="http://schemas.microsoft.com/office/drawing/2014/main" id="{98EFE436-A6A2-4D98-8787-4AFBFEAEA890}"/>
                </a:ext>
              </a:extLst>
            </p:cNvPr>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78" name="Google Shape;2010;p60">
              <a:extLst>
                <a:ext uri="{FF2B5EF4-FFF2-40B4-BE49-F238E27FC236}">
                  <a16:creationId xmlns:a16="http://schemas.microsoft.com/office/drawing/2014/main" id="{37357267-755B-49A6-9966-7C4E345F118C}"/>
                </a:ext>
              </a:extLst>
            </p:cNvPr>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79" name="Google Shape;2011;p60">
              <a:extLst>
                <a:ext uri="{FF2B5EF4-FFF2-40B4-BE49-F238E27FC236}">
                  <a16:creationId xmlns:a16="http://schemas.microsoft.com/office/drawing/2014/main" id="{37F73839-8BC6-4A11-8015-8EA23E196599}"/>
                </a:ext>
              </a:extLst>
            </p:cNvPr>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80" name="Google Shape;2012;p60">
              <a:extLst>
                <a:ext uri="{FF2B5EF4-FFF2-40B4-BE49-F238E27FC236}">
                  <a16:creationId xmlns:a16="http://schemas.microsoft.com/office/drawing/2014/main" id="{D1E16D40-8A54-4532-9AE1-72487992CC69}"/>
                </a:ext>
              </a:extLst>
            </p:cNvPr>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81" name="Google Shape;2013;p60">
              <a:extLst>
                <a:ext uri="{FF2B5EF4-FFF2-40B4-BE49-F238E27FC236}">
                  <a16:creationId xmlns:a16="http://schemas.microsoft.com/office/drawing/2014/main" id="{8D93F182-1532-4C21-8873-C04CBE5A9B8C}"/>
                </a:ext>
              </a:extLst>
            </p:cNvPr>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82" name="Google Shape;2014;p60">
              <a:extLst>
                <a:ext uri="{FF2B5EF4-FFF2-40B4-BE49-F238E27FC236}">
                  <a16:creationId xmlns:a16="http://schemas.microsoft.com/office/drawing/2014/main" id="{7954BAFE-E5C4-4DDE-B35E-03CF052DFDBE}"/>
                </a:ext>
              </a:extLst>
            </p:cNvPr>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83" name="Google Shape;2015;p60">
              <a:extLst>
                <a:ext uri="{FF2B5EF4-FFF2-40B4-BE49-F238E27FC236}">
                  <a16:creationId xmlns:a16="http://schemas.microsoft.com/office/drawing/2014/main" id="{2D3A02A6-2A3D-48B4-95E6-D3BB745B3520}"/>
                </a:ext>
              </a:extLst>
            </p:cNvPr>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84" name="Google Shape;2016;p60">
              <a:extLst>
                <a:ext uri="{FF2B5EF4-FFF2-40B4-BE49-F238E27FC236}">
                  <a16:creationId xmlns:a16="http://schemas.microsoft.com/office/drawing/2014/main" id="{14BEBF85-533E-4360-B409-5812A68D0D46}"/>
                </a:ext>
              </a:extLst>
            </p:cNvPr>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85" name="Google Shape;2017;p60">
              <a:extLst>
                <a:ext uri="{FF2B5EF4-FFF2-40B4-BE49-F238E27FC236}">
                  <a16:creationId xmlns:a16="http://schemas.microsoft.com/office/drawing/2014/main" id="{1EC6EF16-2EFB-4F76-B015-394DD03176E2}"/>
                </a:ext>
              </a:extLst>
            </p:cNvPr>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86" name="Google Shape;2018;p60">
              <a:extLst>
                <a:ext uri="{FF2B5EF4-FFF2-40B4-BE49-F238E27FC236}">
                  <a16:creationId xmlns:a16="http://schemas.microsoft.com/office/drawing/2014/main" id="{B153DF14-2B09-43B7-BC5E-242D76C4C0A1}"/>
                </a:ext>
              </a:extLst>
            </p:cNvPr>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87" name="Google Shape;2019;p60">
              <a:extLst>
                <a:ext uri="{FF2B5EF4-FFF2-40B4-BE49-F238E27FC236}">
                  <a16:creationId xmlns:a16="http://schemas.microsoft.com/office/drawing/2014/main" id="{21C0BECD-C019-4BCD-B7C8-442DB8033D75}"/>
                </a:ext>
              </a:extLst>
            </p:cNvPr>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88" name="Google Shape;2020;p60">
              <a:extLst>
                <a:ext uri="{FF2B5EF4-FFF2-40B4-BE49-F238E27FC236}">
                  <a16:creationId xmlns:a16="http://schemas.microsoft.com/office/drawing/2014/main" id="{20D1B3FC-924E-41D6-8DC6-0E1D3B371494}"/>
                </a:ext>
              </a:extLst>
            </p:cNvPr>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89" name="Google Shape;2021;p60">
              <a:extLst>
                <a:ext uri="{FF2B5EF4-FFF2-40B4-BE49-F238E27FC236}">
                  <a16:creationId xmlns:a16="http://schemas.microsoft.com/office/drawing/2014/main" id="{A2E3CE38-E11A-448D-B488-B50D0792D1D6}"/>
                </a:ext>
              </a:extLst>
            </p:cNvPr>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90" name="Google Shape;2022;p60">
              <a:extLst>
                <a:ext uri="{FF2B5EF4-FFF2-40B4-BE49-F238E27FC236}">
                  <a16:creationId xmlns:a16="http://schemas.microsoft.com/office/drawing/2014/main" id="{1EDBEBD1-D12A-4C69-93FE-28183E4978D2}"/>
                </a:ext>
              </a:extLst>
            </p:cNvPr>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91" name="Google Shape;2023;p60">
              <a:extLst>
                <a:ext uri="{FF2B5EF4-FFF2-40B4-BE49-F238E27FC236}">
                  <a16:creationId xmlns:a16="http://schemas.microsoft.com/office/drawing/2014/main" id="{985099A4-C4C9-4713-B385-777B9DC4AC11}"/>
                </a:ext>
              </a:extLst>
            </p:cNvPr>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92" name="Google Shape;2024;p60">
              <a:extLst>
                <a:ext uri="{FF2B5EF4-FFF2-40B4-BE49-F238E27FC236}">
                  <a16:creationId xmlns:a16="http://schemas.microsoft.com/office/drawing/2014/main" id="{8C17E8B5-4391-480A-8BD9-0690B32C3370}"/>
                </a:ext>
              </a:extLst>
            </p:cNvPr>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93" name="Google Shape;2025;p60">
              <a:extLst>
                <a:ext uri="{FF2B5EF4-FFF2-40B4-BE49-F238E27FC236}">
                  <a16:creationId xmlns:a16="http://schemas.microsoft.com/office/drawing/2014/main" id="{41A31823-2068-4C10-AFBD-088CBA3DF4D7}"/>
                </a:ext>
              </a:extLst>
            </p:cNvPr>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94" name="Google Shape;2026;p60">
              <a:extLst>
                <a:ext uri="{FF2B5EF4-FFF2-40B4-BE49-F238E27FC236}">
                  <a16:creationId xmlns:a16="http://schemas.microsoft.com/office/drawing/2014/main" id="{8C135927-F329-4393-9531-8696CDC9F7BA}"/>
                </a:ext>
              </a:extLst>
            </p:cNvPr>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95" name="Google Shape;2027;p60">
              <a:extLst>
                <a:ext uri="{FF2B5EF4-FFF2-40B4-BE49-F238E27FC236}">
                  <a16:creationId xmlns:a16="http://schemas.microsoft.com/office/drawing/2014/main" id="{DEEB8976-E670-4184-8E02-9D553AD3FC79}"/>
                </a:ext>
              </a:extLst>
            </p:cNvPr>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96" name="Google Shape;2028;p60">
              <a:extLst>
                <a:ext uri="{FF2B5EF4-FFF2-40B4-BE49-F238E27FC236}">
                  <a16:creationId xmlns:a16="http://schemas.microsoft.com/office/drawing/2014/main" id="{B1012AD8-DB84-4D60-82DB-61F0B827ECD1}"/>
                </a:ext>
              </a:extLst>
            </p:cNvPr>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97" name="Google Shape;2029;p60">
              <a:extLst>
                <a:ext uri="{FF2B5EF4-FFF2-40B4-BE49-F238E27FC236}">
                  <a16:creationId xmlns:a16="http://schemas.microsoft.com/office/drawing/2014/main" id="{9EC75F4A-C98C-4D71-BC64-41667BEB5A19}"/>
                </a:ext>
              </a:extLst>
            </p:cNvPr>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98" name="Google Shape;2030;p60">
              <a:extLst>
                <a:ext uri="{FF2B5EF4-FFF2-40B4-BE49-F238E27FC236}">
                  <a16:creationId xmlns:a16="http://schemas.microsoft.com/office/drawing/2014/main" id="{9FB4B195-87BB-4ADE-B8D0-35BF4308766F}"/>
                </a:ext>
              </a:extLst>
            </p:cNvPr>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199" name="Google Shape;2031;p60">
              <a:extLst>
                <a:ext uri="{FF2B5EF4-FFF2-40B4-BE49-F238E27FC236}">
                  <a16:creationId xmlns:a16="http://schemas.microsoft.com/office/drawing/2014/main" id="{031D1B7F-841D-41BD-AA75-914E951B181C}"/>
                </a:ext>
              </a:extLst>
            </p:cNvPr>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00" name="Google Shape;2032;p60">
              <a:extLst>
                <a:ext uri="{FF2B5EF4-FFF2-40B4-BE49-F238E27FC236}">
                  <a16:creationId xmlns:a16="http://schemas.microsoft.com/office/drawing/2014/main" id="{212BC56D-F588-49C7-9B2F-12AAA0EE2D28}"/>
                </a:ext>
              </a:extLst>
            </p:cNvPr>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01" name="Google Shape;2033;p60">
              <a:extLst>
                <a:ext uri="{FF2B5EF4-FFF2-40B4-BE49-F238E27FC236}">
                  <a16:creationId xmlns:a16="http://schemas.microsoft.com/office/drawing/2014/main" id="{EB2189B4-3323-4DF9-8501-149ADF4C5ABF}"/>
                </a:ext>
              </a:extLst>
            </p:cNvPr>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02" name="Google Shape;2034;p60">
              <a:extLst>
                <a:ext uri="{FF2B5EF4-FFF2-40B4-BE49-F238E27FC236}">
                  <a16:creationId xmlns:a16="http://schemas.microsoft.com/office/drawing/2014/main" id="{CBC16D13-A7A8-4068-883F-6BA34C65BDA2}"/>
                </a:ext>
              </a:extLst>
            </p:cNvPr>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03" name="Google Shape;2035;p60">
              <a:extLst>
                <a:ext uri="{FF2B5EF4-FFF2-40B4-BE49-F238E27FC236}">
                  <a16:creationId xmlns:a16="http://schemas.microsoft.com/office/drawing/2014/main" id="{93CD593E-B9D5-4DE3-9810-103ED32BD0EC}"/>
                </a:ext>
              </a:extLst>
            </p:cNvPr>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04" name="Google Shape;2036;p60">
              <a:extLst>
                <a:ext uri="{FF2B5EF4-FFF2-40B4-BE49-F238E27FC236}">
                  <a16:creationId xmlns:a16="http://schemas.microsoft.com/office/drawing/2014/main" id="{9FA34A68-69AC-4DF1-8C52-4EA57877DC14}"/>
                </a:ext>
              </a:extLst>
            </p:cNvPr>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05" name="Google Shape;2037;p60">
              <a:extLst>
                <a:ext uri="{FF2B5EF4-FFF2-40B4-BE49-F238E27FC236}">
                  <a16:creationId xmlns:a16="http://schemas.microsoft.com/office/drawing/2014/main" id="{15475027-0E40-4FD4-9555-BF52B490AA27}"/>
                </a:ext>
              </a:extLst>
            </p:cNvPr>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06" name="Google Shape;2038;p60">
              <a:extLst>
                <a:ext uri="{FF2B5EF4-FFF2-40B4-BE49-F238E27FC236}">
                  <a16:creationId xmlns:a16="http://schemas.microsoft.com/office/drawing/2014/main" id="{E21952C1-7B90-4F67-8FDD-28A84577A229}"/>
                </a:ext>
              </a:extLst>
            </p:cNvPr>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07" name="Google Shape;2039;p60">
              <a:extLst>
                <a:ext uri="{FF2B5EF4-FFF2-40B4-BE49-F238E27FC236}">
                  <a16:creationId xmlns:a16="http://schemas.microsoft.com/office/drawing/2014/main" id="{EEEC11F9-8F8D-48B0-A6E0-0B81D5AC2D61}"/>
                </a:ext>
              </a:extLst>
            </p:cNvPr>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08" name="Google Shape;2040;p60">
              <a:extLst>
                <a:ext uri="{FF2B5EF4-FFF2-40B4-BE49-F238E27FC236}">
                  <a16:creationId xmlns:a16="http://schemas.microsoft.com/office/drawing/2014/main" id="{3DD6B9CB-B685-4F89-8487-B143460F5254}"/>
                </a:ext>
              </a:extLst>
            </p:cNvPr>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09" name="Google Shape;2041;p60">
              <a:extLst>
                <a:ext uri="{FF2B5EF4-FFF2-40B4-BE49-F238E27FC236}">
                  <a16:creationId xmlns:a16="http://schemas.microsoft.com/office/drawing/2014/main" id="{A1CDD192-12D2-476A-81FD-5BADBA142245}"/>
                </a:ext>
              </a:extLst>
            </p:cNvPr>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10" name="Google Shape;2042;p60">
              <a:extLst>
                <a:ext uri="{FF2B5EF4-FFF2-40B4-BE49-F238E27FC236}">
                  <a16:creationId xmlns:a16="http://schemas.microsoft.com/office/drawing/2014/main" id="{EA111BE9-CBF4-4F73-BDFA-0C0DCE8E16A1}"/>
                </a:ext>
              </a:extLst>
            </p:cNvPr>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11" name="Google Shape;2043;p60">
              <a:extLst>
                <a:ext uri="{FF2B5EF4-FFF2-40B4-BE49-F238E27FC236}">
                  <a16:creationId xmlns:a16="http://schemas.microsoft.com/office/drawing/2014/main" id="{79CFF3C7-4096-4F7B-8D40-B9782599CB6E}"/>
                </a:ext>
              </a:extLst>
            </p:cNvPr>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12" name="Google Shape;2044;p60">
              <a:extLst>
                <a:ext uri="{FF2B5EF4-FFF2-40B4-BE49-F238E27FC236}">
                  <a16:creationId xmlns:a16="http://schemas.microsoft.com/office/drawing/2014/main" id="{EDD4CF01-8050-44A4-BEBE-4179EA31F487}"/>
                </a:ext>
              </a:extLst>
            </p:cNvPr>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13" name="Google Shape;2045;p60">
              <a:extLst>
                <a:ext uri="{FF2B5EF4-FFF2-40B4-BE49-F238E27FC236}">
                  <a16:creationId xmlns:a16="http://schemas.microsoft.com/office/drawing/2014/main" id="{663F0074-8C14-4362-8AB7-2D0C2A219490}"/>
                </a:ext>
              </a:extLst>
            </p:cNvPr>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14" name="Google Shape;2046;p60">
              <a:extLst>
                <a:ext uri="{FF2B5EF4-FFF2-40B4-BE49-F238E27FC236}">
                  <a16:creationId xmlns:a16="http://schemas.microsoft.com/office/drawing/2014/main" id="{873C70EB-52AB-4E5A-8410-3B3E531BF7E6}"/>
                </a:ext>
              </a:extLst>
            </p:cNvPr>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15" name="Google Shape;2047;p60">
              <a:extLst>
                <a:ext uri="{FF2B5EF4-FFF2-40B4-BE49-F238E27FC236}">
                  <a16:creationId xmlns:a16="http://schemas.microsoft.com/office/drawing/2014/main" id="{C3FBEBBF-CA7A-4A1F-951B-65D94F5F6CF9}"/>
                </a:ext>
              </a:extLst>
            </p:cNvPr>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16" name="Google Shape;2048;p60">
              <a:extLst>
                <a:ext uri="{FF2B5EF4-FFF2-40B4-BE49-F238E27FC236}">
                  <a16:creationId xmlns:a16="http://schemas.microsoft.com/office/drawing/2014/main" id="{ACD5E5EA-6A1B-43ED-9EA2-976813D6E3C5}"/>
                </a:ext>
              </a:extLst>
            </p:cNvPr>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17" name="Google Shape;2049;p60">
              <a:extLst>
                <a:ext uri="{FF2B5EF4-FFF2-40B4-BE49-F238E27FC236}">
                  <a16:creationId xmlns:a16="http://schemas.microsoft.com/office/drawing/2014/main" id="{71E6A13A-F4B0-4BA1-A15E-24F798ED11D8}"/>
                </a:ext>
              </a:extLst>
            </p:cNvPr>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18" name="Google Shape;2050;p60">
              <a:extLst>
                <a:ext uri="{FF2B5EF4-FFF2-40B4-BE49-F238E27FC236}">
                  <a16:creationId xmlns:a16="http://schemas.microsoft.com/office/drawing/2014/main" id="{0BDE7148-98B6-405C-BD5F-20DBB83878F0}"/>
                </a:ext>
              </a:extLst>
            </p:cNvPr>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19" name="Google Shape;2051;p60">
              <a:extLst>
                <a:ext uri="{FF2B5EF4-FFF2-40B4-BE49-F238E27FC236}">
                  <a16:creationId xmlns:a16="http://schemas.microsoft.com/office/drawing/2014/main" id="{E92CFE4C-666F-420C-B12F-50FFFE2C2DB5}"/>
                </a:ext>
              </a:extLst>
            </p:cNvPr>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20" name="Google Shape;2052;p60">
              <a:extLst>
                <a:ext uri="{FF2B5EF4-FFF2-40B4-BE49-F238E27FC236}">
                  <a16:creationId xmlns:a16="http://schemas.microsoft.com/office/drawing/2014/main" id="{E9E47857-1B57-48A4-8D8B-708F2DF3D0D4}"/>
                </a:ext>
              </a:extLst>
            </p:cNvPr>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21" name="Google Shape;2053;p60">
              <a:extLst>
                <a:ext uri="{FF2B5EF4-FFF2-40B4-BE49-F238E27FC236}">
                  <a16:creationId xmlns:a16="http://schemas.microsoft.com/office/drawing/2014/main" id="{9168BE89-D550-4051-846D-B95B2C526098}"/>
                </a:ext>
              </a:extLst>
            </p:cNvPr>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22" name="Google Shape;2054;p60">
              <a:extLst>
                <a:ext uri="{FF2B5EF4-FFF2-40B4-BE49-F238E27FC236}">
                  <a16:creationId xmlns:a16="http://schemas.microsoft.com/office/drawing/2014/main" id="{17A01E41-EC10-47BA-AA9A-54661F2BFCE3}"/>
                </a:ext>
              </a:extLst>
            </p:cNvPr>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23" name="Google Shape;2055;p60">
              <a:extLst>
                <a:ext uri="{FF2B5EF4-FFF2-40B4-BE49-F238E27FC236}">
                  <a16:creationId xmlns:a16="http://schemas.microsoft.com/office/drawing/2014/main" id="{AB7FEBE8-3262-40DC-A298-53E320C8AFB9}"/>
                </a:ext>
              </a:extLst>
            </p:cNvPr>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sp>
          <p:nvSpPr>
            <p:cNvPr id="224" name="Google Shape;2056;p60">
              <a:extLst>
                <a:ext uri="{FF2B5EF4-FFF2-40B4-BE49-F238E27FC236}">
                  <a16:creationId xmlns:a16="http://schemas.microsoft.com/office/drawing/2014/main" id="{2BDB81F7-D218-4450-987F-FD11EF2337D3}"/>
                </a:ext>
              </a:extLst>
            </p:cNvPr>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grp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sz="2489"/>
            </a:p>
          </p:txBody>
        </p:sp>
      </p:grpSp>
    </p:spTree>
    <p:extLst>
      <p:ext uri="{BB962C8B-B14F-4D97-AF65-F5344CB8AC3E}">
        <p14:creationId xmlns:p14="http://schemas.microsoft.com/office/powerpoint/2010/main" val="5668870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F666D-0ADF-D06D-FEA3-35F79BCB0775}"/>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D2A40DD3-6273-D812-E063-F6A00E93487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296" name="think-cell Slide" r:id="rId4" imgW="350" imgH="350" progId="TCLayout.ActiveDocument.1">
                  <p:embed/>
                </p:oleObj>
              </mc:Choice>
              <mc:Fallback>
                <p:oleObj name="think-cell Slide" r:id="rId4" imgW="350" imgH="350" progId="TCLayout.ActiveDocument.1">
                  <p:embed/>
                  <p:pic>
                    <p:nvPicPr>
                      <p:cNvPr id="20" name="think-cell data - do not delete" hidden="1">
                        <a:extLst>
                          <a:ext uri="{FF2B5EF4-FFF2-40B4-BE49-F238E27FC236}">
                            <a16:creationId xmlns:a16="http://schemas.microsoft.com/office/drawing/2014/main" id="{D2A40DD3-6273-D812-E063-F6A00E93487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pSp>
        <p:nvGrpSpPr>
          <p:cNvPr id="17" name="Ομάδα 16">
            <a:extLst>
              <a:ext uri="{FF2B5EF4-FFF2-40B4-BE49-F238E27FC236}">
                <a16:creationId xmlns:a16="http://schemas.microsoft.com/office/drawing/2014/main" id="{0DD19F25-7C82-4622-9BC6-C8623B759064}"/>
              </a:ext>
            </a:extLst>
          </p:cNvPr>
          <p:cNvGrpSpPr/>
          <p:nvPr/>
        </p:nvGrpSpPr>
        <p:grpSpPr>
          <a:xfrm>
            <a:off x="1366984" y="1265353"/>
            <a:ext cx="3270320" cy="1574275"/>
            <a:chOff x="191515" y="731059"/>
            <a:chExt cx="3147197" cy="1326005"/>
          </a:xfrm>
        </p:grpSpPr>
        <p:sp>
          <p:nvSpPr>
            <p:cNvPr id="18" name="Google Shape;804;p59">
              <a:extLst>
                <a:ext uri="{FF2B5EF4-FFF2-40B4-BE49-F238E27FC236}">
                  <a16:creationId xmlns:a16="http://schemas.microsoft.com/office/drawing/2014/main" id="{B38C998B-8F43-4C56-A485-D8503AC87AA6}"/>
                </a:ext>
              </a:extLst>
            </p:cNvPr>
            <p:cNvSpPr/>
            <p:nvPr/>
          </p:nvSpPr>
          <p:spPr>
            <a:xfrm>
              <a:off x="345565" y="845336"/>
              <a:ext cx="1160700" cy="919344"/>
            </a:xfrm>
            <a:prstGeom prst="ellipse">
              <a:avLst/>
            </a:prstGeom>
            <a:solidFill>
              <a:schemeClr val="accent5">
                <a:lumMod val="85000"/>
              </a:schemeClr>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endParaRPr lang="el-GR" sz="1600" b="1" dirty="0">
                <a:solidFill>
                  <a:schemeClr val="bg1"/>
                </a:solidFill>
                <a:latin typeface="+mn-lt"/>
                <a:ea typeface="Urbanist" panose="020B0604020202020204" charset="0"/>
                <a:cs typeface="Urbanist" panose="020B0604020202020204" charset="0"/>
                <a:sym typeface="Montserrat SemiBold"/>
              </a:endParaRPr>
            </a:p>
          </p:txBody>
        </p:sp>
        <p:sp>
          <p:nvSpPr>
            <p:cNvPr id="19" name="Google Shape;805;p59">
              <a:extLst>
                <a:ext uri="{FF2B5EF4-FFF2-40B4-BE49-F238E27FC236}">
                  <a16:creationId xmlns:a16="http://schemas.microsoft.com/office/drawing/2014/main" id="{D093801C-E1CC-47BF-BCE9-3799D964D126}"/>
                </a:ext>
              </a:extLst>
            </p:cNvPr>
            <p:cNvSpPr/>
            <p:nvPr/>
          </p:nvSpPr>
          <p:spPr>
            <a:xfrm>
              <a:off x="191515" y="731059"/>
              <a:ext cx="1468800" cy="1145120"/>
            </a:xfrm>
            <a:prstGeom prst="arc">
              <a:avLst>
                <a:gd name="adj1" fmla="val 5506684"/>
                <a:gd name="adj2" fmla="val 16235105"/>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dirty="0">
                <a:latin typeface="+mn-lt"/>
              </a:endParaRPr>
            </a:p>
          </p:txBody>
        </p:sp>
        <p:sp>
          <p:nvSpPr>
            <p:cNvPr id="25" name="Google Shape;807;p59">
              <a:extLst>
                <a:ext uri="{FF2B5EF4-FFF2-40B4-BE49-F238E27FC236}">
                  <a16:creationId xmlns:a16="http://schemas.microsoft.com/office/drawing/2014/main" id="{4F6733F5-3AC8-4128-BA46-824E7328651E}"/>
                </a:ext>
              </a:extLst>
            </p:cNvPr>
            <p:cNvSpPr/>
            <p:nvPr/>
          </p:nvSpPr>
          <p:spPr>
            <a:xfrm>
              <a:off x="847605" y="1942465"/>
              <a:ext cx="118200" cy="114599"/>
            </a:xfrm>
            <a:prstGeom prst="ellipse">
              <a:avLst/>
            </a:prstGeom>
            <a:solidFill>
              <a:srgbClr val="ADDDD4"/>
            </a:solidFill>
            <a:ln>
              <a:solidFill>
                <a:srgbClr val="ADDDD4"/>
              </a:solid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dirty="0">
                <a:latin typeface="+mn-lt"/>
              </a:endParaRPr>
            </a:p>
          </p:txBody>
        </p:sp>
        <p:sp>
          <p:nvSpPr>
            <p:cNvPr id="26" name="Google Shape;801;p59">
              <a:extLst>
                <a:ext uri="{FF2B5EF4-FFF2-40B4-BE49-F238E27FC236}">
                  <a16:creationId xmlns:a16="http://schemas.microsoft.com/office/drawing/2014/main" id="{55D26688-0864-4DF5-A658-8E546C44E11A}"/>
                </a:ext>
              </a:extLst>
            </p:cNvPr>
            <p:cNvSpPr/>
            <p:nvPr/>
          </p:nvSpPr>
          <p:spPr>
            <a:xfrm>
              <a:off x="1298344" y="1181794"/>
              <a:ext cx="2040368" cy="661800"/>
            </a:xfrm>
            <a:prstGeom prst="roundRect">
              <a:avLst>
                <a:gd name="adj" fmla="val 50000"/>
              </a:avLst>
            </a:prstGeom>
            <a:solidFill>
              <a:srgbClr val="ADDBD0"/>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r>
                <a:rPr lang="el-GR" sz="2400" b="1" dirty="0">
                  <a:solidFill>
                    <a:srgbClr val="085195"/>
                  </a:solidFill>
                  <a:ea typeface="Urbanist" panose="020B0604020202020204" charset="0"/>
                  <a:cs typeface="Urbanist" panose="020B0604020202020204" charset="0"/>
                  <a:sym typeface="Montserrat SemiBold"/>
                </a:rPr>
                <a:t>Ενισχύσεις</a:t>
              </a:r>
              <a:endParaRPr lang="el-GR" sz="2133" b="1" dirty="0">
                <a:solidFill>
                  <a:srgbClr val="085195"/>
                </a:solidFill>
                <a:ea typeface="Urbanist" panose="020B0604020202020204" charset="0"/>
                <a:cs typeface="Urbanist" panose="020B0604020202020204" charset="0"/>
                <a:sym typeface="Montserrat SemiBold"/>
              </a:endParaRPr>
            </a:p>
          </p:txBody>
        </p:sp>
      </p:grpSp>
      <p:grpSp>
        <p:nvGrpSpPr>
          <p:cNvPr id="27" name="Ομάδα 26">
            <a:extLst>
              <a:ext uri="{FF2B5EF4-FFF2-40B4-BE49-F238E27FC236}">
                <a16:creationId xmlns:a16="http://schemas.microsoft.com/office/drawing/2014/main" id="{69A5E7B8-F560-41C4-8E4C-D4B24AA69C6E}"/>
              </a:ext>
            </a:extLst>
          </p:cNvPr>
          <p:cNvGrpSpPr/>
          <p:nvPr/>
        </p:nvGrpSpPr>
        <p:grpSpPr>
          <a:xfrm>
            <a:off x="6880440" y="1265355"/>
            <a:ext cx="3147197" cy="1577380"/>
            <a:chOff x="191515" y="731059"/>
            <a:chExt cx="3147197" cy="1326005"/>
          </a:xfrm>
        </p:grpSpPr>
        <p:sp>
          <p:nvSpPr>
            <p:cNvPr id="28" name="Google Shape;804;p59">
              <a:extLst>
                <a:ext uri="{FF2B5EF4-FFF2-40B4-BE49-F238E27FC236}">
                  <a16:creationId xmlns:a16="http://schemas.microsoft.com/office/drawing/2014/main" id="{D5DC11E7-03BC-4C13-BF35-B4C719918D32}"/>
                </a:ext>
              </a:extLst>
            </p:cNvPr>
            <p:cNvSpPr/>
            <p:nvPr/>
          </p:nvSpPr>
          <p:spPr>
            <a:xfrm>
              <a:off x="345565" y="845336"/>
              <a:ext cx="1160700" cy="919344"/>
            </a:xfrm>
            <a:prstGeom prst="ellipse">
              <a:avLst/>
            </a:prstGeom>
            <a:solidFill>
              <a:schemeClr val="accent4">
                <a:lumMod val="85000"/>
              </a:schemeClr>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endParaRPr lang="el-GR" sz="1600" b="1" dirty="0">
                <a:solidFill>
                  <a:schemeClr val="bg1"/>
                </a:solidFill>
                <a:latin typeface="+mn-lt"/>
                <a:ea typeface="Urbanist" panose="020B0604020202020204" charset="0"/>
                <a:cs typeface="Urbanist" panose="020B0604020202020204" charset="0"/>
                <a:sym typeface="Montserrat SemiBold"/>
              </a:endParaRPr>
            </a:p>
          </p:txBody>
        </p:sp>
        <p:sp>
          <p:nvSpPr>
            <p:cNvPr id="29" name="Google Shape;805;p59">
              <a:extLst>
                <a:ext uri="{FF2B5EF4-FFF2-40B4-BE49-F238E27FC236}">
                  <a16:creationId xmlns:a16="http://schemas.microsoft.com/office/drawing/2014/main" id="{26FF712E-FE34-44AB-ACFF-FC7FA0BCB9AE}"/>
                </a:ext>
              </a:extLst>
            </p:cNvPr>
            <p:cNvSpPr/>
            <p:nvPr/>
          </p:nvSpPr>
          <p:spPr>
            <a:xfrm>
              <a:off x="191515" y="731059"/>
              <a:ext cx="1468800" cy="1145120"/>
            </a:xfrm>
            <a:prstGeom prst="arc">
              <a:avLst>
                <a:gd name="adj1" fmla="val 5506684"/>
                <a:gd name="adj2" fmla="val 16235105"/>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dirty="0">
                <a:latin typeface="+mn-lt"/>
              </a:endParaRPr>
            </a:p>
          </p:txBody>
        </p:sp>
        <p:sp>
          <p:nvSpPr>
            <p:cNvPr id="30" name="Google Shape;807;p59">
              <a:extLst>
                <a:ext uri="{FF2B5EF4-FFF2-40B4-BE49-F238E27FC236}">
                  <a16:creationId xmlns:a16="http://schemas.microsoft.com/office/drawing/2014/main" id="{0ECC2E88-8B8D-49B5-907C-E75BB9DCFBB7}"/>
                </a:ext>
              </a:extLst>
            </p:cNvPr>
            <p:cNvSpPr/>
            <p:nvPr/>
          </p:nvSpPr>
          <p:spPr>
            <a:xfrm>
              <a:off x="847605" y="1942465"/>
              <a:ext cx="118200" cy="114599"/>
            </a:xfrm>
            <a:prstGeom prst="ellipse">
              <a:avLst/>
            </a:prstGeom>
            <a:solidFill>
              <a:srgbClr val="FFCCCC"/>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endParaRPr sz="1400">
                <a:latin typeface="+mn-lt"/>
              </a:endParaRPr>
            </a:p>
          </p:txBody>
        </p:sp>
        <p:sp>
          <p:nvSpPr>
            <p:cNvPr id="31" name="Google Shape;801;p59">
              <a:extLst>
                <a:ext uri="{FF2B5EF4-FFF2-40B4-BE49-F238E27FC236}">
                  <a16:creationId xmlns:a16="http://schemas.microsoft.com/office/drawing/2014/main" id="{3CC18C9F-E818-4175-AB80-35BB496923D7}"/>
                </a:ext>
              </a:extLst>
            </p:cNvPr>
            <p:cNvSpPr/>
            <p:nvPr/>
          </p:nvSpPr>
          <p:spPr>
            <a:xfrm>
              <a:off x="1298344" y="1181794"/>
              <a:ext cx="2040368" cy="661800"/>
            </a:xfrm>
            <a:prstGeom prst="roundRect">
              <a:avLst>
                <a:gd name="adj" fmla="val 50000"/>
              </a:avLst>
            </a:prstGeom>
            <a:solidFill>
              <a:srgbClr val="FFCCCC"/>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r>
                <a:rPr lang="el-GR" sz="2400" b="1" dirty="0">
                  <a:solidFill>
                    <a:srgbClr val="085195"/>
                  </a:solidFill>
                  <a:ea typeface="Urbanist" panose="020B0604020202020204" charset="0"/>
                  <a:cs typeface="Urbanist" panose="020B0604020202020204" charset="0"/>
                  <a:sym typeface="Montserrat SemiBold"/>
                </a:rPr>
                <a:t>Δάνεια</a:t>
              </a:r>
            </a:p>
          </p:txBody>
        </p:sp>
      </p:grpSp>
      <p:pic>
        <p:nvPicPr>
          <p:cNvPr id="34" name="Picture 2" descr="Loan icons for free download | Freepik">
            <a:extLst>
              <a:ext uri="{FF2B5EF4-FFF2-40B4-BE49-F238E27FC236}">
                <a16:creationId xmlns:a16="http://schemas.microsoft.com/office/drawing/2014/main" id="{ECB31687-D365-4F9E-AF3F-E585E81344F1}"/>
              </a:ext>
            </a:extLst>
          </p:cNvPr>
          <p:cNvPicPr>
            <a:picLocks noChangeAspect="1" noChangeArrowheads="1"/>
          </p:cNvPicPr>
          <p:nvPr/>
        </p:nvPicPr>
        <p:blipFill>
          <a:blip r:embed="rId6" cstate="print">
            <a:duotone>
              <a:srgbClr val="063C5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361421" y="1692157"/>
            <a:ext cx="586617" cy="58661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Euro coins finance - Business &amp; Finance Icons">
            <a:extLst>
              <a:ext uri="{FF2B5EF4-FFF2-40B4-BE49-F238E27FC236}">
                <a16:creationId xmlns:a16="http://schemas.microsoft.com/office/drawing/2014/main" id="{37363B61-944C-4950-8F4F-CB5B3528C26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39466" y="1692096"/>
            <a:ext cx="550733" cy="550733"/>
          </a:xfrm>
          <a:prstGeom prst="rect">
            <a:avLst/>
          </a:prstGeom>
          <a:noFill/>
          <a:extLst>
            <a:ext uri="{909E8E84-426E-40DD-AFC4-6F175D3DCCD1}">
              <a14:hiddenFill xmlns:a14="http://schemas.microsoft.com/office/drawing/2010/main">
                <a:solidFill>
                  <a:srgbClr val="FFFFFF"/>
                </a:solidFill>
              </a14:hiddenFill>
            </a:ext>
          </a:extLst>
        </p:spPr>
      </p:pic>
      <p:sp>
        <p:nvSpPr>
          <p:cNvPr id="36" name="Google Shape;411;p47">
            <a:extLst>
              <a:ext uri="{FF2B5EF4-FFF2-40B4-BE49-F238E27FC236}">
                <a16:creationId xmlns:a16="http://schemas.microsoft.com/office/drawing/2014/main" id="{EF3D7867-2145-4A3D-838D-AC2395CF6E06}"/>
              </a:ext>
            </a:extLst>
          </p:cNvPr>
          <p:cNvSpPr/>
          <p:nvPr/>
        </p:nvSpPr>
        <p:spPr>
          <a:xfrm>
            <a:off x="2893246" y="3586088"/>
            <a:ext cx="1901100" cy="521547"/>
          </a:xfrm>
          <a:prstGeom prst="roundRect">
            <a:avLst>
              <a:gd name="adj" fmla="val 50000"/>
            </a:avLst>
          </a:prstGeom>
          <a:solidFill>
            <a:srgbClr val="FFE0A7"/>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914377">
              <a:buClrTx/>
              <a:defRPr/>
            </a:pPr>
            <a:r>
              <a:rPr lang="el-GR" sz="2400" b="1" dirty="0">
                <a:solidFill>
                  <a:srgbClr val="0CADDC"/>
                </a:solidFill>
                <a:latin typeface="+mn-lt"/>
                <a:ea typeface="Syne"/>
                <a:cs typeface="Syne"/>
                <a:sym typeface="Syne"/>
              </a:rPr>
              <a:t>9.881</a:t>
            </a:r>
            <a:r>
              <a:rPr lang="el-GR" sz="2400" b="1" dirty="0">
                <a:solidFill>
                  <a:srgbClr val="085195"/>
                </a:solidFill>
                <a:latin typeface="+mn-lt"/>
                <a:ea typeface="Syne"/>
                <a:cs typeface="Syne"/>
                <a:sym typeface="Syne"/>
              </a:rPr>
              <a:t> </a:t>
            </a:r>
            <a:r>
              <a:rPr lang="el-GR" sz="2400" b="1" dirty="0" err="1">
                <a:solidFill>
                  <a:srgbClr val="085195"/>
                </a:solidFill>
                <a:latin typeface="+mn-lt"/>
                <a:ea typeface="Syne"/>
                <a:cs typeface="Syne"/>
                <a:sym typeface="Syne"/>
              </a:rPr>
              <a:t>ΜμΕ</a:t>
            </a:r>
            <a:endParaRPr sz="1200" b="1" dirty="0">
              <a:solidFill>
                <a:srgbClr val="085195"/>
              </a:solidFill>
              <a:latin typeface="+mn-lt"/>
              <a:ea typeface="Commissioner"/>
              <a:cs typeface="Commissioner"/>
              <a:sym typeface="Commissioner"/>
            </a:endParaRPr>
          </a:p>
        </p:txBody>
      </p:sp>
      <p:sp>
        <p:nvSpPr>
          <p:cNvPr id="37" name="Google Shape;411;p47">
            <a:extLst>
              <a:ext uri="{FF2B5EF4-FFF2-40B4-BE49-F238E27FC236}">
                <a16:creationId xmlns:a16="http://schemas.microsoft.com/office/drawing/2014/main" id="{14124B73-6436-4EA9-A998-027B877D0988}"/>
              </a:ext>
            </a:extLst>
          </p:cNvPr>
          <p:cNvSpPr/>
          <p:nvPr/>
        </p:nvSpPr>
        <p:spPr>
          <a:xfrm>
            <a:off x="1171800" y="3233983"/>
            <a:ext cx="2127416" cy="511008"/>
          </a:xfrm>
          <a:prstGeom prst="roundRect">
            <a:avLst>
              <a:gd name="adj" fmla="val 50000"/>
            </a:avLst>
          </a:prstGeom>
          <a:solidFill>
            <a:schemeClr val="tx2">
              <a:lumMod val="20000"/>
              <a:lumOff val="80000"/>
            </a:schemeClr>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spcAft>
                <a:spcPts val="800"/>
              </a:spcAft>
            </a:pPr>
            <a:r>
              <a:rPr lang="el-GR" sz="2000" b="1" dirty="0">
                <a:solidFill>
                  <a:srgbClr val="2D4F8B"/>
                </a:solidFill>
                <a:latin typeface="+mn-lt"/>
                <a:ea typeface="Commissioner"/>
                <a:cs typeface="Calibri" panose="020F0502020204030204" pitchFamily="34" charset="0"/>
                <a:sym typeface="Commissioner"/>
              </a:rPr>
              <a:t>Ενισχύονται</a:t>
            </a:r>
            <a:endParaRPr sz="1100" b="1" dirty="0">
              <a:solidFill>
                <a:srgbClr val="FFE0A7"/>
              </a:solidFill>
              <a:latin typeface="+mn-lt"/>
              <a:ea typeface="Commissioner"/>
              <a:cs typeface="Commissioner"/>
              <a:sym typeface="Commissioner"/>
            </a:endParaRPr>
          </a:p>
        </p:txBody>
      </p:sp>
      <p:sp>
        <p:nvSpPr>
          <p:cNvPr id="38" name="Ορθογώνιο 37">
            <a:extLst>
              <a:ext uri="{FF2B5EF4-FFF2-40B4-BE49-F238E27FC236}">
                <a16:creationId xmlns:a16="http://schemas.microsoft.com/office/drawing/2014/main" id="{E9FDED56-53D3-47C6-86DB-73710CF93112}"/>
              </a:ext>
            </a:extLst>
          </p:cNvPr>
          <p:cNvSpPr/>
          <p:nvPr/>
        </p:nvSpPr>
        <p:spPr>
          <a:xfrm>
            <a:off x="788915" y="4149206"/>
            <a:ext cx="3054880" cy="400110"/>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600" b="1" dirty="0">
                <a:solidFill>
                  <a:srgbClr val="085195"/>
                </a:solidFill>
                <a:latin typeface="+mn-lt"/>
                <a:cs typeface="Calibri" panose="020F0502020204030204" pitchFamily="34" charset="0"/>
              </a:rPr>
              <a:t>συνολικού ύψους </a:t>
            </a:r>
            <a:r>
              <a:rPr lang="el-GR" sz="2000" b="1" dirty="0">
                <a:solidFill>
                  <a:srgbClr val="0CADDC"/>
                </a:solidFill>
                <a:latin typeface="+mn-lt"/>
                <a:cs typeface="Calibri" panose="020F0502020204030204" pitchFamily="34" charset="0"/>
              </a:rPr>
              <a:t>32,8 εκ.€ </a:t>
            </a:r>
            <a:endParaRPr lang="el-GR" sz="1600" dirty="0">
              <a:solidFill>
                <a:srgbClr val="0CADDC"/>
              </a:solidFill>
              <a:latin typeface="+mn-lt"/>
            </a:endParaRPr>
          </a:p>
        </p:txBody>
      </p:sp>
      <p:sp>
        <p:nvSpPr>
          <p:cNvPr id="39" name="Google Shape;411;p47">
            <a:extLst>
              <a:ext uri="{FF2B5EF4-FFF2-40B4-BE49-F238E27FC236}">
                <a16:creationId xmlns:a16="http://schemas.microsoft.com/office/drawing/2014/main" id="{6AC72A6F-AE2E-4048-844D-61B773B40F10}"/>
              </a:ext>
            </a:extLst>
          </p:cNvPr>
          <p:cNvSpPr/>
          <p:nvPr/>
        </p:nvSpPr>
        <p:spPr>
          <a:xfrm>
            <a:off x="8496001" y="3526971"/>
            <a:ext cx="3614356" cy="947367"/>
          </a:xfrm>
          <a:prstGeom prst="roundRect">
            <a:avLst>
              <a:gd name="adj" fmla="val 50000"/>
            </a:avLst>
          </a:prstGeom>
          <a:solidFill>
            <a:srgbClr val="FFE0A7"/>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914377">
              <a:buClrTx/>
              <a:defRPr/>
            </a:pPr>
            <a:r>
              <a:rPr lang="el-GR" sz="2133" b="1" dirty="0">
                <a:solidFill>
                  <a:srgbClr val="0CADDC"/>
                </a:solidFill>
                <a:latin typeface="+mn-lt"/>
                <a:ea typeface="Syne"/>
                <a:cs typeface="Syne"/>
                <a:sym typeface="Syne"/>
              </a:rPr>
              <a:t>17 </a:t>
            </a:r>
            <a:r>
              <a:rPr lang="el-GR" sz="2133" b="1" dirty="0">
                <a:solidFill>
                  <a:srgbClr val="1F497D"/>
                </a:solidFill>
                <a:latin typeface="+mn-lt"/>
                <a:ea typeface="Syne"/>
                <a:cs typeface="Syne"/>
                <a:sym typeface="Syne"/>
              </a:rPr>
              <a:t>επιχειρήσεις</a:t>
            </a:r>
          </a:p>
          <a:p>
            <a:pPr algn="ctr" defTabSz="914377">
              <a:buClrTx/>
              <a:defRPr/>
            </a:pPr>
            <a:r>
              <a:rPr lang="el-GR" sz="2489" b="1" dirty="0">
                <a:solidFill>
                  <a:srgbClr val="1F497D"/>
                </a:solidFill>
                <a:latin typeface="+mn-lt"/>
                <a:ea typeface="Syne"/>
                <a:cs typeface="Syne"/>
                <a:sym typeface="Syne"/>
              </a:rPr>
              <a:t>(εκ των οποίων 3 </a:t>
            </a:r>
            <a:r>
              <a:rPr lang="el-GR" sz="2489" b="1" dirty="0" err="1">
                <a:solidFill>
                  <a:srgbClr val="1F497D"/>
                </a:solidFill>
                <a:latin typeface="+mn-lt"/>
                <a:ea typeface="Syne"/>
                <a:cs typeface="Syne"/>
                <a:sym typeface="Syne"/>
              </a:rPr>
              <a:t>ΜμΕ</a:t>
            </a:r>
            <a:r>
              <a:rPr lang="el-GR" sz="2489" b="1" dirty="0">
                <a:solidFill>
                  <a:srgbClr val="1F497D"/>
                </a:solidFill>
                <a:latin typeface="+mn-lt"/>
                <a:ea typeface="Syne"/>
                <a:cs typeface="Syne"/>
                <a:sym typeface="Syne"/>
              </a:rPr>
              <a:t>) </a:t>
            </a:r>
            <a:endParaRPr sz="1067" b="1" dirty="0">
              <a:solidFill>
                <a:srgbClr val="085195"/>
              </a:solidFill>
              <a:latin typeface="+mn-lt"/>
              <a:ea typeface="Commissioner"/>
              <a:cs typeface="Commissioner"/>
              <a:sym typeface="Commissioner"/>
            </a:endParaRPr>
          </a:p>
        </p:txBody>
      </p:sp>
      <p:sp>
        <p:nvSpPr>
          <p:cNvPr id="40" name="Google Shape;411;p47">
            <a:extLst>
              <a:ext uri="{FF2B5EF4-FFF2-40B4-BE49-F238E27FC236}">
                <a16:creationId xmlns:a16="http://schemas.microsoft.com/office/drawing/2014/main" id="{B3AFA1C7-BBC1-4744-A50B-C19329F3CF99}"/>
              </a:ext>
            </a:extLst>
          </p:cNvPr>
          <p:cNvSpPr/>
          <p:nvPr/>
        </p:nvSpPr>
        <p:spPr>
          <a:xfrm>
            <a:off x="6785780" y="3295444"/>
            <a:ext cx="2402979" cy="511008"/>
          </a:xfrm>
          <a:prstGeom prst="roundRect">
            <a:avLst>
              <a:gd name="adj" fmla="val 50000"/>
            </a:avLst>
          </a:prstGeom>
          <a:solidFill>
            <a:schemeClr val="tx2">
              <a:lumMod val="20000"/>
              <a:lumOff val="80000"/>
            </a:schemeClr>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spcAft>
                <a:spcPts val="800"/>
              </a:spcAft>
            </a:pPr>
            <a:r>
              <a:rPr lang="el-GR" sz="2000" b="1" dirty="0">
                <a:solidFill>
                  <a:srgbClr val="2D4F8B"/>
                </a:solidFill>
                <a:latin typeface="+mn-lt"/>
                <a:ea typeface="Commissioner"/>
                <a:cs typeface="Calibri" panose="020F0502020204030204" pitchFamily="34" charset="0"/>
                <a:sym typeface="Commissioner"/>
              </a:rPr>
              <a:t>Δανειοδοτούνται</a:t>
            </a:r>
            <a:endParaRPr sz="1100" b="1" dirty="0">
              <a:solidFill>
                <a:srgbClr val="FFE0A7"/>
              </a:solidFill>
              <a:latin typeface="+mn-lt"/>
              <a:ea typeface="Commissioner"/>
              <a:cs typeface="Commissioner"/>
              <a:sym typeface="Commissioner"/>
            </a:endParaRPr>
          </a:p>
        </p:txBody>
      </p:sp>
      <p:sp>
        <p:nvSpPr>
          <p:cNvPr id="41" name="Ορθογώνιο 40">
            <a:extLst>
              <a:ext uri="{FF2B5EF4-FFF2-40B4-BE49-F238E27FC236}">
                <a16:creationId xmlns:a16="http://schemas.microsoft.com/office/drawing/2014/main" id="{31B6DF1F-3416-4772-9212-BA452F334536}"/>
              </a:ext>
            </a:extLst>
          </p:cNvPr>
          <p:cNvSpPr/>
          <p:nvPr/>
        </p:nvSpPr>
        <p:spPr>
          <a:xfrm>
            <a:off x="6880439" y="4580092"/>
            <a:ext cx="4882452" cy="1241494"/>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600" dirty="0">
                <a:solidFill>
                  <a:srgbClr val="085195"/>
                </a:solidFill>
                <a:latin typeface="+mn-lt"/>
                <a:cs typeface="Calibri" panose="020F0502020204030204" pitchFamily="34" charset="0"/>
              </a:rPr>
              <a:t>Για επενδύσεις συνολικού ύψους </a:t>
            </a:r>
            <a:r>
              <a:rPr lang="el-GR" sz="2489" b="1" dirty="0">
                <a:solidFill>
                  <a:srgbClr val="00B0F0"/>
                </a:solidFill>
                <a:latin typeface="+mn-lt"/>
                <a:cs typeface="Calibri" panose="020F0502020204030204" pitchFamily="34" charset="0"/>
              </a:rPr>
              <a:t>1,137 δισ.€</a:t>
            </a:r>
          </a:p>
          <a:p>
            <a:r>
              <a:rPr lang="el-GR" sz="1600" dirty="0">
                <a:solidFill>
                  <a:srgbClr val="085195"/>
                </a:solidFill>
                <a:latin typeface="+mn-lt"/>
                <a:cs typeface="Calibri" panose="020F0502020204030204" pitchFamily="34" charset="0"/>
              </a:rPr>
              <a:t>(εκ των οποίων </a:t>
            </a:r>
            <a:r>
              <a:rPr lang="el-GR" sz="2489" b="1" dirty="0">
                <a:solidFill>
                  <a:srgbClr val="00B0F0"/>
                </a:solidFill>
                <a:latin typeface="+mn-lt"/>
                <a:cs typeface="Calibri" panose="020F0502020204030204" pitchFamily="34" charset="0"/>
              </a:rPr>
              <a:t>564 εκ.€ είναι δάνεια ΤΑΑ</a:t>
            </a:r>
            <a:r>
              <a:rPr lang="el-GR" sz="1600" dirty="0">
                <a:solidFill>
                  <a:srgbClr val="085195"/>
                </a:solidFill>
                <a:latin typeface="+mn-lt"/>
                <a:cs typeface="Calibri" panose="020F0502020204030204" pitchFamily="34" charset="0"/>
              </a:rPr>
              <a:t>)</a:t>
            </a:r>
            <a:endParaRPr lang="el-GR" sz="1600" dirty="0">
              <a:solidFill>
                <a:srgbClr val="0CADDC"/>
              </a:solidFill>
              <a:latin typeface="+mn-lt"/>
            </a:endParaRPr>
          </a:p>
        </p:txBody>
      </p:sp>
      <p:sp>
        <p:nvSpPr>
          <p:cNvPr id="11" name="Ορθογώνιο 10">
            <a:extLst>
              <a:ext uri="{FF2B5EF4-FFF2-40B4-BE49-F238E27FC236}">
                <a16:creationId xmlns:a16="http://schemas.microsoft.com/office/drawing/2014/main" id="{71C27E2C-7EE7-40A6-ADAD-CEA52A366C22}"/>
              </a:ext>
            </a:extLst>
          </p:cNvPr>
          <p:cNvSpPr/>
          <p:nvPr/>
        </p:nvSpPr>
        <p:spPr>
          <a:xfrm>
            <a:off x="712717" y="4749091"/>
            <a:ext cx="4940731" cy="1600439"/>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600" dirty="0">
                <a:solidFill>
                  <a:srgbClr val="085195"/>
                </a:solidFill>
                <a:latin typeface="+mn-lt"/>
                <a:cs typeface="Calibri" panose="020F0502020204030204" pitchFamily="34" charset="0"/>
              </a:rPr>
              <a:t>Ενδεικτικοί Τομείς Ενίσχυσης:</a:t>
            </a:r>
            <a:br>
              <a:rPr lang="el-GR" sz="1600" dirty="0">
                <a:solidFill>
                  <a:srgbClr val="085195"/>
                </a:solidFill>
                <a:latin typeface="+mn-lt"/>
                <a:cs typeface="Calibri" panose="020F0502020204030204" pitchFamily="34" charset="0"/>
              </a:rPr>
            </a:br>
            <a:endParaRPr lang="el-GR" sz="1600" dirty="0">
              <a:solidFill>
                <a:srgbClr val="085195"/>
              </a:solidFill>
              <a:latin typeface="+mn-lt"/>
              <a:cs typeface="Calibri" panose="020F0502020204030204" pitchFamily="34" charset="0"/>
            </a:endParaRPr>
          </a:p>
          <a:p>
            <a:pPr marL="285744" indent="-285744">
              <a:buFont typeface="Wingdings" panose="05000000000000000000" pitchFamily="2" charset="2"/>
              <a:buChar char="ü"/>
            </a:pPr>
            <a:r>
              <a:rPr lang="el-GR" sz="1600" dirty="0">
                <a:solidFill>
                  <a:srgbClr val="085195"/>
                </a:solidFill>
                <a:latin typeface="+mn-lt"/>
                <a:cs typeface="Calibri" panose="020F0502020204030204" pitchFamily="34" charset="0"/>
              </a:rPr>
              <a:t>Οικονομικός Μετασχηματισμός Αγροτικού Τομέα </a:t>
            </a:r>
          </a:p>
          <a:p>
            <a:pPr marL="285744" indent="-285744">
              <a:buFont typeface="Wingdings" panose="05000000000000000000" pitchFamily="2" charset="2"/>
              <a:buChar char="ü"/>
            </a:pPr>
            <a:r>
              <a:rPr lang="el-GR" sz="1600" dirty="0">
                <a:solidFill>
                  <a:srgbClr val="085195"/>
                </a:solidFill>
                <a:latin typeface="+mn-lt"/>
                <a:cs typeface="Calibri" panose="020F0502020204030204" pitchFamily="34" charset="0"/>
              </a:rPr>
              <a:t>Ψηφιακός Μετασχηματισμός</a:t>
            </a:r>
          </a:p>
          <a:p>
            <a:pPr marL="285744" indent="-285744">
              <a:buFont typeface="Wingdings" panose="05000000000000000000" pitchFamily="2" charset="2"/>
              <a:buChar char="ü"/>
            </a:pPr>
            <a:r>
              <a:rPr lang="el-GR" sz="1600" dirty="0">
                <a:solidFill>
                  <a:srgbClr val="085195"/>
                </a:solidFill>
                <a:latin typeface="+mn-lt"/>
                <a:cs typeface="Calibri" panose="020F0502020204030204" pitchFamily="34" charset="0"/>
              </a:rPr>
              <a:t>Έξυπνη Μεταποίηση</a:t>
            </a:r>
          </a:p>
          <a:p>
            <a:pPr marL="285744" indent="-285744">
              <a:buFont typeface="Wingdings" panose="05000000000000000000" pitchFamily="2" charset="2"/>
              <a:buChar char="ü"/>
            </a:pPr>
            <a:r>
              <a:rPr lang="el-GR" sz="1600" dirty="0">
                <a:solidFill>
                  <a:srgbClr val="085195"/>
                </a:solidFill>
                <a:latin typeface="+mn-lt"/>
                <a:cs typeface="Calibri" panose="020F0502020204030204" pitchFamily="34" charset="0"/>
              </a:rPr>
              <a:t>Αλλάζω Συσκευή</a:t>
            </a:r>
          </a:p>
        </p:txBody>
      </p:sp>
      <p:sp>
        <p:nvSpPr>
          <p:cNvPr id="45"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8963377" cy="795145"/>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Arial" panose="020B0604020202020204" pitchFamily="34" charset="0"/>
                <a:ea typeface="Urbanist" panose="020B0604020202020204" charset="0"/>
                <a:cs typeface="Arial" panose="020B0604020202020204" pitchFamily="34" charset="0"/>
              </a:rPr>
              <a:t>Ενίσχυση Επιχειρηματικότητας - Ταμείο Ανάκαμψης</a:t>
            </a:r>
          </a:p>
        </p:txBody>
      </p:sp>
      <p:cxnSp>
        <p:nvCxnSpPr>
          <p:cNvPr id="46" name="Ευθεία γραμμή σύνδεσης 45">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47" name="Ομάδα 46">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48"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49"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872724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F666D-0ADF-D06D-FEA3-35F79BCB0775}"/>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D2A40DD3-6273-D812-E063-F6A00E93487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320" name="think-cell Slide" r:id="rId4" imgW="350" imgH="350" progId="TCLayout.ActiveDocument.1">
                  <p:embed/>
                </p:oleObj>
              </mc:Choice>
              <mc:Fallback>
                <p:oleObj name="think-cell Slide" r:id="rId4" imgW="350" imgH="350" progId="TCLayout.ActiveDocument.1">
                  <p:embed/>
                  <p:pic>
                    <p:nvPicPr>
                      <p:cNvPr id="20" name="think-cell data - do not delete" hidden="1">
                        <a:extLst>
                          <a:ext uri="{FF2B5EF4-FFF2-40B4-BE49-F238E27FC236}">
                            <a16:creationId xmlns:a16="http://schemas.microsoft.com/office/drawing/2014/main" id="{D2A40DD3-6273-D812-E063-F6A00E93487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2" name="Google Shape;490;p30">
            <a:extLst>
              <a:ext uri="{FF2B5EF4-FFF2-40B4-BE49-F238E27FC236}">
                <a16:creationId xmlns:a16="http://schemas.microsoft.com/office/drawing/2014/main" id="{10DE1D00-4338-4EC8-9703-E966B1FA31B2}"/>
              </a:ext>
            </a:extLst>
          </p:cNvPr>
          <p:cNvSpPr/>
          <p:nvPr/>
        </p:nvSpPr>
        <p:spPr>
          <a:xfrm>
            <a:off x="1996801" y="1190401"/>
            <a:ext cx="4827679" cy="683248"/>
          </a:xfrm>
          <a:custGeom>
            <a:avLst/>
            <a:gdLst/>
            <a:ahLst/>
            <a:cxnLst/>
            <a:rect l="l" t="t" r="r" b="b"/>
            <a:pathLst>
              <a:path w="3182683" h="845438" extrusionOk="0">
                <a:moveTo>
                  <a:pt x="3182684" y="163830"/>
                </a:moveTo>
                <a:lnTo>
                  <a:pt x="3182684" y="681609"/>
                </a:lnTo>
                <a:cubicBezTo>
                  <a:pt x="3182684" y="772097"/>
                  <a:pt x="3129058" y="845439"/>
                  <a:pt x="3062954" y="845439"/>
                </a:cubicBezTo>
                <a:lnTo>
                  <a:pt x="119729" y="845439"/>
                </a:lnTo>
                <a:cubicBezTo>
                  <a:pt x="53626" y="845439"/>
                  <a:pt x="0" y="772097"/>
                  <a:pt x="0" y="681609"/>
                </a:cubicBezTo>
                <a:lnTo>
                  <a:pt x="0" y="163830"/>
                </a:lnTo>
                <a:cubicBezTo>
                  <a:pt x="0" y="73438"/>
                  <a:pt x="53626" y="0"/>
                  <a:pt x="119729" y="0"/>
                </a:cubicBezTo>
                <a:lnTo>
                  <a:pt x="3062954" y="0"/>
                </a:lnTo>
                <a:cubicBezTo>
                  <a:pt x="3129058" y="0"/>
                  <a:pt x="3182684" y="73438"/>
                  <a:pt x="3182684" y="163830"/>
                </a:cubicBezTo>
                <a:close/>
              </a:path>
            </a:pathLst>
          </a:custGeom>
          <a:solidFill>
            <a:srgbClr val="FFEAC4"/>
          </a:solid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ct val="115000"/>
              </a:lnSpc>
              <a:spcAft>
                <a:spcPts val="800"/>
              </a:spcAft>
            </a:pPr>
            <a:r>
              <a:rPr lang="el-GR" sz="2400" dirty="0">
                <a:solidFill>
                  <a:schemeClr val="tx1"/>
                </a:solidFill>
                <a:latin typeface="Arial" panose="020B0604020202020204" pitchFamily="34" charset="0"/>
                <a:ea typeface="Calibri" panose="020F0502020204030204" pitchFamily="34" charset="0"/>
                <a:cs typeface="Arial" panose="020B0604020202020204" pitchFamily="34" charset="0"/>
              </a:rPr>
              <a:t>Εγκεκριμένες</a:t>
            </a:r>
            <a:r>
              <a:rPr lang="el-GR" sz="2400" b="1" dirty="0">
                <a:solidFill>
                  <a:srgbClr val="0070C0"/>
                </a:solidFill>
                <a:latin typeface="Arial" panose="020B0604020202020204" pitchFamily="34" charset="0"/>
                <a:ea typeface="Calibri" panose="020F0502020204030204" pitchFamily="34" charset="0"/>
                <a:cs typeface="Arial" panose="020B0604020202020204" pitchFamily="34" charset="0"/>
              </a:rPr>
              <a:t> </a:t>
            </a:r>
            <a:r>
              <a:rPr lang="el-GR" sz="2400" dirty="0">
                <a:solidFill>
                  <a:schemeClr val="tx1"/>
                </a:solidFill>
                <a:latin typeface="Arial" panose="020B0604020202020204" pitchFamily="34" charset="0"/>
                <a:ea typeface="Calibri" panose="020F0502020204030204" pitchFamily="34" charset="0"/>
                <a:cs typeface="Arial" panose="020B0604020202020204" pitchFamily="34" charset="0"/>
              </a:rPr>
              <a:t>αιτήσεις:</a:t>
            </a:r>
            <a:r>
              <a:rPr lang="el-GR" sz="2400" b="1" dirty="0">
                <a:solidFill>
                  <a:srgbClr val="0070C0"/>
                </a:solidFill>
                <a:latin typeface="Arial" panose="020B0604020202020204" pitchFamily="34" charset="0"/>
                <a:ea typeface="Calibri" panose="020F0502020204030204" pitchFamily="34" charset="0"/>
                <a:cs typeface="Arial" panose="020B0604020202020204" pitchFamily="34" charset="0"/>
              </a:rPr>
              <a:t> 2.727</a:t>
            </a:r>
          </a:p>
        </p:txBody>
      </p:sp>
      <p:sp>
        <p:nvSpPr>
          <p:cNvPr id="33" name="Google Shape;439;p5">
            <a:extLst>
              <a:ext uri="{FF2B5EF4-FFF2-40B4-BE49-F238E27FC236}">
                <a16:creationId xmlns:a16="http://schemas.microsoft.com/office/drawing/2014/main" id="{97CD14F3-07BC-45BF-9FB0-1266305BD687}"/>
              </a:ext>
            </a:extLst>
          </p:cNvPr>
          <p:cNvSpPr/>
          <p:nvPr/>
        </p:nvSpPr>
        <p:spPr>
          <a:xfrm>
            <a:off x="5161977" y="1801074"/>
            <a:ext cx="2365257" cy="679732"/>
          </a:xfrm>
          <a:prstGeom prst="roundRect">
            <a:avLst>
              <a:gd name="adj" fmla="val 50000"/>
            </a:avLst>
          </a:prstGeom>
          <a:solidFill>
            <a:schemeClr val="accent2">
              <a:lumMod val="50000"/>
              <a:lumOff val="50000"/>
            </a:schemeClr>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l" rtl="0">
              <a:buClr>
                <a:schemeClr val="dk1"/>
              </a:buClr>
              <a:buSzPts val="1200"/>
            </a:pPr>
            <a:r>
              <a:rPr lang="el-GR" sz="2400" b="1" dirty="0">
                <a:solidFill>
                  <a:srgbClr val="FFFFFF"/>
                </a:solidFill>
                <a:latin typeface="Arial" panose="020B0604020202020204" pitchFamily="34" charset="0"/>
                <a:cs typeface="Arial" panose="020B0604020202020204" pitchFamily="34" charset="0"/>
              </a:rPr>
              <a:t>Π/Υ: 240 εκ.€</a:t>
            </a:r>
          </a:p>
        </p:txBody>
      </p:sp>
      <p:sp>
        <p:nvSpPr>
          <p:cNvPr id="42" name="Στρογγυλεμένο ορθογώνιο 17">
            <a:extLst>
              <a:ext uri="{FF2B5EF4-FFF2-40B4-BE49-F238E27FC236}">
                <a16:creationId xmlns:a16="http://schemas.microsoft.com/office/drawing/2014/main" id="{BFED3B9B-B660-4677-B1E9-23954423363D}"/>
              </a:ext>
            </a:extLst>
          </p:cNvPr>
          <p:cNvSpPr/>
          <p:nvPr/>
        </p:nvSpPr>
        <p:spPr>
          <a:xfrm>
            <a:off x="1262597" y="3037451"/>
            <a:ext cx="8731148" cy="2078257"/>
          </a:xfrm>
          <a:prstGeom prst="roundRect">
            <a:avLst/>
          </a:prstGeom>
          <a:noFill/>
          <a:ln w="19050">
            <a:solidFill>
              <a:srgbClr val="D7EDE8"/>
            </a:solidFill>
          </a:ln>
        </p:spPr>
        <p:style>
          <a:lnRef idx="2">
            <a:schemeClr val="accent5"/>
          </a:lnRef>
          <a:fillRef idx="1">
            <a:schemeClr val="lt1"/>
          </a:fillRef>
          <a:effectRef idx="0">
            <a:schemeClr val="accent5"/>
          </a:effectRef>
          <a:fontRef idx="minor">
            <a:schemeClr val="dk1"/>
          </a:fontRef>
        </p:style>
        <p:txBody>
          <a:bodyPr lIns="36000"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71446" indent="-251994">
              <a:lnSpc>
                <a:spcPct val="150000"/>
              </a:lnSpc>
              <a:spcBef>
                <a:spcPts val="600"/>
              </a:spcBef>
              <a:buClr>
                <a:srgbClr val="FFC000"/>
              </a:buClr>
              <a:buFont typeface="Wingdings" panose="05000000000000000000" pitchFamily="2" charset="2"/>
              <a:buChar char="ü"/>
            </a:pPr>
            <a:endParaRPr lang="el-GR" sz="1733" dirty="0" smtClean="0">
              <a:solidFill>
                <a:schemeClr val="tx1"/>
              </a:solidFill>
              <a:latin typeface="Arial" panose="020B0604020202020204" pitchFamily="34" charset="0"/>
              <a:ea typeface="Urbanist" panose="020B0604020202020204" charset="0"/>
              <a:cs typeface="Arial" panose="020B0604020202020204" pitchFamily="34" charset="0"/>
            </a:endParaRPr>
          </a:p>
          <a:p>
            <a:pPr marL="171446" indent="-251994">
              <a:lnSpc>
                <a:spcPct val="150000"/>
              </a:lnSpc>
              <a:spcBef>
                <a:spcPts val="600"/>
              </a:spcBef>
              <a:buClr>
                <a:srgbClr val="FFC000"/>
              </a:buClr>
              <a:buFont typeface="Wingdings" panose="05000000000000000000" pitchFamily="2" charset="2"/>
              <a:buChar char="ü"/>
            </a:pPr>
            <a:r>
              <a:rPr lang="el-GR" sz="1733" dirty="0" smtClean="0">
                <a:solidFill>
                  <a:schemeClr val="tx1"/>
                </a:solidFill>
                <a:latin typeface="Arial" panose="020B0604020202020204" pitchFamily="34" charset="0"/>
                <a:ea typeface="Urbanist" panose="020B0604020202020204" charset="0"/>
                <a:cs typeface="Arial" panose="020B0604020202020204" pitchFamily="34" charset="0"/>
              </a:rPr>
              <a:t>Ταμείο </a:t>
            </a:r>
            <a:r>
              <a:rPr lang="el-GR" sz="1733" dirty="0">
                <a:solidFill>
                  <a:schemeClr val="tx1"/>
                </a:solidFill>
                <a:latin typeface="Arial" panose="020B0604020202020204" pitchFamily="34" charset="0"/>
                <a:ea typeface="Urbanist" panose="020B0604020202020204" charset="0"/>
                <a:cs typeface="Arial" panose="020B0604020202020204" pitchFamily="34" charset="0"/>
              </a:rPr>
              <a:t>Επιχειρηματικότητας (ΤΕΠΙΧ ΙΙΙ): 104 εγκρίσεις / 19 εκ.</a:t>
            </a:r>
            <a:r>
              <a:rPr lang="el-GR" sz="1733" dirty="0" smtClean="0">
                <a:solidFill>
                  <a:schemeClr val="tx1"/>
                </a:solidFill>
                <a:latin typeface="Arial" panose="020B0604020202020204" pitchFamily="34" charset="0"/>
                <a:ea typeface="Urbanist" panose="020B0604020202020204" charset="0"/>
                <a:cs typeface="Arial" panose="020B0604020202020204" pitchFamily="34" charset="0"/>
              </a:rPr>
              <a:t>€</a:t>
            </a:r>
          </a:p>
          <a:p>
            <a:pPr marL="171446" indent="-251994">
              <a:lnSpc>
                <a:spcPct val="150000"/>
              </a:lnSpc>
              <a:spcBef>
                <a:spcPts val="600"/>
              </a:spcBef>
              <a:buClr>
                <a:srgbClr val="FFC000"/>
              </a:buClr>
              <a:buFont typeface="Wingdings" panose="05000000000000000000" pitchFamily="2" charset="2"/>
              <a:buChar char="ü"/>
            </a:pPr>
            <a:r>
              <a:rPr lang="el-GR" sz="1733" dirty="0" smtClean="0">
                <a:solidFill>
                  <a:schemeClr val="tx1"/>
                </a:solidFill>
                <a:latin typeface="Arial" panose="020B0604020202020204" pitchFamily="34" charset="0"/>
                <a:ea typeface="Urbanist" panose="020B0604020202020204" charset="0"/>
                <a:cs typeface="Arial" panose="020B0604020202020204" pitchFamily="34" charset="0"/>
              </a:rPr>
              <a:t>Ταμείο Δυτικής Μακεδονίας: 637 εγκρίσεις / 18,5 εκ.€</a:t>
            </a:r>
            <a:endParaRPr lang="el-GR" sz="1733" dirty="0">
              <a:solidFill>
                <a:schemeClr val="tx1"/>
              </a:solidFill>
              <a:latin typeface="Arial" panose="020B0604020202020204" pitchFamily="34" charset="0"/>
              <a:ea typeface="Urbanist" panose="020B0604020202020204" charset="0"/>
              <a:cs typeface="Arial" panose="020B0604020202020204" pitchFamily="34" charset="0"/>
            </a:endParaRPr>
          </a:p>
          <a:p>
            <a:pPr marL="171446" indent="-251994">
              <a:lnSpc>
                <a:spcPct val="150000"/>
              </a:lnSpc>
              <a:spcBef>
                <a:spcPts val="600"/>
              </a:spcBef>
              <a:buClr>
                <a:srgbClr val="FFC000"/>
              </a:buClr>
              <a:buFont typeface="Wingdings" panose="05000000000000000000" pitchFamily="2" charset="2"/>
              <a:buChar char="ü"/>
            </a:pPr>
            <a:r>
              <a:rPr lang="el-GR" sz="1733" dirty="0">
                <a:solidFill>
                  <a:schemeClr val="tx1"/>
                </a:solidFill>
                <a:latin typeface="Arial" panose="020B0604020202020204" pitchFamily="34" charset="0"/>
                <a:ea typeface="Urbanist" panose="020B0604020202020204" charset="0"/>
                <a:cs typeface="Arial" panose="020B0604020202020204" pitchFamily="34" charset="0"/>
              </a:rPr>
              <a:t>Ταμείο Μικρών Δανείων Αγροτικής Επιχειρηματικότητας: 330 εγκρίσεις / 7,8 εκ.</a:t>
            </a:r>
            <a:r>
              <a:rPr lang="el-GR" sz="1733" dirty="0" smtClean="0">
                <a:solidFill>
                  <a:schemeClr val="tx1"/>
                </a:solidFill>
                <a:latin typeface="Arial" panose="020B0604020202020204" pitchFamily="34" charset="0"/>
                <a:ea typeface="Urbanist" panose="020B0604020202020204" charset="0"/>
                <a:cs typeface="Arial" panose="020B0604020202020204" pitchFamily="34" charset="0"/>
              </a:rPr>
              <a:t>€</a:t>
            </a:r>
            <a:endParaRPr lang="el-GR" sz="1733" dirty="0">
              <a:solidFill>
                <a:schemeClr val="tx1"/>
              </a:solidFill>
              <a:latin typeface="Arial" panose="020B0604020202020204" pitchFamily="34" charset="0"/>
              <a:ea typeface="Urbanist" panose="020B0604020202020204" charset="0"/>
              <a:cs typeface="Arial" panose="020B0604020202020204" pitchFamily="34" charset="0"/>
            </a:endParaRPr>
          </a:p>
          <a:p>
            <a:pPr marL="171446" indent="-251994">
              <a:lnSpc>
                <a:spcPct val="150000"/>
              </a:lnSpc>
              <a:spcBef>
                <a:spcPts val="600"/>
              </a:spcBef>
              <a:buClr>
                <a:srgbClr val="FFC000"/>
              </a:buClr>
              <a:buFont typeface="Wingdings" panose="05000000000000000000" pitchFamily="2" charset="2"/>
              <a:buChar char="ü"/>
            </a:pPr>
            <a:r>
              <a:rPr lang="el-GR" sz="1733" dirty="0">
                <a:solidFill>
                  <a:schemeClr val="tx1"/>
                </a:solidFill>
                <a:latin typeface="Arial" panose="020B0604020202020204" pitchFamily="34" charset="0"/>
                <a:ea typeface="Urbanist" panose="020B0604020202020204" charset="0"/>
                <a:cs typeface="Arial" panose="020B0604020202020204" pitchFamily="34" charset="0"/>
              </a:rPr>
              <a:t>Πρόγραμμα Ρευστότητας Επιχειρήσεων: 50 εγκρίσεις / 10,6 εκ.</a:t>
            </a:r>
            <a:r>
              <a:rPr lang="el-GR" sz="1733" dirty="0" smtClean="0">
                <a:solidFill>
                  <a:schemeClr val="tx1"/>
                </a:solidFill>
                <a:latin typeface="Arial" panose="020B0604020202020204" pitchFamily="34" charset="0"/>
                <a:ea typeface="Urbanist" panose="020B0604020202020204" charset="0"/>
                <a:cs typeface="Arial" panose="020B0604020202020204" pitchFamily="34" charset="0"/>
              </a:rPr>
              <a:t>€</a:t>
            </a:r>
          </a:p>
          <a:p>
            <a:pPr marL="171446" indent="-251994">
              <a:lnSpc>
                <a:spcPct val="150000"/>
              </a:lnSpc>
              <a:spcBef>
                <a:spcPts val="600"/>
              </a:spcBef>
              <a:buClr>
                <a:srgbClr val="FFC000"/>
              </a:buClr>
              <a:buFont typeface="Wingdings" panose="05000000000000000000" pitchFamily="2" charset="2"/>
              <a:buChar char="ü"/>
            </a:pPr>
            <a:endParaRPr lang="el-GR" sz="1733" dirty="0">
              <a:solidFill>
                <a:schemeClr val="tx1"/>
              </a:solidFill>
              <a:latin typeface="Arial" panose="020B0604020202020204" pitchFamily="34" charset="0"/>
              <a:ea typeface="Urbanist" panose="020B0604020202020204" charset="0"/>
              <a:cs typeface="Arial" panose="020B0604020202020204" pitchFamily="34" charset="0"/>
            </a:endParaRPr>
          </a:p>
        </p:txBody>
      </p:sp>
      <p:sp>
        <p:nvSpPr>
          <p:cNvPr id="10"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9039417" cy="795145"/>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Arial" panose="020B0604020202020204" pitchFamily="34" charset="0"/>
                <a:ea typeface="Urbanist" panose="020B0604020202020204" charset="0"/>
                <a:cs typeface="Arial" panose="020B0604020202020204" pitchFamily="34" charset="0"/>
              </a:rPr>
              <a:t>Προγράμματα Ελληνικής Αναπτυξιακής Τράπεζας</a:t>
            </a:r>
          </a:p>
        </p:txBody>
      </p:sp>
      <p:cxnSp>
        <p:nvCxnSpPr>
          <p:cNvPr id="11" name="Ευθεία γραμμή σύνδεσης 10">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12" name="Ομάδα 11">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13"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14"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Google Shape;801;p59">
            <a:extLst>
              <a:ext uri="{FF2B5EF4-FFF2-40B4-BE49-F238E27FC236}">
                <a16:creationId xmlns:a16="http://schemas.microsoft.com/office/drawing/2014/main" id="{3CC18C9F-E818-4175-AB80-35BB496923D7}"/>
              </a:ext>
            </a:extLst>
          </p:cNvPr>
          <p:cNvSpPr/>
          <p:nvPr/>
        </p:nvSpPr>
        <p:spPr>
          <a:xfrm>
            <a:off x="752726" y="2515965"/>
            <a:ext cx="2753954" cy="522032"/>
          </a:xfrm>
          <a:prstGeom prst="roundRect">
            <a:avLst>
              <a:gd name="adj" fmla="val 50000"/>
            </a:avLst>
          </a:prstGeom>
          <a:solidFill>
            <a:srgbClr val="D8F1FC"/>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r>
              <a:rPr lang="el-GR" sz="2489" dirty="0">
                <a:solidFill>
                  <a:srgbClr val="085195"/>
                </a:solidFill>
                <a:ea typeface="Urbanist" panose="020B0604020202020204" charset="0"/>
                <a:cs typeface="Urbanist" panose="020B0604020202020204" charset="0"/>
                <a:sym typeface="Montserrat SemiBold"/>
              </a:rPr>
              <a:t>Ενίσχυση </a:t>
            </a:r>
            <a:r>
              <a:rPr lang="el-GR" sz="2489" dirty="0" err="1">
                <a:solidFill>
                  <a:srgbClr val="085195"/>
                </a:solidFill>
                <a:ea typeface="Urbanist" panose="020B0604020202020204" charset="0"/>
                <a:cs typeface="Urbanist" panose="020B0604020202020204" charset="0"/>
                <a:sym typeface="Montserrat SemiBold"/>
              </a:rPr>
              <a:t>ΜμΕ</a:t>
            </a:r>
            <a:endParaRPr lang="el-GR" sz="2489" dirty="0">
              <a:solidFill>
                <a:srgbClr val="085195"/>
              </a:solidFill>
              <a:ea typeface="Urbanist" panose="020B0604020202020204" charset="0"/>
              <a:cs typeface="Urbanist" panose="020B0604020202020204" charset="0"/>
              <a:sym typeface="Montserrat SemiBold"/>
            </a:endParaRPr>
          </a:p>
        </p:txBody>
      </p:sp>
      <p:sp>
        <p:nvSpPr>
          <p:cNvPr id="22" name="Στρογγυλεμένο ορθογώνιο 17">
            <a:extLst>
              <a:ext uri="{FF2B5EF4-FFF2-40B4-BE49-F238E27FC236}">
                <a16:creationId xmlns:a16="http://schemas.microsoft.com/office/drawing/2014/main" id="{BFED3B9B-B660-4677-B1E9-23954423363D}"/>
              </a:ext>
            </a:extLst>
          </p:cNvPr>
          <p:cNvSpPr/>
          <p:nvPr/>
        </p:nvSpPr>
        <p:spPr>
          <a:xfrm>
            <a:off x="4300205" y="5622982"/>
            <a:ext cx="5693540" cy="1079948"/>
          </a:xfrm>
          <a:prstGeom prst="roundRect">
            <a:avLst/>
          </a:prstGeom>
          <a:noFill/>
          <a:ln w="19050">
            <a:solidFill>
              <a:srgbClr val="D7EDE8"/>
            </a:solidFill>
          </a:ln>
        </p:spPr>
        <p:style>
          <a:lnRef idx="2">
            <a:schemeClr val="accent5"/>
          </a:lnRef>
          <a:fillRef idx="1">
            <a:schemeClr val="lt1"/>
          </a:fillRef>
          <a:effectRef idx="0">
            <a:schemeClr val="accent5"/>
          </a:effectRef>
          <a:fontRef idx="minor">
            <a:schemeClr val="dk1"/>
          </a:fontRef>
        </p:style>
        <p:txBody>
          <a:bodyPr lIns="36000"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71446" indent="-251994">
              <a:lnSpc>
                <a:spcPct val="150000"/>
              </a:lnSpc>
              <a:spcBef>
                <a:spcPts val="600"/>
              </a:spcBef>
              <a:buClr>
                <a:srgbClr val="FFC000"/>
              </a:buClr>
              <a:buFont typeface="Wingdings" panose="05000000000000000000" pitchFamily="2" charset="2"/>
              <a:buChar char="ü"/>
            </a:pPr>
            <a:r>
              <a:rPr lang="el-GR" sz="1733" dirty="0">
                <a:solidFill>
                  <a:schemeClr val="tx1"/>
                </a:solidFill>
                <a:latin typeface="Arial" panose="020B0604020202020204" pitchFamily="34" charset="0"/>
                <a:ea typeface="Urbanist" panose="020B0604020202020204" charset="0"/>
                <a:cs typeface="Arial" panose="020B0604020202020204" pitchFamily="34" charset="0"/>
              </a:rPr>
              <a:t>«Σπίτι μου ΙΙ»: 253 εγκρίσεις / 23,5 εκ.€</a:t>
            </a:r>
          </a:p>
          <a:p>
            <a:pPr marL="171446" indent="-251994">
              <a:lnSpc>
                <a:spcPct val="150000"/>
              </a:lnSpc>
              <a:spcBef>
                <a:spcPts val="600"/>
              </a:spcBef>
              <a:buClr>
                <a:srgbClr val="FFC000"/>
              </a:buClr>
              <a:buFont typeface="Wingdings" panose="05000000000000000000" pitchFamily="2" charset="2"/>
              <a:buChar char="ü"/>
            </a:pPr>
            <a:r>
              <a:rPr lang="el-GR" sz="1733" dirty="0">
                <a:solidFill>
                  <a:schemeClr val="tx1"/>
                </a:solidFill>
                <a:latin typeface="Arial" panose="020B0604020202020204" pitchFamily="34" charset="0"/>
                <a:ea typeface="Urbanist" panose="020B0604020202020204" charset="0"/>
                <a:cs typeface="Arial" panose="020B0604020202020204" pitchFamily="34" charset="0"/>
              </a:rPr>
              <a:t>«Αναβαθμίζω το Σπίτι μου»: 48 εγκρίσεις / 0,7 εκ.€ </a:t>
            </a:r>
          </a:p>
        </p:txBody>
      </p:sp>
      <p:sp>
        <p:nvSpPr>
          <p:cNvPr id="18" name="Google Shape;801;p59">
            <a:extLst>
              <a:ext uri="{FF2B5EF4-FFF2-40B4-BE49-F238E27FC236}">
                <a16:creationId xmlns:a16="http://schemas.microsoft.com/office/drawing/2014/main" id="{3CC18C9F-E818-4175-AB80-35BB496923D7}"/>
              </a:ext>
            </a:extLst>
          </p:cNvPr>
          <p:cNvSpPr/>
          <p:nvPr/>
        </p:nvSpPr>
        <p:spPr>
          <a:xfrm>
            <a:off x="2968488" y="5208324"/>
            <a:ext cx="2935162" cy="522032"/>
          </a:xfrm>
          <a:prstGeom prst="roundRect">
            <a:avLst>
              <a:gd name="adj" fmla="val 50000"/>
            </a:avLst>
          </a:prstGeom>
          <a:solidFill>
            <a:srgbClr val="D8F1FC"/>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r>
              <a:rPr lang="el-GR" sz="2489" dirty="0">
                <a:solidFill>
                  <a:srgbClr val="085195"/>
                </a:solidFill>
                <a:ea typeface="Urbanist" panose="020B0604020202020204" charset="0"/>
                <a:cs typeface="Urbanist" panose="020B0604020202020204" charset="0"/>
                <a:sym typeface="Montserrat SemiBold"/>
              </a:rPr>
              <a:t>Ενίσχυση Ιδιωτών</a:t>
            </a:r>
          </a:p>
        </p:txBody>
      </p:sp>
      <p:sp>
        <p:nvSpPr>
          <p:cNvPr id="7" name="Δάκρυ 6"/>
          <p:cNvSpPr/>
          <p:nvPr/>
        </p:nvSpPr>
        <p:spPr>
          <a:xfrm>
            <a:off x="2639835" y="5220363"/>
            <a:ext cx="434672" cy="417377"/>
          </a:xfrm>
          <a:prstGeom prst="teardrop">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2489"/>
          </a:p>
        </p:txBody>
      </p:sp>
      <p:sp>
        <p:nvSpPr>
          <p:cNvPr id="23" name="Δάκρυ 22"/>
          <p:cNvSpPr/>
          <p:nvPr/>
        </p:nvSpPr>
        <p:spPr>
          <a:xfrm>
            <a:off x="535389" y="2495440"/>
            <a:ext cx="434672" cy="417377"/>
          </a:xfrm>
          <a:prstGeom prst="teardrop">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endParaRPr lang="el-GR" sz="2489"/>
          </a:p>
        </p:txBody>
      </p:sp>
    </p:spTree>
    <p:extLst>
      <p:ext uri="{BB962C8B-B14F-4D97-AF65-F5344CB8AC3E}">
        <p14:creationId xmlns:p14="http://schemas.microsoft.com/office/powerpoint/2010/main" val="17953172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F666D-0ADF-D06D-FEA3-35F79BCB0775}"/>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D2A40DD3-6273-D812-E063-F6A00E93487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344" name="think-cell Slide" r:id="rId4" imgW="350" imgH="350" progId="TCLayout.ActiveDocument.1">
                  <p:embed/>
                </p:oleObj>
              </mc:Choice>
              <mc:Fallback>
                <p:oleObj name="think-cell Slide" r:id="rId4" imgW="350" imgH="350" progId="TCLayout.ActiveDocument.1">
                  <p:embed/>
                  <p:pic>
                    <p:nvPicPr>
                      <p:cNvPr id="20" name="think-cell data - do not delete" hidden="1">
                        <a:extLst>
                          <a:ext uri="{FF2B5EF4-FFF2-40B4-BE49-F238E27FC236}">
                            <a16:creationId xmlns:a16="http://schemas.microsoft.com/office/drawing/2014/main" id="{D2A40DD3-6273-D812-E063-F6A00E93487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Google Shape;475;p49">
            <a:extLst>
              <a:ext uri="{FF2B5EF4-FFF2-40B4-BE49-F238E27FC236}">
                <a16:creationId xmlns:a16="http://schemas.microsoft.com/office/drawing/2014/main" id="{955318AE-0BCA-4F5C-8964-0CA4BDC726CB}"/>
              </a:ext>
            </a:extLst>
          </p:cNvPr>
          <p:cNvSpPr/>
          <p:nvPr/>
        </p:nvSpPr>
        <p:spPr>
          <a:xfrm>
            <a:off x="1884710" y="1271987"/>
            <a:ext cx="3630667" cy="1099839"/>
          </a:xfrm>
          <a:prstGeom prst="roundRect">
            <a:avLst>
              <a:gd name="adj" fmla="val 50000"/>
            </a:avLst>
          </a:prstGeom>
          <a:solidFill>
            <a:srgbClr val="D7EDE8"/>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r>
              <a:rPr lang="el-GR" sz="1733" b="1" dirty="0">
                <a:solidFill>
                  <a:srgbClr val="085195"/>
                </a:solidFill>
                <a:latin typeface="Arial" panose="020B0604020202020204" pitchFamily="34" charset="0"/>
                <a:ea typeface="Calibri" panose="020F0502020204030204" pitchFamily="34" charset="0"/>
                <a:cs typeface="Arial" panose="020B0604020202020204" pitchFamily="34" charset="0"/>
              </a:rPr>
              <a:t>Ανέγερση φοιτητικών εστιών </a:t>
            </a:r>
            <a:r>
              <a:rPr lang="el-GR" sz="1600" dirty="0">
                <a:solidFill>
                  <a:srgbClr val="085195"/>
                </a:solidFill>
                <a:latin typeface="Arial" panose="020B0604020202020204" pitchFamily="34" charset="0"/>
                <a:ea typeface="Calibri" panose="020F0502020204030204" pitchFamily="34" charset="0"/>
                <a:cs typeface="Arial" panose="020B0604020202020204" pitchFamily="34" charset="0"/>
              </a:rPr>
              <a:t>συνολικής δυναμικότητας 750 κλινών</a:t>
            </a:r>
          </a:p>
        </p:txBody>
      </p:sp>
      <p:sp>
        <p:nvSpPr>
          <p:cNvPr id="11" name="Google Shape;476;p49">
            <a:extLst>
              <a:ext uri="{FF2B5EF4-FFF2-40B4-BE49-F238E27FC236}">
                <a16:creationId xmlns:a16="http://schemas.microsoft.com/office/drawing/2014/main" id="{0F6407F9-769D-4B10-B087-B9705C70E1FE}"/>
              </a:ext>
            </a:extLst>
          </p:cNvPr>
          <p:cNvSpPr/>
          <p:nvPr/>
        </p:nvSpPr>
        <p:spPr>
          <a:xfrm>
            <a:off x="5898854" y="1812229"/>
            <a:ext cx="3751197" cy="1099839"/>
          </a:xfrm>
          <a:prstGeom prst="roundRect">
            <a:avLst>
              <a:gd name="adj" fmla="val 50000"/>
            </a:avLst>
          </a:prstGeom>
          <a:solidFill>
            <a:srgbClr val="FFE0A7"/>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lvl="0" algn="ctr"/>
            <a:r>
              <a:rPr lang="el-GR" sz="1733" b="1" dirty="0">
                <a:solidFill>
                  <a:srgbClr val="085195"/>
                </a:solidFill>
                <a:latin typeface="Arial" panose="020B0604020202020204" pitchFamily="34" charset="0"/>
                <a:ea typeface="Calibri" panose="020F0502020204030204" pitchFamily="34" charset="0"/>
                <a:cs typeface="Arial" panose="020B0604020202020204" pitchFamily="34" charset="0"/>
              </a:rPr>
              <a:t>Πολύ-λειτουργικό συγκρότημα </a:t>
            </a:r>
            <a:r>
              <a:rPr lang="el-GR" sz="1600" dirty="0">
                <a:solidFill>
                  <a:srgbClr val="085195"/>
                </a:solidFill>
                <a:latin typeface="Arial" panose="020B0604020202020204" pitchFamily="34" charset="0"/>
                <a:ea typeface="Calibri" panose="020F0502020204030204" pitchFamily="34" charset="0"/>
                <a:cs typeface="Arial" panose="020B0604020202020204" pitchFamily="34" charset="0"/>
              </a:rPr>
              <a:t>στη Ζώνη Ενεργού Πολεοδομίας Κοζάνης</a:t>
            </a:r>
          </a:p>
        </p:txBody>
      </p:sp>
      <p:sp>
        <p:nvSpPr>
          <p:cNvPr id="13" name="Google Shape;486;p49">
            <a:extLst>
              <a:ext uri="{FF2B5EF4-FFF2-40B4-BE49-F238E27FC236}">
                <a16:creationId xmlns:a16="http://schemas.microsoft.com/office/drawing/2014/main" id="{E9FD0967-8AB7-47FE-A16C-1DB887B2DA74}"/>
              </a:ext>
            </a:extLst>
          </p:cNvPr>
          <p:cNvSpPr txBox="1">
            <a:spLocks/>
          </p:cNvSpPr>
          <p:nvPr/>
        </p:nvSpPr>
        <p:spPr>
          <a:xfrm>
            <a:off x="1682653" y="923979"/>
            <a:ext cx="835800" cy="572696"/>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
                <a:srgbClr val="164A4A"/>
              </a:buClr>
              <a:defRPr/>
            </a:pPr>
            <a:r>
              <a:rPr lang="en" sz="4000" dirty="0" smtClean="0">
                <a:solidFill>
                  <a:srgbClr val="ADDDD4"/>
                </a:solidFill>
                <a:latin typeface="Arial" panose="020B0604020202020204" pitchFamily="34" charset="0"/>
                <a:cs typeface="Arial" panose="020B0604020202020204" pitchFamily="34" charset="0"/>
              </a:rPr>
              <a:t>0</a:t>
            </a:r>
            <a:r>
              <a:rPr lang="el-GR" sz="4000" dirty="0" smtClean="0">
                <a:solidFill>
                  <a:srgbClr val="ADDDD4"/>
                </a:solidFill>
                <a:latin typeface="Arial" panose="020B0604020202020204" pitchFamily="34" charset="0"/>
                <a:cs typeface="Arial" panose="020B0604020202020204" pitchFamily="34" charset="0"/>
              </a:rPr>
              <a:t>1</a:t>
            </a:r>
            <a:endParaRPr lang="en" sz="4000" dirty="0">
              <a:solidFill>
                <a:srgbClr val="ADDDD4"/>
              </a:solidFill>
              <a:latin typeface="Arial" panose="020B0604020202020204" pitchFamily="34" charset="0"/>
              <a:cs typeface="Arial" panose="020B0604020202020204" pitchFamily="34" charset="0"/>
            </a:endParaRPr>
          </a:p>
        </p:txBody>
      </p:sp>
      <p:sp>
        <p:nvSpPr>
          <p:cNvPr id="14" name="Google Shape;489;p49">
            <a:extLst>
              <a:ext uri="{FF2B5EF4-FFF2-40B4-BE49-F238E27FC236}">
                <a16:creationId xmlns:a16="http://schemas.microsoft.com/office/drawing/2014/main" id="{B050FB02-F863-4952-9CF1-0DFA7733A922}"/>
              </a:ext>
            </a:extLst>
          </p:cNvPr>
          <p:cNvSpPr txBox="1">
            <a:spLocks/>
          </p:cNvSpPr>
          <p:nvPr/>
        </p:nvSpPr>
        <p:spPr>
          <a:xfrm>
            <a:off x="5653107" y="1514355"/>
            <a:ext cx="835800" cy="572696"/>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914377">
              <a:buClr>
                <a:srgbClr val="164A4A"/>
              </a:buClr>
              <a:defRPr/>
            </a:pPr>
            <a:r>
              <a:rPr lang="en" sz="4000" dirty="0" smtClean="0">
                <a:solidFill>
                  <a:srgbClr val="E5AA69"/>
                </a:solidFill>
                <a:latin typeface="Arial" panose="020B0604020202020204" pitchFamily="34" charset="0"/>
                <a:cs typeface="Arial" panose="020B0604020202020204" pitchFamily="34" charset="0"/>
              </a:rPr>
              <a:t>0</a:t>
            </a:r>
            <a:r>
              <a:rPr lang="el-GR" sz="4000" dirty="0" smtClean="0">
                <a:solidFill>
                  <a:srgbClr val="E5AA69"/>
                </a:solidFill>
                <a:latin typeface="Arial" panose="020B0604020202020204" pitchFamily="34" charset="0"/>
                <a:cs typeface="Arial" panose="020B0604020202020204" pitchFamily="34" charset="0"/>
              </a:rPr>
              <a:t>2</a:t>
            </a:r>
            <a:endParaRPr lang="en" sz="4000" dirty="0">
              <a:solidFill>
                <a:srgbClr val="E5AA69"/>
              </a:solidFill>
              <a:latin typeface="Arial" panose="020B0604020202020204" pitchFamily="34" charset="0"/>
              <a:cs typeface="Arial" panose="020B0604020202020204" pitchFamily="34" charset="0"/>
            </a:endParaRPr>
          </a:p>
        </p:txBody>
      </p:sp>
      <p:sp>
        <p:nvSpPr>
          <p:cNvPr id="6" name="Ορθογώνιο 5">
            <a:extLst>
              <a:ext uri="{FF2B5EF4-FFF2-40B4-BE49-F238E27FC236}">
                <a16:creationId xmlns:a16="http://schemas.microsoft.com/office/drawing/2014/main" id="{12E82B27-4145-4E6D-BFA7-C12E8648A462}"/>
              </a:ext>
            </a:extLst>
          </p:cNvPr>
          <p:cNvSpPr/>
          <p:nvPr/>
        </p:nvSpPr>
        <p:spPr>
          <a:xfrm>
            <a:off x="2226484" y="2823337"/>
            <a:ext cx="3288893" cy="1805623"/>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85744" indent="-285744">
              <a:spcAft>
                <a:spcPts val="800"/>
              </a:spcAft>
              <a:buFont typeface="Wingdings" panose="05000000000000000000" pitchFamily="2" charset="2"/>
              <a:buChar char="ü"/>
            </a:pPr>
            <a:r>
              <a:rPr lang="el-GR" sz="1400" dirty="0">
                <a:latin typeface="Arial" panose="020B0604020202020204" pitchFamily="34" charset="0"/>
                <a:cs typeface="Arial" panose="020B0604020202020204" pitchFamily="34" charset="0"/>
              </a:rPr>
              <a:t>Στις πανεπιστημιουπόλεις του Πανεπιστημίου Δυτικής Μακεδονίας</a:t>
            </a:r>
            <a:endParaRPr lang="el-GR" sz="1400" dirty="0">
              <a:solidFill>
                <a:srgbClr val="085195"/>
              </a:solidFill>
              <a:latin typeface="Arial" panose="020B0604020202020204" pitchFamily="34" charset="0"/>
              <a:ea typeface="Calibri" panose="020F0502020204030204" pitchFamily="34" charset="0"/>
              <a:cs typeface="Arial" panose="020B0604020202020204" pitchFamily="34" charset="0"/>
            </a:endParaRPr>
          </a:p>
          <a:p>
            <a:pPr marL="285744" indent="-285744">
              <a:spcAft>
                <a:spcPts val="800"/>
              </a:spcAft>
              <a:buFont typeface="Wingdings" panose="05000000000000000000" pitchFamily="2" charset="2"/>
              <a:buChar char="ü"/>
            </a:pPr>
            <a:r>
              <a:rPr lang="el-GR" sz="1400" dirty="0">
                <a:latin typeface="Arial" panose="020B0604020202020204" pitchFamily="34" charset="0"/>
                <a:ea typeface="Calibri" panose="020F0502020204030204" pitchFamily="34" charset="0"/>
                <a:cs typeface="Arial" panose="020B0604020202020204" pitchFamily="34" charset="0"/>
              </a:rPr>
              <a:t>Μέγιστη διάρκεια σύμβασης 30 έτη </a:t>
            </a:r>
          </a:p>
          <a:p>
            <a:pPr marL="285744" indent="-285744">
              <a:spcAft>
                <a:spcPts val="800"/>
              </a:spcAft>
              <a:buFont typeface="Wingdings" panose="05000000000000000000" pitchFamily="2" charset="2"/>
              <a:buChar char="ü"/>
            </a:pPr>
            <a:r>
              <a:rPr lang="el-GR" sz="1400" dirty="0">
                <a:latin typeface="Arial" panose="020B0604020202020204" pitchFamily="34" charset="0"/>
                <a:ea typeface="Calibri" panose="020F0502020204030204" pitchFamily="34" charset="0"/>
                <a:cs typeface="Arial" panose="020B0604020202020204" pitchFamily="34" charset="0"/>
              </a:rPr>
              <a:t>Αναμένεται η έναρξη της ΒΙΙ φάσης &amp; ανάδειξη προσωρινού αναδόχου το </a:t>
            </a:r>
            <a:r>
              <a:rPr lang="en-US" sz="1400" dirty="0">
                <a:latin typeface="Arial" panose="020B0604020202020204" pitchFamily="34" charset="0"/>
                <a:ea typeface="Calibri" panose="020F0502020204030204" pitchFamily="34" charset="0"/>
                <a:cs typeface="Arial" panose="020B0604020202020204" pitchFamily="34" charset="0"/>
              </a:rPr>
              <a:t>Q4/</a:t>
            </a:r>
            <a:r>
              <a:rPr lang="el-GR" sz="1400" dirty="0">
                <a:latin typeface="Arial" panose="020B0604020202020204" pitchFamily="34" charset="0"/>
                <a:ea typeface="Calibri" panose="020F0502020204030204" pitchFamily="34" charset="0"/>
                <a:cs typeface="Arial" panose="020B0604020202020204" pitchFamily="34" charset="0"/>
              </a:rPr>
              <a:t>2025, με υπογραφή σύμβασης το </a:t>
            </a:r>
            <a:r>
              <a:rPr lang="en-US" sz="1400" dirty="0">
                <a:latin typeface="Arial" panose="020B0604020202020204" pitchFamily="34" charset="0"/>
                <a:ea typeface="Calibri" panose="020F0502020204030204" pitchFamily="34" charset="0"/>
                <a:cs typeface="Arial" panose="020B0604020202020204" pitchFamily="34" charset="0"/>
              </a:rPr>
              <a:t>Q3/</a:t>
            </a:r>
            <a:r>
              <a:rPr lang="el-GR" sz="1400" dirty="0">
                <a:latin typeface="Arial" panose="020B0604020202020204" pitchFamily="34" charset="0"/>
                <a:ea typeface="Calibri" panose="020F0502020204030204" pitchFamily="34" charset="0"/>
                <a:cs typeface="Arial" panose="020B0604020202020204" pitchFamily="34" charset="0"/>
              </a:rPr>
              <a:t>2026. </a:t>
            </a:r>
          </a:p>
        </p:txBody>
      </p:sp>
      <p:sp>
        <p:nvSpPr>
          <p:cNvPr id="7" name="Ορθογώνιο 6">
            <a:extLst>
              <a:ext uri="{FF2B5EF4-FFF2-40B4-BE49-F238E27FC236}">
                <a16:creationId xmlns:a16="http://schemas.microsoft.com/office/drawing/2014/main" id="{221B6DA7-FE36-49BD-8232-6AB22EDF8026}"/>
              </a:ext>
            </a:extLst>
          </p:cNvPr>
          <p:cNvSpPr/>
          <p:nvPr/>
        </p:nvSpPr>
        <p:spPr>
          <a:xfrm>
            <a:off x="2698906" y="2433485"/>
            <a:ext cx="2022763" cy="359009"/>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733" dirty="0">
                <a:latin typeface="Arial" panose="020B0604020202020204" pitchFamily="34" charset="0"/>
                <a:ea typeface="Calibri" panose="020F0502020204030204" pitchFamily="34" charset="0"/>
                <a:cs typeface="Arial" panose="020B0604020202020204" pitchFamily="34" charset="0"/>
              </a:rPr>
              <a:t>Π/Υ: </a:t>
            </a:r>
            <a:r>
              <a:rPr lang="el-GR" sz="1733" b="1" dirty="0">
                <a:solidFill>
                  <a:srgbClr val="085195"/>
                </a:solidFill>
                <a:latin typeface="Arial" panose="020B0604020202020204" pitchFamily="34" charset="0"/>
                <a:ea typeface="Calibri" panose="020F0502020204030204" pitchFamily="34" charset="0"/>
                <a:cs typeface="Arial" panose="020B0604020202020204" pitchFamily="34" charset="0"/>
              </a:rPr>
              <a:t>84,95 εκ.€ </a:t>
            </a:r>
          </a:p>
        </p:txBody>
      </p:sp>
      <p:sp>
        <p:nvSpPr>
          <p:cNvPr id="17" name="Ορθογώνιο 16">
            <a:extLst>
              <a:ext uri="{FF2B5EF4-FFF2-40B4-BE49-F238E27FC236}">
                <a16:creationId xmlns:a16="http://schemas.microsoft.com/office/drawing/2014/main" id="{A1E28B49-E017-44AF-B35F-7238464C7B45}"/>
              </a:ext>
            </a:extLst>
          </p:cNvPr>
          <p:cNvSpPr/>
          <p:nvPr/>
        </p:nvSpPr>
        <p:spPr>
          <a:xfrm>
            <a:off x="6130006" y="3296144"/>
            <a:ext cx="3288893" cy="2267288"/>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85744" indent="-285744">
              <a:spcAft>
                <a:spcPts val="800"/>
              </a:spcAft>
              <a:buFont typeface="Wingdings" panose="05000000000000000000" pitchFamily="2" charset="2"/>
              <a:buChar char="ü"/>
            </a:pPr>
            <a:r>
              <a:rPr lang="el-GR" sz="1400" dirty="0">
                <a:latin typeface="Arial" panose="020B0604020202020204" pitchFamily="34" charset="0"/>
                <a:cs typeface="Arial" panose="020B0604020202020204" pitchFamily="34" charset="0"/>
              </a:rPr>
              <a:t>Περιλαμβάνει Κέντρο Διάδοσης Τεχνολογίας, αθλητικές εγκαταστάσεις και σχολικά κτίρια</a:t>
            </a:r>
          </a:p>
          <a:p>
            <a:pPr marL="285744" indent="-285744">
              <a:spcAft>
                <a:spcPts val="800"/>
              </a:spcAft>
              <a:buFont typeface="Wingdings" panose="05000000000000000000" pitchFamily="2" charset="2"/>
              <a:buChar char="ü"/>
            </a:pPr>
            <a:r>
              <a:rPr lang="el-GR" sz="1400" dirty="0">
                <a:latin typeface="Arial" panose="020B0604020202020204" pitchFamily="34" charset="0"/>
                <a:cs typeface="Arial" panose="020B0604020202020204" pitchFamily="34" charset="0"/>
              </a:rPr>
              <a:t>Μέγιστη διάρκεια σύμβασης 30 έτη </a:t>
            </a:r>
          </a:p>
          <a:p>
            <a:pPr marL="285744" indent="-285744">
              <a:spcAft>
                <a:spcPts val="800"/>
              </a:spcAft>
              <a:buFont typeface="Wingdings" panose="05000000000000000000" pitchFamily="2" charset="2"/>
              <a:buChar char="ü"/>
            </a:pPr>
            <a:r>
              <a:rPr lang="el-GR" sz="1400" dirty="0">
                <a:latin typeface="Arial" panose="020B0604020202020204" pitchFamily="34" charset="0"/>
                <a:cs typeface="Arial" panose="020B0604020202020204" pitchFamily="34" charset="0"/>
              </a:rPr>
              <a:t>Αναμένεται η έναρξη της ΒΙΙ φάσης και η ανάδειξη προσωρινού αναδόχου το </a:t>
            </a:r>
            <a:r>
              <a:rPr lang="en-US" sz="1400" dirty="0">
                <a:latin typeface="Arial" panose="020B0604020202020204" pitchFamily="34" charset="0"/>
                <a:ea typeface="Calibri" panose="020F0502020204030204" pitchFamily="34" charset="0"/>
                <a:cs typeface="Arial" panose="020B0604020202020204" pitchFamily="34" charset="0"/>
              </a:rPr>
              <a:t>Q4/</a:t>
            </a:r>
            <a:r>
              <a:rPr lang="el-GR" sz="1400" dirty="0">
                <a:latin typeface="Arial" panose="020B0604020202020204" pitchFamily="34" charset="0"/>
                <a:ea typeface="Calibri" panose="020F0502020204030204" pitchFamily="34" charset="0"/>
                <a:cs typeface="Arial" panose="020B0604020202020204" pitchFamily="34" charset="0"/>
              </a:rPr>
              <a:t>2025</a:t>
            </a:r>
            <a:r>
              <a:rPr lang="el-GR" sz="1400" dirty="0">
                <a:latin typeface="Arial" panose="020B0604020202020204" pitchFamily="34" charset="0"/>
                <a:cs typeface="Arial" panose="020B0604020202020204" pitchFamily="34" charset="0"/>
              </a:rPr>
              <a:t>, με υπογραφή σύμβασης εντός του </a:t>
            </a:r>
            <a:r>
              <a:rPr lang="en-US" sz="1400" dirty="0">
                <a:latin typeface="Arial" panose="020B0604020202020204" pitchFamily="34" charset="0"/>
                <a:cs typeface="Arial" panose="020B0604020202020204" pitchFamily="34" charset="0"/>
              </a:rPr>
              <a:t>Q2 </a:t>
            </a:r>
            <a:r>
              <a:rPr lang="el-GR" sz="1400" dirty="0">
                <a:latin typeface="Arial" panose="020B0604020202020204" pitchFamily="34" charset="0"/>
                <a:cs typeface="Arial" panose="020B0604020202020204" pitchFamily="34" charset="0"/>
              </a:rPr>
              <a:t>ή </a:t>
            </a:r>
            <a:r>
              <a:rPr lang="en-US" sz="1400" dirty="0">
                <a:latin typeface="Arial" panose="020B0604020202020204" pitchFamily="34" charset="0"/>
                <a:cs typeface="Arial" panose="020B0604020202020204" pitchFamily="34" charset="0"/>
              </a:rPr>
              <a:t>Q3/ </a:t>
            </a:r>
            <a:r>
              <a:rPr lang="el-GR" sz="1400" dirty="0">
                <a:latin typeface="Arial" panose="020B0604020202020204" pitchFamily="34" charset="0"/>
                <a:cs typeface="Arial" panose="020B0604020202020204" pitchFamily="34" charset="0"/>
              </a:rPr>
              <a:t>2026.</a:t>
            </a:r>
          </a:p>
        </p:txBody>
      </p:sp>
      <p:sp>
        <p:nvSpPr>
          <p:cNvPr id="22" name="Ορθογώνιο 21">
            <a:extLst>
              <a:ext uri="{FF2B5EF4-FFF2-40B4-BE49-F238E27FC236}">
                <a16:creationId xmlns:a16="http://schemas.microsoft.com/office/drawing/2014/main" id="{5FD0C149-B794-4C20-B92C-01504F5EF6F3}"/>
              </a:ext>
            </a:extLst>
          </p:cNvPr>
          <p:cNvSpPr/>
          <p:nvPr/>
        </p:nvSpPr>
        <p:spPr>
          <a:xfrm>
            <a:off x="6750374" y="2902717"/>
            <a:ext cx="1712435" cy="359009"/>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1733" dirty="0">
                <a:latin typeface="Arial" panose="020B0604020202020204" pitchFamily="34" charset="0"/>
                <a:ea typeface="Calibri" panose="020F0502020204030204" pitchFamily="34" charset="0"/>
                <a:cs typeface="Arial" panose="020B0604020202020204" pitchFamily="34" charset="0"/>
              </a:rPr>
              <a:t>Π/Υ: </a:t>
            </a:r>
            <a:r>
              <a:rPr lang="el-GR" sz="1733" b="1" dirty="0">
                <a:solidFill>
                  <a:srgbClr val="085195"/>
                </a:solidFill>
                <a:latin typeface="Arial" panose="020B0604020202020204" pitchFamily="34" charset="0"/>
                <a:ea typeface="Calibri" panose="020F0502020204030204" pitchFamily="34" charset="0"/>
                <a:cs typeface="Arial" panose="020B0604020202020204" pitchFamily="34" charset="0"/>
              </a:rPr>
              <a:t>89,2 εκ.€ </a:t>
            </a:r>
          </a:p>
        </p:txBody>
      </p:sp>
      <p:sp>
        <p:nvSpPr>
          <p:cNvPr id="18" name="Title 1">
            <a:extLst>
              <a:ext uri="{FF2B5EF4-FFF2-40B4-BE49-F238E27FC236}">
                <a16:creationId xmlns:a16="http://schemas.microsoft.com/office/drawing/2014/main" id="{A70EE8C4-C809-D39C-E8C2-A07094D4FC02}"/>
              </a:ext>
            </a:extLst>
          </p:cNvPr>
          <p:cNvSpPr>
            <a:spLocks noGrp="1"/>
          </p:cNvSpPr>
          <p:nvPr>
            <p:ph type="title"/>
          </p:nvPr>
        </p:nvSpPr>
        <p:spPr>
          <a:xfrm>
            <a:off x="25070" y="9893"/>
            <a:ext cx="8963377" cy="795145"/>
          </a:xfrm>
        </p:spPr>
        <p:txBody>
          <a:bodyPr vert="horz">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l-GR" sz="2400" b="0" dirty="0">
                <a:solidFill>
                  <a:srgbClr val="085195"/>
                </a:solidFill>
                <a:latin typeface="Arial" panose="020B0604020202020204" pitchFamily="34" charset="0"/>
                <a:ea typeface="Urbanist" panose="020B0604020202020204" charset="0"/>
                <a:cs typeface="Arial" panose="020B0604020202020204" pitchFamily="34" charset="0"/>
              </a:rPr>
              <a:t>Έργα ΣΔΙΤ στην Δυτική Μακεδονία</a:t>
            </a:r>
          </a:p>
        </p:txBody>
      </p:sp>
      <p:cxnSp>
        <p:nvCxnSpPr>
          <p:cNvPr id="19" name="Ευθεία γραμμή σύνδεσης 18">
            <a:extLst>
              <a:ext uri="{FF2B5EF4-FFF2-40B4-BE49-F238E27FC236}">
                <a16:creationId xmlns:a16="http://schemas.microsoft.com/office/drawing/2014/main" id="{C370A39C-EB30-41FB-B405-16C3C5325F20}"/>
              </a:ext>
            </a:extLst>
          </p:cNvPr>
          <p:cNvCxnSpPr/>
          <p:nvPr/>
        </p:nvCxnSpPr>
        <p:spPr>
          <a:xfrm>
            <a:off x="0" y="784509"/>
            <a:ext cx="1425435" cy="0"/>
          </a:xfrm>
          <a:prstGeom prst="line">
            <a:avLst/>
          </a:prstGeom>
          <a:ln w="19050">
            <a:solidFill>
              <a:srgbClr val="085195"/>
            </a:solidFill>
          </a:ln>
        </p:spPr>
        <p:style>
          <a:lnRef idx="1">
            <a:schemeClr val="accent1"/>
          </a:lnRef>
          <a:fillRef idx="0">
            <a:schemeClr val="accent1"/>
          </a:fillRef>
          <a:effectRef idx="0">
            <a:schemeClr val="accent1"/>
          </a:effectRef>
          <a:fontRef idx="minor">
            <a:schemeClr val="tx1"/>
          </a:fontRef>
        </p:style>
      </p:cxnSp>
      <p:grpSp>
        <p:nvGrpSpPr>
          <p:cNvPr id="21" name="Ομάδα 20">
            <a:extLst>
              <a:ext uri="{FF2B5EF4-FFF2-40B4-BE49-F238E27FC236}">
                <a16:creationId xmlns:a16="http://schemas.microsoft.com/office/drawing/2014/main" id="{68E67357-0815-431C-A259-4A82F05F8626}"/>
              </a:ext>
            </a:extLst>
          </p:cNvPr>
          <p:cNvGrpSpPr/>
          <p:nvPr/>
        </p:nvGrpSpPr>
        <p:grpSpPr>
          <a:xfrm>
            <a:off x="9142669" y="114941"/>
            <a:ext cx="3049332" cy="667839"/>
            <a:chOff x="6857001" y="38580"/>
            <a:chExt cx="2286999" cy="500879"/>
          </a:xfrm>
        </p:grpSpPr>
        <p:sp>
          <p:nvSpPr>
            <p:cNvPr id="23" name="Google Shape;95;p11">
              <a:extLst>
                <a:ext uri="{FF2B5EF4-FFF2-40B4-BE49-F238E27FC236}">
                  <a16:creationId xmlns:a16="http://schemas.microsoft.com/office/drawing/2014/main" id="{6359B8A8-AA12-4DE3-A627-5432E3B1E7A3}"/>
                </a:ext>
              </a:extLst>
            </p:cNvPr>
            <p:cNvSpPr txBox="1"/>
            <p:nvPr/>
          </p:nvSpPr>
          <p:spPr>
            <a:xfrm>
              <a:off x="7495308" y="41562"/>
              <a:ext cx="1648692" cy="470858"/>
            </a:xfrm>
            <a:prstGeom prst="rect">
              <a:avLst/>
            </a:prstGeom>
            <a:noFill/>
            <a:ln>
              <a:noFill/>
            </a:ln>
          </p:spPr>
          <p:txBody>
            <a:bodyPr spcFirstLastPara="1" wrap="square" lIns="121900" tIns="60933" rIns="121900" bIns="60933"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l-GR" sz="1093" b="1" dirty="0">
                  <a:solidFill>
                    <a:srgbClr val="085195"/>
                  </a:solidFill>
                  <a:latin typeface="+mn-lt"/>
                  <a:cs typeface="urbanist" panose="020B0604020202020204" charset="0"/>
                </a:rPr>
                <a:t>ΕΛΛΗΝΙΚΗ ΔΗΜΟΚΡΑΤΙΑ</a:t>
              </a:r>
              <a:endParaRPr sz="1093" b="1" i="0" u="none" strike="noStrike" cap="none" dirty="0">
                <a:solidFill>
                  <a:srgbClr val="085195"/>
                </a:solidFill>
                <a:latin typeface="+mn-lt"/>
                <a:cs typeface="urbanist" panose="020B0604020202020204" charset="0"/>
                <a:sym typeface="Arial"/>
              </a:endParaRP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Υπουργείο Εθνικής Οικονομίας </a:t>
              </a:r>
            </a:p>
            <a:p>
              <a:pPr marL="0" marR="0" lvl="0" indent="0" algn="l" rtl="0">
                <a:lnSpc>
                  <a:spcPct val="100000"/>
                </a:lnSpc>
                <a:spcBef>
                  <a:spcPts val="0"/>
                </a:spcBef>
                <a:spcAft>
                  <a:spcPts val="0"/>
                </a:spcAft>
                <a:buNone/>
              </a:pPr>
              <a:r>
                <a:rPr lang="el-GR" sz="1093" dirty="0">
                  <a:solidFill>
                    <a:srgbClr val="085195"/>
                  </a:solidFill>
                  <a:latin typeface="+mn-lt"/>
                  <a:cs typeface="urbanist" panose="020B0604020202020204" charset="0"/>
                </a:rPr>
                <a:t>και Οικονομικών</a:t>
              </a:r>
              <a:endParaRPr sz="1093" b="0" i="0" u="none" strike="noStrike" cap="none" dirty="0">
                <a:solidFill>
                  <a:srgbClr val="085195"/>
                </a:solidFill>
                <a:latin typeface="+mn-lt"/>
                <a:cs typeface="urbanist" panose="020B0604020202020204" charset="0"/>
                <a:sym typeface="Arial"/>
              </a:endParaRPr>
            </a:p>
          </p:txBody>
        </p:sp>
        <p:pic>
          <p:nvPicPr>
            <p:cNvPr id="24" name="Picture 2" descr="Εικόνα που μεταφορτώθηκε">
              <a:extLst>
                <a:ext uri="{FF2B5EF4-FFF2-40B4-BE49-F238E27FC236}">
                  <a16:creationId xmlns:a16="http://schemas.microsoft.com/office/drawing/2014/main" id="{A1EE1C67-3157-44BE-98B7-E05258BEBF8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7001" y="38580"/>
              <a:ext cx="638307" cy="5008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97092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F4DC5A-9C8A-E9AB-57AF-B778528AF4C1}"/>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8B5B5D80-1172-FF5A-3F95-D5BBDE2023A5}"/>
              </a:ext>
            </a:extLst>
          </p:cNvPr>
          <p:cNvSpPr txBox="1"/>
          <p:nvPr/>
        </p:nvSpPr>
        <p:spPr>
          <a:xfrm>
            <a:off x="887150" y="2014044"/>
            <a:ext cx="10529453"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dirty="0">
                <a:ln>
                  <a:noFill/>
                </a:ln>
                <a:solidFill>
                  <a:srgbClr val="374C81"/>
                </a:solidFill>
                <a:effectLst/>
                <a:uLnTx/>
                <a:uFillTx/>
                <a:latin typeface="Calibri"/>
                <a:ea typeface="Calibri" panose="020F0502020204030204"/>
                <a:cs typeface="Calibri" panose="020F0502020204030204" pitchFamily="34" charset="0"/>
              </a:rPr>
              <a:t>Ενδεικτικές παρεμβάσεις στην Περιφέρεια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dirty="0">
                <a:ln>
                  <a:noFill/>
                </a:ln>
                <a:solidFill>
                  <a:srgbClr val="374C81"/>
                </a:solidFill>
                <a:effectLst/>
                <a:uLnTx/>
                <a:uFillTx/>
                <a:latin typeface="Calibri"/>
                <a:ea typeface="Calibri" panose="020F0502020204030204"/>
                <a:cs typeface="Calibri" panose="020F0502020204030204" pitchFamily="34" charset="0"/>
              </a:rPr>
              <a:t>Δυτικής Μακεδονίας</a:t>
            </a:r>
          </a:p>
        </p:txBody>
      </p:sp>
    </p:spTree>
    <p:extLst>
      <p:ext uri="{BB962C8B-B14F-4D97-AF65-F5344CB8AC3E}">
        <p14:creationId xmlns:p14="http://schemas.microsoft.com/office/powerpoint/2010/main" val="14355049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9C5856-9D0D-1432-2B64-C743BB072A19}"/>
              </a:ext>
            </a:extLst>
          </p:cNvPr>
          <p:cNvSpPr txBox="1"/>
          <p:nvPr/>
        </p:nvSpPr>
        <p:spPr>
          <a:xfrm>
            <a:off x="429950" y="2139230"/>
            <a:ext cx="10529453"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pitchFamily="34" charset="0"/>
              </a:rPr>
              <a:t>Υπουργείο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pitchFamily="34" charset="0"/>
              </a:rPr>
              <a:t>Αγροτικής Ανάπτυξης  &amp; Τροφίμων</a:t>
            </a:r>
          </a:p>
        </p:txBody>
      </p:sp>
    </p:spTree>
    <p:extLst>
      <p:ext uri="{BB962C8B-B14F-4D97-AF65-F5344CB8AC3E}">
        <p14:creationId xmlns:p14="http://schemas.microsoft.com/office/powerpoint/2010/main" val="6753560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473"/>
        <p:cNvGrpSpPr/>
        <p:nvPr/>
      </p:nvGrpSpPr>
      <p:grpSpPr>
        <a:xfrm>
          <a:off x="0" y="0"/>
          <a:ext cx="0" cy="0"/>
          <a:chOff x="0" y="0"/>
          <a:chExt cx="0" cy="0"/>
        </a:xfrm>
      </p:grpSpPr>
      <p:grpSp>
        <p:nvGrpSpPr>
          <p:cNvPr id="1475" name="Google Shape;1475;p38"/>
          <p:cNvGrpSpPr/>
          <p:nvPr/>
        </p:nvGrpSpPr>
        <p:grpSpPr>
          <a:xfrm>
            <a:off x="1484249" y="1027771"/>
            <a:ext cx="4478069" cy="1753179"/>
            <a:chOff x="1113187" y="778992"/>
            <a:chExt cx="3358551" cy="1314883"/>
          </a:xfrm>
        </p:grpSpPr>
        <p:sp>
          <p:nvSpPr>
            <p:cNvPr id="1476" name="Google Shape;1476;p38"/>
            <p:cNvSpPr/>
            <p:nvPr/>
          </p:nvSpPr>
          <p:spPr>
            <a:xfrm>
              <a:off x="3755838" y="1279575"/>
              <a:ext cx="528350" cy="571000"/>
            </a:xfrm>
            <a:custGeom>
              <a:avLst/>
              <a:gdLst/>
              <a:ahLst/>
              <a:cxnLst/>
              <a:rect l="l" t="t" r="r" b="b"/>
              <a:pathLst>
                <a:path w="21134" h="22840" extrusionOk="0">
                  <a:moveTo>
                    <a:pt x="10576" y="1528"/>
                  </a:moveTo>
                  <a:cubicBezTo>
                    <a:pt x="11644" y="1528"/>
                    <a:pt x="12729" y="1750"/>
                    <a:pt x="13764" y="2218"/>
                  </a:cubicBezTo>
                  <a:cubicBezTo>
                    <a:pt x="17669" y="3992"/>
                    <a:pt x="19395" y="8576"/>
                    <a:pt x="17633" y="12481"/>
                  </a:cubicBezTo>
                  <a:cubicBezTo>
                    <a:pt x="16331" y="15339"/>
                    <a:pt x="13515" y="17030"/>
                    <a:pt x="10564" y="17030"/>
                  </a:cubicBezTo>
                  <a:cubicBezTo>
                    <a:pt x="9495" y="17030"/>
                    <a:pt x="8409" y="16808"/>
                    <a:pt x="7370" y="16339"/>
                  </a:cubicBezTo>
                  <a:cubicBezTo>
                    <a:pt x="3477" y="14577"/>
                    <a:pt x="1750" y="9981"/>
                    <a:pt x="3512" y="6088"/>
                  </a:cubicBezTo>
                  <a:cubicBezTo>
                    <a:pt x="4806" y="3221"/>
                    <a:pt x="7627" y="1528"/>
                    <a:pt x="10576" y="1528"/>
                  </a:cubicBezTo>
                  <a:close/>
                  <a:moveTo>
                    <a:pt x="10580" y="1"/>
                  </a:moveTo>
                  <a:cubicBezTo>
                    <a:pt x="7046" y="1"/>
                    <a:pt x="3667" y="2029"/>
                    <a:pt x="2119" y="5457"/>
                  </a:cubicBezTo>
                  <a:cubicBezTo>
                    <a:pt x="0" y="10124"/>
                    <a:pt x="2072" y="15613"/>
                    <a:pt x="6739" y="17732"/>
                  </a:cubicBezTo>
                  <a:cubicBezTo>
                    <a:pt x="7972" y="18295"/>
                    <a:pt x="9261" y="18558"/>
                    <a:pt x="10534" y="18558"/>
                  </a:cubicBezTo>
                  <a:cubicBezTo>
                    <a:pt x="10822" y="18558"/>
                    <a:pt x="11109" y="18544"/>
                    <a:pt x="11394" y="18518"/>
                  </a:cubicBezTo>
                  <a:lnTo>
                    <a:pt x="15669" y="22840"/>
                  </a:lnTo>
                  <a:lnTo>
                    <a:pt x="16050" y="16768"/>
                  </a:lnTo>
                  <a:cubicBezTo>
                    <a:pt x="17300" y="15851"/>
                    <a:pt x="18336" y="14625"/>
                    <a:pt x="19026" y="13112"/>
                  </a:cubicBezTo>
                  <a:cubicBezTo>
                    <a:pt x="21134" y="8445"/>
                    <a:pt x="19062" y="2944"/>
                    <a:pt x="14395" y="825"/>
                  </a:cubicBezTo>
                  <a:cubicBezTo>
                    <a:pt x="13156" y="266"/>
                    <a:pt x="11858" y="1"/>
                    <a:pt x="10580" y="1"/>
                  </a:cubicBezTo>
                  <a:close/>
                </a:path>
              </a:pathLst>
            </a:custGeom>
            <a:solidFill>
              <a:srgbClr val="69E78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sp>
          <p:nvSpPr>
            <p:cNvPr id="1477" name="Google Shape;1477;p38"/>
            <p:cNvSpPr/>
            <p:nvPr/>
          </p:nvSpPr>
          <p:spPr>
            <a:xfrm>
              <a:off x="3854963" y="1694700"/>
              <a:ext cx="616775" cy="399175"/>
            </a:xfrm>
            <a:custGeom>
              <a:avLst/>
              <a:gdLst/>
              <a:ahLst/>
              <a:cxnLst/>
              <a:rect l="l" t="t" r="r" b="b"/>
              <a:pathLst>
                <a:path w="24671" h="15967" extrusionOk="0">
                  <a:moveTo>
                    <a:pt x="24670" y="0"/>
                  </a:moveTo>
                  <a:cubicBezTo>
                    <a:pt x="15252" y="715"/>
                    <a:pt x="6692" y="4501"/>
                    <a:pt x="1" y="10383"/>
                  </a:cubicBezTo>
                  <a:lnTo>
                    <a:pt x="5585" y="15967"/>
                  </a:lnTo>
                  <a:cubicBezTo>
                    <a:pt x="10823" y="11502"/>
                    <a:pt x="17419" y="8573"/>
                    <a:pt x="24670" y="7906"/>
                  </a:cubicBezTo>
                  <a:lnTo>
                    <a:pt x="24670" y="0"/>
                  </a:lnTo>
                  <a:close/>
                </a:path>
              </a:pathLst>
            </a:custGeom>
            <a:solidFill>
              <a:srgbClr val="69E78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sp>
          <p:nvSpPr>
            <p:cNvPr id="1480" name="Google Shape;1480;p38"/>
            <p:cNvSpPr txBox="1"/>
            <p:nvPr/>
          </p:nvSpPr>
          <p:spPr>
            <a:xfrm>
              <a:off x="1113187" y="778992"/>
              <a:ext cx="3214871" cy="690135"/>
            </a:xfrm>
            <a:prstGeom prst="rect">
              <a:avLst/>
            </a:prstGeom>
            <a:noFill/>
            <a:ln>
              <a:noFill/>
            </a:ln>
          </p:spPr>
          <p:txBody>
            <a:bodyPr spcFirstLastPara="1" wrap="square" lIns="121900" tIns="121900" rIns="121900" bIns="121900" anchor="ctr" anchorCtr="0">
              <a:noAutofit/>
            </a:bodyPr>
            <a:lstStyle/>
            <a:p>
              <a:pPr>
                <a:defRPr/>
              </a:pPr>
              <a:r>
                <a:rPr lang="el-GR" sz="2000" kern="1200">
                  <a:solidFill>
                    <a:srgbClr val="629DD1"/>
                  </a:solidFill>
                  <a:latin typeface="Fira Sans Extra Condensed Medium"/>
                  <a:ea typeface="Fira Sans Extra Condensed Medium"/>
                  <a:cs typeface="Fira Sans Extra Condensed Medium"/>
                  <a:sym typeface="Fira Sans Extra Condensed Medium"/>
                </a:rPr>
                <a:t>Κατασκευή αρδευτικού Βόρειας Ζώνης Πολυφύτου </a:t>
              </a:r>
              <a:r>
                <a:rPr kumimoji="0" lang="el-GR" sz="1600" b="0" i="0" u="none" strike="noStrike" kern="1200" cap="none" spc="0" normalizeH="0" baseline="0" noProof="0">
                  <a:ln>
                    <a:noFill/>
                  </a:ln>
                  <a:solidFill>
                    <a:srgbClr val="629DD1"/>
                  </a:solidFill>
                  <a:effectLst/>
                  <a:uLnTx/>
                  <a:uFillTx/>
                  <a:latin typeface="Fira Sans Extra Condensed Medium"/>
                  <a:ea typeface="Fira Sans Extra Condensed Medium"/>
                  <a:cs typeface="Fira Sans Extra Condensed Medium"/>
                  <a:sym typeface="Fira Sans Extra Condensed Medium"/>
                </a:rPr>
                <a:t>| </a:t>
              </a:r>
              <a:r>
                <a:rPr lang="el-GR" sz="1600" kern="1200">
                  <a:solidFill>
                    <a:srgbClr val="629DD1"/>
                  </a:solidFill>
                  <a:latin typeface="Fira Sans Extra Condensed Medium"/>
                  <a:ea typeface="Fira Sans Extra Condensed Medium"/>
                  <a:cs typeface="Fira Sans Extra Condensed Medium"/>
                  <a:sym typeface="Fira Sans Extra Condensed Medium"/>
                </a:rPr>
                <a:t>100 </a:t>
              </a:r>
              <a:r>
                <a:rPr kumimoji="0" lang="el-GR" sz="1600" b="0" i="0" u="none" strike="noStrike" kern="1200" cap="none" spc="0" normalizeH="0" baseline="0" noProof="0">
                  <a:ln>
                    <a:noFill/>
                  </a:ln>
                  <a:solidFill>
                    <a:srgbClr val="629DD1"/>
                  </a:solidFill>
                  <a:effectLst/>
                  <a:uLnTx/>
                  <a:uFillTx/>
                  <a:latin typeface="Fira Sans Extra Condensed Medium"/>
                  <a:ea typeface="Fira Sans Extra Condensed Medium"/>
                  <a:cs typeface="Fira Sans Extra Condensed Medium"/>
                  <a:sym typeface="Fira Sans Extra Condensed Medium"/>
                </a:rPr>
                <a:t>εκ. €</a:t>
              </a:r>
              <a:endParaRPr lang="el-GR" sz="1600" b="0" i="0" u="none" strike="noStrike" kern="1200" cap="none" spc="0" normalizeH="0" baseline="0" noProof="0">
                <a:ln>
                  <a:noFill/>
                </a:ln>
                <a:solidFill>
                  <a:srgbClr val="629DD1"/>
                </a:solidFill>
                <a:effectLst/>
                <a:uLnTx/>
                <a:uFillTx/>
                <a:latin typeface="Fira Sans Extra Condensed Medium"/>
                <a:ea typeface="Fira Sans Extra Condensed Medium"/>
                <a:cs typeface="Fira Sans Extra Condensed Medium"/>
              </a:endParaRPr>
            </a:p>
          </p:txBody>
        </p:sp>
      </p:grpSp>
      <p:grpSp>
        <p:nvGrpSpPr>
          <p:cNvPr id="1482" name="Google Shape;1482;p38"/>
          <p:cNvGrpSpPr/>
          <p:nvPr/>
        </p:nvGrpSpPr>
        <p:grpSpPr>
          <a:xfrm>
            <a:off x="4071953" y="2841047"/>
            <a:ext cx="8618855" cy="1817134"/>
            <a:chOff x="3053963" y="2130787"/>
            <a:chExt cx="6464143" cy="1362851"/>
          </a:xfrm>
        </p:grpSpPr>
        <p:sp>
          <p:nvSpPr>
            <p:cNvPr id="1483" name="Google Shape;1483;p38"/>
            <p:cNvSpPr/>
            <p:nvPr/>
          </p:nvSpPr>
          <p:spPr>
            <a:xfrm>
              <a:off x="3053963" y="3029513"/>
              <a:ext cx="607850" cy="464125"/>
            </a:xfrm>
            <a:custGeom>
              <a:avLst/>
              <a:gdLst/>
              <a:ahLst/>
              <a:cxnLst/>
              <a:rect l="l" t="t" r="r" b="b"/>
              <a:pathLst>
                <a:path w="24314" h="18565" extrusionOk="0">
                  <a:moveTo>
                    <a:pt x="10603" y="1533"/>
                  </a:moveTo>
                  <a:cubicBezTo>
                    <a:pt x="11755" y="1533"/>
                    <a:pt x="12924" y="1791"/>
                    <a:pt x="14026" y="2335"/>
                  </a:cubicBezTo>
                  <a:cubicBezTo>
                    <a:pt x="17860" y="4240"/>
                    <a:pt x="19432" y="8884"/>
                    <a:pt x="17527" y="12729"/>
                  </a:cubicBezTo>
                  <a:cubicBezTo>
                    <a:pt x="16180" y="15458"/>
                    <a:pt x="13439" y="17034"/>
                    <a:pt x="10585" y="17034"/>
                  </a:cubicBezTo>
                  <a:cubicBezTo>
                    <a:pt x="9429" y="17034"/>
                    <a:pt x="8253" y="16776"/>
                    <a:pt x="7145" y="16230"/>
                  </a:cubicBezTo>
                  <a:cubicBezTo>
                    <a:pt x="3311" y="14325"/>
                    <a:pt x="1739" y="9681"/>
                    <a:pt x="3644" y="5848"/>
                  </a:cubicBezTo>
                  <a:cubicBezTo>
                    <a:pt x="5001" y="3116"/>
                    <a:pt x="7749" y="1533"/>
                    <a:pt x="10603" y="1533"/>
                  </a:cubicBezTo>
                  <a:close/>
                  <a:moveTo>
                    <a:pt x="10596" y="1"/>
                  </a:moveTo>
                  <a:cubicBezTo>
                    <a:pt x="7179" y="1"/>
                    <a:pt x="3894" y="1897"/>
                    <a:pt x="2275" y="5169"/>
                  </a:cubicBezTo>
                  <a:cubicBezTo>
                    <a:pt x="1" y="9765"/>
                    <a:pt x="1882" y="15325"/>
                    <a:pt x="6466" y="17599"/>
                  </a:cubicBezTo>
                  <a:cubicBezTo>
                    <a:pt x="7790" y="18254"/>
                    <a:pt x="9194" y="18564"/>
                    <a:pt x="10578" y="18564"/>
                  </a:cubicBezTo>
                  <a:cubicBezTo>
                    <a:pt x="13998" y="18564"/>
                    <a:pt x="17289" y="16668"/>
                    <a:pt x="18908" y="13396"/>
                  </a:cubicBezTo>
                  <a:cubicBezTo>
                    <a:pt x="19634" y="11920"/>
                    <a:pt x="19932" y="10324"/>
                    <a:pt x="19849" y="8788"/>
                  </a:cubicBezTo>
                  <a:lnTo>
                    <a:pt x="24313" y="4645"/>
                  </a:lnTo>
                  <a:lnTo>
                    <a:pt x="18265" y="4062"/>
                  </a:lnTo>
                  <a:cubicBezTo>
                    <a:pt x="17396" y="2788"/>
                    <a:pt x="16193" y="1704"/>
                    <a:pt x="14705" y="966"/>
                  </a:cubicBezTo>
                  <a:cubicBezTo>
                    <a:pt x="13381" y="311"/>
                    <a:pt x="11978" y="1"/>
                    <a:pt x="10596" y="1"/>
                  </a:cubicBezTo>
                  <a:close/>
                </a:path>
              </a:pathLst>
            </a:custGeom>
            <a:solidFill>
              <a:srgbClr val="4949E7"/>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sp>
          <p:nvSpPr>
            <p:cNvPr id="1484" name="Google Shape;1484;p38"/>
            <p:cNvSpPr/>
            <p:nvPr/>
          </p:nvSpPr>
          <p:spPr>
            <a:xfrm>
              <a:off x="3498963" y="2843650"/>
              <a:ext cx="397100" cy="602175"/>
            </a:xfrm>
            <a:custGeom>
              <a:avLst/>
              <a:gdLst/>
              <a:ahLst/>
              <a:cxnLst/>
              <a:rect l="l" t="t" r="r" b="b"/>
              <a:pathLst>
                <a:path w="15884" h="24087" extrusionOk="0">
                  <a:moveTo>
                    <a:pt x="1" y="0"/>
                  </a:moveTo>
                  <a:cubicBezTo>
                    <a:pt x="810" y="9192"/>
                    <a:pt x="4561" y="17538"/>
                    <a:pt x="10300" y="24087"/>
                  </a:cubicBezTo>
                  <a:lnTo>
                    <a:pt x="15884" y="18503"/>
                  </a:lnTo>
                  <a:cubicBezTo>
                    <a:pt x="11550" y="13395"/>
                    <a:pt x="8680" y="7025"/>
                    <a:pt x="7918" y="0"/>
                  </a:cubicBezTo>
                  <a:close/>
                </a:path>
              </a:pathLst>
            </a:custGeom>
            <a:solidFill>
              <a:srgbClr val="4949E7"/>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sp>
          <p:nvSpPr>
            <p:cNvPr id="1491" name="Google Shape;1491;p38"/>
            <p:cNvSpPr txBox="1"/>
            <p:nvPr/>
          </p:nvSpPr>
          <p:spPr>
            <a:xfrm>
              <a:off x="6425001" y="2130787"/>
              <a:ext cx="3093105" cy="429600"/>
            </a:xfrm>
            <a:prstGeom prst="rect">
              <a:avLst/>
            </a:prstGeom>
            <a:noFill/>
            <a:ln>
              <a:noFill/>
            </a:ln>
          </p:spPr>
          <p:txBody>
            <a:bodyPr spcFirstLastPara="1" wrap="square" lIns="121900" tIns="121900" rIns="121900" bIns="121900" anchor="ctr" anchorCtr="0">
              <a:noAutofit/>
            </a:bodyPr>
            <a:lstStyle/>
            <a:p>
              <a:pPr>
                <a:buClrTx/>
                <a:defRPr/>
              </a:pPr>
              <a:endParaRPr lang="el-GR" sz="1600" b="0" i="0" u="none" strike="noStrike" kern="1200" cap="none" spc="0" normalizeH="0" baseline="0" noProof="0">
                <a:ln>
                  <a:noFill/>
                </a:ln>
                <a:solidFill>
                  <a:srgbClr val="7F8FA9"/>
                </a:solidFill>
                <a:effectLst/>
                <a:uLnTx/>
                <a:uFillTx/>
                <a:latin typeface="Fira Sans Extra Condensed Medium"/>
                <a:ea typeface="Fira Sans Extra Condensed Medium"/>
                <a:cs typeface="Fira Sans Extra Condensed Medium"/>
              </a:endParaRPr>
            </a:p>
          </p:txBody>
        </p:sp>
      </p:grpSp>
      <p:grpSp>
        <p:nvGrpSpPr>
          <p:cNvPr id="1493" name="Google Shape;1493;p38"/>
          <p:cNvGrpSpPr/>
          <p:nvPr/>
        </p:nvGrpSpPr>
        <p:grpSpPr>
          <a:xfrm>
            <a:off x="4071968" y="2671667"/>
            <a:ext cx="1105318" cy="906766"/>
            <a:chOff x="3053975" y="2003750"/>
            <a:chExt cx="828988" cy="680075"/>
          </a:xfrm>
        </p:grpSpPr>
        <p:sp>
          <p:nvSpPr>
            <p:cNvPr id="1494" name="Google Shape;1494;p38"/>
            <p:cNvSpPr/>
            <p:nvPr/>
          </p:nvSpPr>
          <p:spPr>
            <a:xfrm>
              <a:off x="3053975" y="2003750"/>
              <a:ext cx="583425" cy="464175"/>
            </a:xfrm>
            <a:custGeom>
              <a:avLst/>
              <a:gdLst/>
              <a:ahLst/>
              <a:cxnLst/>
              <a:rect l="l" t="t" r="r" b="b"/>
              <a:pathLst>
                <a:path w="23337" h="18567" extrusionOk="0">
                  <a:moveTo>
                    <a:pt x="10410" y="1534"/>
                  </a:moveTo>
                  <a:cubicBezTo>
                    <a:pt x="13672" y="1534"/>
                    <a:pt x="16706" y="3604"/>
                    <a:pt x="17777" y="6863"/>
                  </a:cubicBezTo>
                  <a:cubicBezTo>
                    <a:pt x="19110" y="10935"/>
                    <a:pt x="16896" y="15305"/>
                    <a:pt x="12824" y="16638"/>
                  </a:cubicBezTo>
                  <a:cubicBezTo>
                    <a:pt x="12020" y="16905"/>
                    <a:pt x="11204" y="17031"/>
                    <a:pt x="10402" y="17031"/>
                  </a:cubicBezTo>
                  <a:cubicBezTo>
                    <a:pt x="7149" y="17031"/>
                    <a:pt x="4118" y="14954"/>
                    <a:pt x="3049" y="11697"/>
                  </a:cubicBezTo>
                  <a:cubicBezTo>
                    <a:pt x="1715" y="7625"/>
                    <a:pt x="3930" y="3256"/>
                    <a:pt x="7990" y="1922"/>
                  </a:cubicBezTo>
                  <a:cubicBezTo>
                    <a:pt x="8793" y="1659"/>
                    <a:pt x="9608" y="1534"/>
                    <a:pt x="10410" y="1534"/>
                  </a:cubicBezTo>
                  <a:close/>
                  <a:moveTo>
                    <a:pt x="10419" y="0"/>
                  </a:moveTo>
                  <a:cubicBezTo>
                    <a:pt x="9456" y="0"/>
                    <a:pt x="8477" y="152"/>
                    <a:pt x="7513" y="470"/>
                  </a:cubicBezTo>
                  <a:cubicBezTo>
                    <a:pt x="2644" y="2065"/>
                    <a:pt x="1" y="7304"/>
                    <a:pt x="1596" y="12174"/>
                  </a:cubicBezTo>
                  <a:cubicBezTo>
                    <a:pt x="2877" y="16084"/>
                    <a:pt x="6508" y="18567"/>
                    <a:pt x="10410" y="18567"/>
                  </a:cubicBezTo>
                  <a:cubicBezTo>
                    <a:pt x="11367" y="18567"/>
                    <a:pt x="12341" y="18417"/>
                    <a:pt x="13300" y="18103"/>
                  </a:cubicBezTo>
                  <a:cubicBezTo>
                    <a:pt x="14871" y="17579"/>
                    <a:pt x="16217" y="16686"/>
                    <a:pt x="17265" y="15543"/>
                  </a:cubicBezTo>
                  <a:lnTo>
                    <a:pt x="23337" y="15817"/>
                  </a:lnTo>
                  <a:lnTo>
                    <a:pt x="19503" y="11090"/>
                  </a:lnTo>
                  <a:cubicBezTo>
                    <a:pt x="19813" y="9578"/>
                    <a:pt x="19741" y="7959"/>
                    <a:pt x="19229" y="6387"/>
                  </a:cubicBezTo>
                  <a:cubicBezTo>
                    <a:pt x="17950" y="2482"/>
                    <a:pt x="14319" y="0"/>
                    <a:pt x="10419" y="0"/>
                  </a:cubicBezTo>
                  <a:close/>
                </a:path>
              </a:pathLst>
            </a:custGeom>
            <a:solidFill>
              <a:srgbClr val="5EB2F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sp>
          <p:nvSpPr>
            <p:cNvPr id="1495" name="Google Shape;1495;p38"/>
            <p:cNvSpPr/>
            <p:nvPr/>
          </p:nvSpPr>
          <p:spPr>
            <a:xfrm>
              <a:off x="3496888" y="2068250"/>
              <a:ext cx="386075" cy="615575"/>
            </a:xfrm>
            <a:custGeom>
              <a:avLst/>
              <a:gdLst/>
              <a:ahLst/>
              <a:cxnLst/>
              <a:rect l="l" t="t" r="r" b="b"/>
              <a:pathLst>
                <a:path w="15443" h="24623" extrusionOk="0">
                  <a:moveTo>
                    <a:pt x="9847" y="1"/>
                  </a:moveTo>
                  <a:cubicBezTo>
                    <a:pt x="4179" y="6740"/>
                    <a:pt x="572" y="15276"/>
                    <a:pt x="0" y="24623"/>
                  </a:cubicBezTo>
                  <a:lnTo>
                    <a:pt x="7882" y="24623"/>
                  </a:lnTo>
                  <a:cubicBezTo>
                    <a:pt x="8430" y="17443"/>
                    <a:pt x="11168" y="10883"/>
                    <a:pt x="15443" y="5597"/>
                  </a:cubicBezTo>
                  <a:lnTo>
                    <a:pt x="9847" y="1"/>
                  </a:lnTo>
                  <a:close/>
                </a:path>
              </a:pathLst>
            </a:custGeom>
            <a:solidFill>
              <a:srgbClr val="5EB2F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01" name="Google Shape;1501;p38"/>
          <p:cNvGrpSpPr/>
          <p:nvPr/>
        </p:nvGrpSpPr>
        <p:grpSpPr>
          <a:xfrm>
            <a:off x="5025633" y="4557104"/>
            <a:ext cx="936684" cy="1076834"/>
            <a:chOff x="3769225" y="3417825"/>
            <a:chExt cx="702513" cy="807625"/>
          </a:xfrm>
        </p:grpSpPr>
        <p:sp>
          <p:nvSpPr>
            <p:cNvPr id="1502" name="Google Shape;1502;p38"/>
            <p:cNvSpPr/>
            <p:nvPr/>
          </p:nvSpPr>
          <p:spPr>
            <a:xfrm>
              <a:off x="3769225" y="3663475"/>
              <a:ext cx="524500" cy="561975"/>
            </a:xfrm>
            <a:custGeom>
              <a:avLst/>
              <a:gdLst/>
              <a:ahLst/>
              <a:cxnLst/>
              <a:rect l="l" t="t" r="r" b="b"/>
              <a:pathLst>
                <a:path w="20980" h="22479" extrusionOk="0">
                  <a:moveTo>
                    <a:pt x="10481" y="5447"/>
                  </a:moveTo>
                  <a:cubicBezTo>
                    <a:pt x="13615" y="5447"/>
                    <a:pt x="16567" y="7361"/>
                    <a:pt x="17741" y="10466"/>
                  </a:cubicBezTo>
                  <a:cubicBezTo>
                    <a:pt x="19253" y="14467"/>
                    <a:pt x="17229" y="18944"/>
                    <a:pt x="13217" y="20444"/>
                  </a:cubicBezTo>
                  <a:cubicBezTo>
                    <a:pt x="12317" y="20784"/>
                    <a:pt x="11392" y="20945"/>
                    <a:pt x="10484" y="20945"/>
                  </a:cubicBezTo>
                  <a:cubicBezTo>
                    <a:pt x="7352" y="20945"/>
                    <a:pt x="4402" y="19032"/>
                    <a:pt x="3239" y="15931"/>
                  </a:cubicBezTo>
                  <a:cubicBezTo>
                    <a:pt x="1727" y="11919"/>
                    <a:pt x="3751" y="7454"/>
                    <a:pt x="7763" y="5942"/>
                  </a:cubicBezTo>
                  <a:cubicBezTo>
                    <a:pt x="8659" y="5606"/>
                    <a:pt x="9578" y="5447"/>
                    <a:pt x="10481" y="5447"/>
                  </a:cubicBezTo>
                  <a:close/>
                  <a:moveTo>
                    <a:pt x="16467" y="1"/>
                  </a:moveTo>
                  <a:lnTo>
                    <a:pt x="11907" y="4025"/>
                  </a:lnTo>
                  <a:cubicBezTo>
                    <a:pt x="11442" y="3952"/>
                    <a:pt x="10969" y="3915"/>
                    <a:pt x="10492" y="3915"/>
                  </a:cubicBezTo>
                  <a:cubicBezTo>
                    <a:pt x="9406" y="3915"/>
                    <a:pt x="8299" y="4108"/>
                    <a:pt x="7216" y="4513"/>
                  </a:cubicBezTo>
                  <a:cubicBezTo>
                    <a:pt x="2429" y="6323"/>
                    <a:pt x="1" y="11669"/>
                    <a:pt x="1810" y="16467"/>
                  </a:cubicBezTo>
                  <a:cubicBezTo>
                    <a:pt x="3205" y="20189"/>
                    <a:pt x="6742" y="22479"/>
                    <a:pt x="10499" y="22479"/>
                  </a:cubicBezTo>
                  <a:cubicBezTo>
                    <a:pt x="11584" y="22479"/>
                    <a:pt x="12688" y="22287"/>
                    <a:pt x="13764" y="21884"/>
                  </a:cubicBezTo>
                  <a:cubicBezTo>
                    <a:pt x="18551" y="20075"/>
                    <a:pt x="20979" y="14717"/>
                    <a:pt x="19170" y="9931"/>
                  </a:cubicBezTo>
                  <a:cubicBezTo>
                    <a:pt x="18586" y="8371"/>
                    <a:pt x="17634" y="7073"/>
                    <a:pt x="16443" y="6085"/>
                  </a:cubicBezTo>
                  <a:lnTo>
                    <a:pt x="16467" y="1"/>
                  </a:lnTo>
                  <a:close/>
                </a:path>
              </a:pathLst>
            </a:custGeom>
            <a:solidFill>
              <a:srgbClr val="FCBD2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sp>
          <p:nvSpPr>
            <p:cNvPr id="1503" name="Google Shape;1503;p38"/>
            <p:cNvSpPr/>
            <p:nvPr/>
          </p:nvSpPr>
          <p:spPr>
            <a:xfrm>
              <a:off x="3870738" y="3417825"/>
              <a:ext cx="601000" cy="386075"/>
            </a:xfrm>
            <a:custGeom>
              <a:avLst/>
              <a:gdLst/>
              <a:ahLst/>
              <a:cxnLst/>
              <a:rect l="l" t="t" r="r" b="b"/>
              <a:pathLst>
                <a:path w="24040" h="15443" extrusionOk="0">
                  <a:moveTo>
                    <a:pt x="5585" y="1"/>
                  </a:moveTo>
                  <a:lnTo>
                    <a:pt x="1" y="5596"/>
                  </a:lnTo>
                  <a:cubicBezTo>
                    <a:pt x="6585" y="11169"/>
                    <a:pt x="14907" y="14752"/>
                    <a:pt x="24039" y="15443"/>
                  </a:cubicBezTo>
                  <a:lnTo>
                    <a:pt x="24039" y="7537"/>
                  </a:lnTo>
                  <a:cubicBezTo>
                    <a:pt x="17074" y="6894"/>
                    <a:pt x="10728" y="4168"/>
                    <a:pt x="5585" y="1"/>
                  </a:cubicBezTo>
                  <a:close/>
                </a:path>
              </a:pathLst>
            </a:custGeom>
            <a:solidFill>
              <a:srgbClr val="FCBD2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12" name="Google Shape;1512;p38"/>
          <p:cNvGrpSpPr/>
          <p:nvPr/>
        </p:nvGrpSpPr>
        <p:grpSpPr>
          <a:xfrm>
            <a:off x="6176731" y="1199706"/>
            <a:ext cx="5542609" cy="1592129"/>
            <a:chOff x="4632548" y="899779"/>
            <a:chExt cx="4156957" cy="1194096"/>
          </a:xfrm>
        </p:grpSpPr>
        <p:sp>
          <p:nvSpPr>
            <p:cNvPr id="1516" name="Google Shape;1516;p38"/>
            <p:cNvSpPr txBox="1"/>
            <p:nvPr/>
          </p:nvSpPr>
          <p:spPr>
            <a:xfrm>
              <a:off x="5298433" y="899779"/>
              <a:ext cx="3491072" cy="395983"/>
            </a:xfrm>
            <a:prstGeom prst="rect">
              <a:avLst/>
            </a:prstGeom>
            <a:noFill/>
            <a:ln>
              <a:noFill/>
            </a:ln>
          </p:spPr>
          <p:txBody>
            <a:bodyPr spcFirstLastPara="1" wrap="square" lIns="121900" tIns="121900" rIns="121900" bIns="121900" anchor="ctr" anchorCtr="0">
              <a:noAutofit/>
            </a:bodyPr>
            <a:lstStyle/>
            <a:p>
              <a:pPr>
                <a:buClrTx/>
                <a:defRPr/>
              </a:pPr>
              <a:endParaRPr lang="el-GR" sz="1600" b="0" i="0" u="none" strike="noStrike" kern="1200" cap="none" spc="0" normalizeH="0" baseline="0" noProof="0">
                <a:ln>
                  <a:noFill/>
                </a:ln>
                <a:solidFill>
                  <a:srgbClr val="5AA2AE"/>
                </a:solidFill>
                <a:effectLst/>
                <a:uLnTx/>
                <a:uFillTx/>
                <a:latin typeface="Fira Sans Extra Condensed Medium"/>
                <a:ea typeface="Fira Sans Extra Condensed Medium"/>
                <a:cs typeface="Fira Sans Extra Condensed Medium"/>
              </a:endParaRPr>
            </a:p>
          </p:txBody>
        </p:sp>
        <p:sp>
          <p:nvSpPr>
            <p:cNvPr id="1517" name="Google Shape;1517;p38"/>
            <p:cNvSpPr/>
            <p:nvPr/>
          </p:nvSpPr>
          <p:spPr>
            <a:xfrm flipH="1">
              <a:off x="4815942" y="1262950"/>
              <a:ext cx="528350" cy="571000"/>
            </a:xfrm>
            <a:custGeom>
              <a:avLst/>
              <a:gdLst/>
              <a:ahLst/>
              <a:cxnLst/>
              <a:rect l="l" t="t" r="r" b="b"/>
              <a:pathLst>
                <a:path w="21134" h="22840" extrusionOk="0">
                  <a:moveTo>
                    <a:pt x="10576" y="1528"/>
                  </a:moveTo>
                  <a:cubicBezTo>
                    <a:pt x="11644" y="1528"/>
                    <a:pt x="12729" y="1750"/>
                    <a:pt x="13764" y="2218"/>
                  </a:cubicBezTo>
                  <a:cubicBezTo>
                    <a:pt x="17669" y="3992"/>
                    <a:pt x="19395" y="8576"/>
                    <a:pt x="17633" y="12481"/>
                  </a:cubicBezTo>
                  <a:cubicBezTo>
                    <a:pt x="16331" y="15339"/>
                    <a:pt x="13515" y="17030"/>
                    <a:pt x="10564" y="17030"/>
                  </a:cubicBezTo>
                  <a:cubicBezTo>
                    <a:pt x="9495" y="17030"/>
                    <a:pt x="8409" y="16808"/>
                    <a:pt x="7370" y="16339"/>
                  </a:cubicBezTo>
                  <a:cubicBezTo>
                    <a:pt x="3477" y="14577"/>
                    <a:pt x="1750" y="9981"/>
                    <a:pt x="3512" y="6088"/>
                  </a:cubicBezTo>
                  <a:cubicBezTo>
                    <a:pt x="4806" y="3221"/>
                    <a:pt x="7627" y="1528"/>
                    <a:pt x="10576" y="1528"/>
                  </a:cubicBezTo>
                  <a:close/>
                  <a:moveTo>
                    <a:pt x="10580" y="1"/>
                  </a:moveTo>
                  <a:cubicBezTo>
                    <a:pt x="7046" y="1"/>
                    <a:pt x="3667" y="2029"/>
                    <a:pt x="2119" y="5457"/>
                  </a:cubicBezTo>
                  <a:cubicBezTo>
                    <a:pt x="0" y="10124"/>
                    <a:pt x="2072" y="15613"/>
                    <a:pt x="6739" y="17732"/>
                  </a:cubicBezTo>
                  <a:cubicBezTo>
                    <a:pt x="7972" y="18295"/>
                    <a:pt x="9261" y="18558"/>
                    <a:pt x="10534" y="18558"/>
                  </a:cubicBezTo>
                  <a:cubicBezTo>
                    <a:pt x="10822" y="18558"/>
                    <a:pt x="11109" y="18544"/>
                    <a:pt x="11394" y="18518"/>
                  </a:cubicBezTo>
                  <a:lnTo>
                    <a:pt x="15669" y="22840"/>
                  </a:lnTo>
                  <a:lnTo>
                    <a:pt x="16050" y="16768"/>
                  </a:lnTo>
                  <a:cubicBezTo>
                    <a:pt x="17300" y="15851"/>
                    <a:pt x="18336" y="14625"/>
                    <a:pt x="19026" y="13112"/>
                  </a:cubicBezTo>
                  <a:cubicBezTo>
                    <a:pt x="21134" y="8445"/>
                    <a:pt x="19062" y="2944"/>
                    <a:pt x="14395" y="825"/>
                  </a:cubicBezTo>
                  <a:cubicBezTo>
                    <a:pt x="13156" y="266"/>
                    <a:pt x="11858" y="1"/>
                    <a:pt x="10580" y="1"/>
                  </a:cubicBezTo>
                  <a:close/>
                </a:path>
              </a:pathLst>
            </a:custGeom>
            <a:solidFill>
              <a:schemeClr val="accent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sp>
          <p:nvSpPr>
            <p:cNvPr id="1518" name="Google Shape;1518;p38"/>
            <p:cNvSpPr/>
            <p:nvPr/>
          </p:nvSpPr>
          <p:spPr>
            <a:xfrm flipH="1">
              <a:off x="4632548" y="1694700"/>
              <a:ext cx="616775" cy="399175"/>
            </a:xfrm>
            <a:custGeom>
              <a:avLst/>
              <a:gdLst/>
              <a:ahLst/>
              <a:cxnLst/>
              <a:rect l="l" t="t" r="r" b="b"/>
              <a:pathLst>
                <a:path w="24671" h="15967" extrusionOk="0">
                  <a:moveTo>
                    <a:pt x="24670" y="0"/>
                  </a:moveTo>
                  <a:cubicBezTo>
                    <a:pt x="15252" y="715"/>
                    <a:pt x="6692" y="4501"/>
                    <a:pt x="1" y="10383"/>
                  </a:cubicBezTo>
                  <a:lnTo>
                    <a:pt x="5585" y="15967"/>
                  </a:lnTo>
                  <a:cubicBezTo>
                    <a:pt x="10823" y="11502"/>
                    <a:pt x="17419" y="8573"/>
                    <a:pt x="24670" y="7906"/>
                  </a:cubicBezTo>
                  <a:lnTo>
                    <a:pt x="24670" y="0"/>
                  </a:lnTo>
                  <a:close/>
                </a:path>
              </a:pathLst>
            </a:custGeom>
            <a:solidFill>
              <a:schemeClr val="accent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19" name="Google Shape;1519;p38"/>
          <p:cNvGrpSpPr/>
          <p:nvPr/>
        </p:nvGrpSpPr>
        <p:grpSpPr>
          <a:xfrm>
            <a:off x="7006101" y="2671665"/>
            <a:ext cx="4795865" cy="2270447"/>
            <a:chOff x="5254575" y="2003750"/>
            <a:chExt cx="3596900" cy="1702837"/>
          </a:xfrm>
        </p:grpSpPr>
        <p:sp>
          <p:nvSpPr>
            <p:cNvPr id="1522" name="Google Shape;1522;p38"/>
            <p:cNvSpPr txBox="1"/>
            <p:nvPr/>
          </p:nvSpPr>
          <p:spPr>
            <a:xfrm>
              <a:off x="6334515" y="3185064"/>
              <a:ext cx="2516960" cy="521523"/>
            </a:xfrm>
            <a:prstGeom prst="rect">
              <a:avLst/>
            </a:prstGeom>
            <a:noFill/>
            <a:ln>
              <a:noFill/>
            </a:ln>
          </p:spPr>
          <p:txBody>
            <a:bodyPr spcFirstLastPara="1" wrap="square" lIns="121900" tIns="121900" rIns="121900" bIns="121900" anchor="ctr" anchorCtr="0">
              <a:noAutofit/>
            </a:bodyPr>
            <a:lstStyle/>
            <a:p>
              <a:pPr>
                <a:buClrTx/>
                <a:defRPr/>
              </a:pPr>
              <a:r>
                <a:rPr lang="el-GR" sz="2000" kern="1200" dirty="0">
                  <a:solidFill>
                    <a:srgbClr val="7F8FA9"/>
                  </a:solidFill>
                  <a:latin typeface="Fira Sans Extra Condensed Medium"/>
                  <a:ea typeface="Fira Sans Extra Condensed Medium"/>
                  <a:cs typeface="Fira Sans Extra Condensed Medium"/>
                  <a:sym typeface="Fira Sans Extra Condensed Medium"/>
                </a:rPr>
                <a:t>Αξιοποίηση βιομηχανικής περιοχής ΑΕΒΑΛ</a:t>
              </a:r>
            </a:p>
          </p:txBody>
        </p:sp>
        <p:sp>
          <p:nvSpPr>
            <p:cNvPr id="1524" name="Google Shape;1524;p38"/>
            <p:cNvSpPr/>
            <p:nvPr/>
          </p:nvSpPr>
          <p:spPr>
            <a:xfrm flipH="1">
              <a:off x="5500138" y="2003750"/>
              <a:ext cx="583425" cy="464175"/>
            </a:xfrm>
            <a:custGeom>
              <a:avLst/>
              <a:gdLst/>
              <a:ahLst/>
              <a:cxnLst/>
              <a:rect l="l" t="t" r="r" b="b"/>
              <a:pathLst>
                <a:path w="23337" h="18567" extrusionOk="0">
                  <a:moveTo>
                    <a:pt x="10410" y="1534"/>
                  </a:moveTo>
                  <a:cubicBezTo>
                    <a:pt x="13672" y="1534"/>
                    <a:pt x="16706" y="3604"/>
                    <a:pt x="17777" y="6863"/>
                  </a:cubicBezTo>
                  <a:cubicBezTo>
                    <a:pt x="19110" y="10935"/>
                    <a:pt x="16896" y="15305"/>
                    <a:pt x="12824" y="16638"/>
                  </a:cubicBezTo>
                  <a:cubicBezTo>
                    <a:pt x="12020" y="16905"/>
                    <a:pt x="11204" y="17031"/>
                    <a:pt x="10402" y="17031"/>
                  </a:cubicBezTo>
                  <a:cubicBezTo>
                    <a:pt x="7149" y="17031"/>
                    <a:pt x="4118" y="14954"/>
                    <a:pt x="3049" y="11697"/>
                  </a:cubicBezTo>
                  <a:cubicBezTo>
                    <a:pt x="1715" y="7625"/>
                    <a:pt x="3930" y="3256"/>
                    <a:pt x="7990" y="1922"/>
                  </a:cubicBezTo>
                  <a:cubicBezTo>
                    <a:pt x="8793" y="1659"/>
                    <a:pt x="9608" y="1534"/>
                    <a:pt x="10410" y="1534"/>
                  </a:cubicBezTo>
                  <a:close/>
                  <a:moveTo>
                    <a:pt x="10419" y="0"/>
                  </a:moveTo>
                  <a:cubicBezTo>
                    <a:pt x="9456" y="0"/>
                    <a:pt x="8477" y="152"/>
                    <a:pt x="7513" y="470"/>
                  </a:cubicBezTo>
                  <a:cubicBezTo>
                    <a:pt x="2644" y="2065"/>
                    <a:pt x="1" y="7304"/>
                    <a:pt x="1596" y="12174"/>
                  </a:cubicBezTo>
                  <a:cubicBezTo>
                    <a:pt x="2877" y="16084"/>
                    <a:pt x="6508" y="18567"/>
                    <a:pt x="10410" y="18567"/>
                  </a:cubicBezTo>
                  <a:cubicBezTo>
                    <a:pt x="11367" y="18567"/>
                    <a:pt x="12341" y="18417"/>
                    <a:pt x="13300" y="18103"/>
                  </a:cubicBezTo>
                  <a:cubicBezTo>
                    <a:pt x="14871" y="17579"/>
                    <a:pt x="16217" y="16686"/>
                    <a:pt x="17265" y="15543"/>
                  </a:cubicBezTo>
                  <a:lnTo>
                    <a:pt x="23337" y="15817"/>
                  </a:lnTo>
                  <a:lnTo>
                    <a:pt x="19503" y="11090"/>
                  </a:lnTo>
                  <a:cubicBezTo>
                    <a:pt x="19813" y="9578"/>
                    <a:pt x="19741" y="7959"/>
                    <a:pt x="19229" y="6387"/>
                  </a:cubicBezTo>
                  <a:cubicBezTo>
                    <a:pt x="17950" y="2482"/>
                    <a:pt x="14319" y="0"/>
                    <a:pt x="10419" y="0"/>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sp>
          <p:nvSpPr>
            <p:cNvPr id="1525" name="Google Shape;1525;p38"/>
            <p:cNvSpPr/>
            <p:nvPr/>
          </p:nvSpPr>
          <p:spPr>
            <a:xfrm flipH="1">
              <a:off x="5254575" y="2068250"/>
              <a:ext cx="386075" cy="615575"/>
            </a:xfrm>
            <a:custGeom>
              <a:avLst/>
              <a:gdLst/>
              <a:ahLst/>
              <a:cxnLst/>
              <a:rect l="l" t="t" r="r" b="b"/>
              <a:pathLst>
                <a:path w="15443" h="24623" extrusionOk="0">
                  <a:moveTo>
                    <a:pt x="9847" y="1"/>
                  </a:moveTo>
                  <a:cubicBezTo>
                    <a:pt x="4179" y="6740"/>
                    <a:pt x="572" y="15276"/>
                    <a:pt x="0" y="24623"/>
                  </a:cubicBezTo>
                  <a:lnTo>
                    <a:pt x="7882" y="24623"/>
                  </a:lnTo>
                  <a:cubicBezTo>
                    <a:pt x="8430" y="17443"/>
                    <a:pt x="11168" y="10883"/>
                    <a:pt x="15443" y="5597"/>
                  </a:cubicBezTo>
                  <a:lnTo>
                    <a:pt x="9847" y="1"/>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6" name="Google Shape;1526;p38"/>
          <p:cNvGrpSpPr/>
          <p:nvPr/>
        </p:nvGrpSpPr>
        <p:grpSpPr>
          <a:xfrm>
            <a:off x="6988630" y="3791538"/>
            <a:ext cx="1122800" cy="866652"/>
            <a:chOff x="5241475" y="2843650"/>
            <a:chExt cx="842100" cy="649988"/>
          </a:xfrm>
        </p:grpSpPr>
        <p:sp>
          <p:nvSpPr>
            <p:cNvPr id="1533" name="Google Shape;1533;p38"/>
            <p:cNvSpPr/>
            <p:nvPr/>
          </p:nvSpPr>
          <p:spPr>
            <a:xfrm flipH="1">
              <a:off x="5475725" y="3029513"/>
              <a:ext cx="607850" cy="464125"/>
            </a:xfrm>
            <a:custGeom>
              <a:avLst/>
              <a:gdLst/>
              <a:ahLst/>
              <a:cxnLst/>
              <a:rect l="l" t="t" r="r" b="b"/>
              <a:pathLst>
                <a:path w="24314" h="18565" extrusionOk="0">
                  <a:moveTo>
                    <a:pt x="10603" y="1533"/>
                  </a:moveTo>
                  <a:cubicBezTo>
                    <a:pt x="11755" y="1533"/>
                    <a:pt x="12924" y="1791"/>
                    <a:pt x="14026" y="2335"/>
                  </a:cubicBezTo>
                  <a:cubicBezTo>
                    <a:pt x="17860" y="4240"/>
                    <a:pt x="19432" y="8884"/>
                    <a:pt x="17527" y="12729"/>
                  </a:cubicBezTo>
                  <a:cubicBezTo>
                    <a:pt x="16180" y="15458"/>
                    <a:pt x="13439" y="17034"/>
                    <a:pt x="10585" y="17034"/>
                  </a:cubicBezTo>
                  <a:cubicBezTo>
                    <a:pt x="9429" y="17034"/>
                    <a:pt x="8253" y="16776"/>
                    <a:pt x="7145" y="16230"/>
                  </a:cubicBezTo>
                  <a:cubicBezTo>
                    <a:pt x="3311" y="14325"/>
                    <a:pt x="1739" y="9681"/>
                    <a:pt x="3644" y="5848"/>
                  </a:cubicBezTo>
                  <a:cubicBezTo>
                    <a:pt x="5001" y="3116"/>
                    <a:pt x="7749" y="1533"/>
                    <a:pt x="10603" y="1533"/>
                  </a:cubicBezTo>
                  <a:close/>
                  <a:moveTo>
                    <a:pt x="10596" y="1"/>
                  </a:moveTo>
                  <a:cubicBezTo>
                    <a:pt x="7179" y="1"/>
                    <a:pt x="3894" y="1897"/>
                    <a:pt x="2275" y="5169"/>
                  </a:cubicBezTo>
                  <a:cubicBezTo>
                    <a:pt x="1" y="9765"/>
                    <a:pt x="1882" y="15325"/>
                    <a:pt x="6466" y="17599"/>
                  </a:cubicBezTo>
                  <a:cubicBezTo>
                    <a:pt x="7790" y="18254"/>
                    <a:pt x="9194" y="18564"/>
                    <a:pt x="10578" y="18564"/>
                  </a:cubicBezTo>
                  <a:cubicBezTo>
                    <a:pt x="13998" y="18564"/>
                    <a:pt x="17289" y="16668"/>
                    <a:pt x="18908" y="13396"/>
                  </a:cubicBezTo>
                  <a:cubicBezTo>
                    <a:pt x="19634" y="11920"/>
                    <a:pt x="19932" y="10324"/>
                    <a:pt x="19849" y="8788"/>
                  </a:cubicBezTo>
                  <a:lnTo>
                    <a:pt x="24313" y="4645"/>
                  </a:lnTo>
                  <a:lnTo>
                    <a:pt x="18265" y="4062"/>
                  </a:lnTo>
                  <a:cubicBezTo>
                    <a:pt x="17396" y="2788"/>
                    <a:pt x="16193" y="1704"/>
                    <a:pt x="14705" y="966"/>
                  </a:cubicBezTo>
                  <a:cubicBezTo>
                    <a:pt x="13381" y="311"/>
                    <a:pt x="11978" y="1"/>
                    <a:pt x="1059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sp>
          <p:nvSpPr>
            <p:cNvPr id="1534" name="Google Shape;1534;p38"/>
            <p:cNvSpPr/>
            <p:nvPr/>
          </p:nvSpPr>
          <p:spPr>
            <a:xfrm flipH="1">
              <a:off x="5241475" y="2843650"/>
              <a:ext cx="397100" cy="602175"/>
            </a:xfrm>
            <a:custGeom>
              <a:avLst/>
              <a:gdLst/>
              <a:ahLst/>
              <a:cxnLst/>
              <a:rect l="l" t="t" r="r" b="b"/>
              <a:pathLst>
                <a:path w="15884" h="24087" extrusionOk="0">
                  <a:moveTo>
                    <a:pt x="1" y="0"/>
                  </a:moveTo>
                  <a:cubicBezTo>
                    <a:pt x="810" y="9192"/>
                    <a:pt x="4561" y="17538"/>
                    <a:pt x="10300" y="24087"/>
                  </a:cubicBezTo>
                  <a:lnTo>
                    <a:pt x="15884" y="18503"/>
                  </a:lnTo>
                  <a:cubicBezTo>
                    <a:pt x="11550" y="13395"/>
                    <a:pt x="8680" y="7025"/>
                    <a:pt x="791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35" name="Google Shape;1535;p38"/>
          <p:cNvGrpSpPr/>
          <p:nvPr/>
        </p:nvGrpSpPr>
        <p:grpSpPr>
          <a:xfrm>
            <a:off x="6165039" y="4557105"/>
            <a:ext cx="5618518" cy="1741215"/>
            <a:chOff x="4665800" y="3417825"/>
            <a:chExt cx="4213889" cy="1305910"/>
          </a:xfrm>
        </p:grpSpPr>
        <p:sp>
          <p:nvSpPr>
            <p:cNvPr id="1538" name="Google Shape;1538;p38"/>
            <p:cNvSpPr txBox="1"/>
            <p:nvPr/>
          </p:nvSpPr>
          <p:spPr>
            <a:xfrm>
              <a:off x="5944882" y="4294135"/>
              <a:ext cx="2934807" cy="429600"/>
            </a:xfrm>
            <a:prstGeom prst="rect">
              <a:avLst/>
            </a:prstGeom>
            <a:noFill/>
            <a:ln>
              <a:noFill/>
            </a:ln>
          </p:spPr>
          <p:txBody>
            <a:bodyPr spcFirstLastPara="1" wrap="square" lIns="121900" tIns="121900" rIns="121900" bIns="121900" anchor="ctr" anchorCtr="0">
              <a:noAutofit/>
            </a:bodyPr>
            <a:lstStyle/>
            <a:p>
              <a:pPr>
                <a:buClrTx/>
                <a:defRPr/>
              </a:pPr>
              <a:r>
                <a:rPr kumimoji="0" lang="el-GR" sz="2000" b="0" i="0" u="none" strike="noStrike" kern="1200" cap="none" spc="0" normalizeH="0" baseline="0" noProof="0">
                  <a:ln>
                    <a:noFill/>
                  </a:ln>
                  <a:solidFill>
                    <a:srgbClr val="629DD1"/>
                  </a:solidFill>
                  <a:effectLst/>
                  <a:uLnTx/>
                  <a:uFillTx/>
                  <a:latin typeface="Fira Sans Extra Condensed Medium"/>
                  <a:ea typeface="Fira Sans Extra Condensed Medium"/>
                  <a:cs typeface="Fira Sans Extra Condensed Medium"/>
                  <a:sym typeface="Fira Sans Extra Condensed Medium"/>
                </a:rPr>
                <a:t>Κόμβος καινοτομίας για το πράσινο Η2 και την αποθήκευση ενέργειας</a:t>
              </a:r>
            </a:p>
          </p:txBody>
        </p:sp>
        <p:sp>
          <p:nvSpPr>
            <p:cNvPr id="1540" name="Google Shape;1540;p38"/>
            <p:cNvSpPr/>
            <p:nvPr/>
          </p:nvSpPr>
          <p:spPr>
            <a:xfrm flipH="1">
              <a:off x="4843813" y="3663475"/>
              <a:ext cx="524500" cy="561975"/>
            </a:xfrm>
            <a:custGeom>
              <a:avLst/>
              <a:gdLst/>
              <a:ahLst/>
              <a:cxnLst/>
              <a:rect l="l" t="t" r="r" b="b"/>
              <a:pathLst>
                <a:path w="20980" h="22479" extrusionOk="0">
                  <a:moveTo>
                    <a:pt x="10481" y="5447"/>
                  </a:moveTo>
                  <a:cubicBezTo>
                    <a:pt x="13615" y="5447"/>
                    <a:pt x="16567" y="7361"/>
                    <a:pt x="17741" y="10466"/>
                  </a:cubicBezTo>
                  <a:cubicBezTo>
                    <a:pt x="19253" y="14467"/>
                    <a:pt x="17229" y="18944"/>
                    <a:pt x="13217" y="20444"/>
                  </a:cubicBezTo>
                  <a:cubicBezTo>
                    <a:pt x="12317" y="20784"/>
                    <a:pt x="11392" y="20945"/>
                    <a:pt x="10484" y="20945"/>
                  </a:cubicBezTo>
                  <a:cubicBezTo>
                    <a:pt x="7352" y="20945"/>
                    <a:pt x="4402" y="19032"/>
                    <a:pt x="3239" y="15931"/>
                  </a:cubicBezTo>
                  <a:cubicBezTo>
                    <a:pt x="1727" y="11919"/>
                    <a:pt x="3751" y="7454"/>
                    <a:pt x="7763" y="5942"/>
                  </a:cubicBezTo>
                  <a:cubicBezTo>
                    <a:pt x="8659" y="5606"/>
                    <a:pt x="9578" y="5447"/>
                    <a:pt x="10481" y="5447"/>
                  </a:cubicBezTo>
                  <a:close/>
                  <a:moveTo>
                    <a:pt x="16467" y="1"/>
                  </a:moveTo>
                  <a:lnTo>
                    <a:pt x="11907" y="4025"/>
                  </a:lnTo>
                  <a:cubicBezTo>
                    <a:pt x="11442" y="3952"/>
                    <a:pt x="10969" y="3915"/>
                    <a:pt x="10492" y="3915"/>
                  </a:cubicBezTo>
                  <a:cubicBezTo>
                    <a:pt x="9406" y="3915"/>
                    <a:pt x="8299" y="4108"/>
                    <a:pt x="7216" y="4513"/>
                  </a:cubicBezTo>
                  <a:cubicBezTo>
                    <a:pt x="2429" y="6323"/>
                    <a:pt x="1" y="11669"/>
                    <a:pt x="1810" y="16467"/>
                  </a:cubicBezTo>
                  <a:cubicBezTo>
                    <a:pt x="3205" y="20189"/>
                    <a:pt x="6742" y="22479"/>
                    <a:pt x="10499" y="22479"/>
                  </a:cubicBezTo>
                  <a:cubicBezTo>
                    <a:pt x="11584" y="22479"/>
                    <a:pt x="12688" y="22287"/>
                    <a:pt x="13764" y="21884"/>
                  </a:cubicBezTo>
                  <a:cubicBezTo>
                    <a:pt x="18551" y="20075"/>
                    <a:pt x="20979" y="14717"/>
                    <a:pt x="19170" y="9931"/>
                  </a:cubicBezTo>
                  <a:cubicBezTo>
                    <a:pt x="18586" y="8371"/>
                    <a:pt x="17634" y="7073"/>
                    <a:pt x="16443" y="6085"/>
                  </a:cubicBezTo>
                  <a:lnTo>
                    <a:pt x="16467" y="1"/>
                  </a:ln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sp>
          <p:nvSpPr>
            <p:cNvPr id="1541" name="Google Shape;1541;p38"/>
            <p:cNvSpPr/>
            <p:nvPr/>
          </p:nvSpPr>
          <p:spPr>
            <a:xfrm flipH="1">
              <a:off x="4665800" y="3417825"/>
              <a:ext cx="601000" cy="386075"/>
            </a:xfrm>
            <a:custGeom>
              <a:avLst/>
              <a:gdLst/>
              <a:ahLst/>
              <a:cxnLst/>
              <a:rect l="l" t="t" r="r" b="b"/>
              <a:pathLst>
                <a:path w="24040" h="15443" extrusionOk="0">
                  <a:moveTo>
                    <a:pt x="5585" y="1"/>
                  </a:moveTo>
                  <a:lnTo>
                    <a:pt x="1" y="5596"/>
                  </a:lnTo>
                  <a:cubicBezTo>
                    <a:pt x="6585" y="11169"/>
                    <a:pt x="14907" y="14752"/>
                    <a:pt x="24039" y="15443"/>
                  </a:cubicBezTo>
                  <a:lnTo>
                    <a:pt x="24039" y="7537"/>
                  </a:lnTo>
                  <a:cubicBezTo>
                    <a:pt x="17074" y="6894"/>
                    <a:pt x="10728" y="4168"/>
                    <a:pt x="5585"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 name="Google Shape;8734;p72">
            <a:extLst>
              <a:ext uri="{FF2B5EF4-FFF2-40B4-BE49-F238E27FC236}">
                <a16:creationId xmlns:a16="http://schemas.microsoft.com/office/drawing/2014/main" id="{E317150D-9C98-0283-CBFC-D2AE7312B141}"/>
              </a:ext>
            </a:extLst>
          </p:cNvPr>
          <p:cNvGrpSpPr/>
          <p:nvPr/>
        </p:nvGrpSpPr>
        <p:grpSpPr>
          <a:xfrm>
            <a:off x="286061" y="1045298"/>
            <a:ext cx="707615" cy="616173"/>
            <a:chOff x="-1951475" y="3273100"/>
            <a:chExt cx="291875" cy="222775"/>
          </a:xfrm>
          <a:solidFill>
            <a:srgbClr val="00B0F0"/>
          </a:solidFill>
        </p:grpSpPr>
        <p:sp>
          <p:nvSpPr>
            <p:cNvPr id="4" name="Google Shape;8735;p72">
              <a:extLst>
                <a:ext uri="{FF2B5EF4-FFF2-40B4-BE49-F238E27FC236}">
                  <a16:creationId xmlns:a16="http://schemas.microsoft.com/office/drawing/2014/main" id="{339DB5D8-6532-66FE-A6C6-49FF9FA8ED0A}"/>
                </a:ext>
              </a:extLst>
            </p:cNvPr>
            <p:cNvSpPr/>
            <p:nvPr/>
          </p:nvSpPr>
          <p:spPr>
            <a:xfrm>
              <a:off x="-1951475" y="3325050"/>
              <a:ext cx="51225" cy="119250"/>
            </a:xfrm>
            <a:custGeom>
              <a:avLst/>
              <a:gdLst/>
              <a:ahLst/>
              <a:cxnLst/>
              <a:rect l="l" t="t" r="r" b="b"/>
              <a:pathLst>
                <a:path w="2049" h="4770" extrusionOk="0">
                  <a:moveTo>
                    <a:pt x="1033" y="0"/>
                  </a:moveTo>
                  <a:cubicBezTo>
                    <a:pt x="518" y="0"/>
                    <a:pt x="0" y="339"/>
                    <a:pt x="0" y="1004"/>
                  </a:cubicBezTo>
                  <a:lnTo>
                    <a:pt x="0" y="3777"/>
                  </a:lnTo>
                  <a:cubicBezTo>
                    <a:pt x="0" y="4438"/>
                    <a:pt x="512" y="4769"/>
                    <a:pt x="1024" y="4769"/>
                  </a:cubicBezTo>
                  <a:cubicBezTo>
                    <a:pt x="1536" y="4769"/>
                    <a:pt x="2048" y="4438"/>
                    <a:pt x="2048" y="3777"/>
                  </a:cubicBezTo>
                  <a:lnTo>
                    <a:pt x="2048" y="1004"/>
                  </a:lnTo>
                  <a:cubicBezTo>
                    <a:pt x="2048" y="331"/>
                    <a:pt x="1542" y="0"/>
                    <a:pt x="1033"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Google Shape;8736;p72">
              <a:extLst>
                <a:ext uri="{FF2B5EF4-FFF2-40B4-BE49-F238E27FC236}">
                  <a16:creationId xmlns:a16="http://schemas.microsoft.com/office/drawing/2014/main" id="{B91C4007-0828-DCF2-CB33-C018010A83B2}"/>
                </a:ext>
              </a:extLst>
            </p:cNvPr>
            <p:cNvSpPr/>
            <p:nvPr/>
          </p:nvSpPr>
          <p:spPr>
            <a:xfrm>
              <a:off x="-1711250" y="3273100"/>
              <a:ext cx="51650" cy="221725"/>
            </a:xfrm>
            <a:custGeom>
              <a:avLst/>
              <a:gdLst/>
              <a:ahLst/>
              <a:cxnLst/>
              <a:rect l="l" t="t" r="r" b="b"/>
              <a:pathLst>
                <a:path w="2066" h="8869" extrusionOk="0">
                  <a:moveTo>
                    <a:pt x="1027" y="0"/>
                  </a:moveTo>
                  <a:cubicBezTo>
                    <a:pt x="608" y="0"/>
                    <a:pt x="186" y="229"/>
                    <a:pt x="32" y="719"/>
                  </a:cubicBezTo>
                  <a:cubicBezTo>
                    <a:pt x="0" y="814"/>
                    <a:pt x="0" y="940"/>
                    <a:pt x="0" y="1003"/>
                  </a:cubicBezTo>
                  <a:lnTo>
                    <a:pt x="0" y="7871"/>
                  </a:lnTo>
                  <a:cubicBezTo>
                    <a:pt x="0" y="7934"/>
                    <a:pt x="0" y="8060"/>
                    <a:pt x="32" y="8123"/>
                  </a:cubicBezTo>
                  <a:cubicBezTo>
                    <a:pt x="173" y="8632"/>
                    <a:pt x="594" y="8869"/>
                    <a:pt x="1015" y="8869"/>
                  </a:cubicBezTo>
                  <a:cubicBezTo>
                    <a:pt x="1532" y="8869"/>
                    <a:pt x="2048" y="8513"/>
                    <a:pt x="2048" y="7871"/>
                  </a:cubicBezTo>
                  <a:lnTo>
                    <a:pt x="2048" y="1003"/>
                  </a:lnTo>
                  <a:cubicBezTo>
                    <a:pt x="2066" y="356"/>
                    <a:pt x="1549" y="0"/>
                    <a:pt x="1027"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8737;p72">
              <a:extLst>
                <a:ext uri="{FF2B5EF4-FFF2-40B4-BE49-F238E27FC236}">
                  <a16:creationId xmlns:a16="http://schemas.microsoft.com/office/drawing/2014/main" id="{C431037B-4D1A-F8ED-DACE-D59DA55B1AFE}"/>
                </a:ext>
              </a:extLst>
            </p:cNvPr>
            <p:cNvSpPr/>
            <p:nvPr/>
          </p:nvSpPr>
          <p:spPr>
            <a:xfrm>
              <a:off x="-1886900" y="3296575"/>
              <a:ext cx="156775" cy="199300"/>
            </a:xfrm>
            <a:custGeom>
              <a:avLst/>
              <a:gdLst/>
              <a:ahLst/>
              <a:cxnLst/>
              <a:rect l="l" t="t" r="r" b="b"/>
              <a:pathLst>
                <a:path w="6271" h="7972" extrusionOk="0">
                  <a:moveTo>
                    <a:pt x="851" y="5672"/>
                  </a:moveTo>
                  <a:lnTo>
                    <a:pt x="3466" y="6333"/>
                  </a:lnTo>
                  <a:cubicBezTo>
                    <a:pt x="3277" y="6869"/>
                    <a:pt x="2773" y="7279"/>
                    <a:pt x="2174" y="7279"/>
                  </a:cubicBezTo>
                  <a:cubicBezTo>
                    <a:pt x="1418" y="7279"/>
                    <a:pt x="788" y="6648"/>
                    <a:pt x="788" y="5892"/>
                  </a:cubicBezTo>
                  <a:cubicBezTo>
                    <a:pt x="851" y="5798"/>
                    <a:pt x="851" y="5735"/>
                    <a:pt x="851" y="5672"/>
                  </a:cubicBezTo>
                  <a:close/>
                  <a:moveTo>
                    <a:pt x="6270" y="1"/>
                  </a:moveTo>
                  <a:lnTo>
                    <a:pt x="1" y="1576"/>
                  </a:lnTo>
                  <a:cubicBezTo>
                    <a:pt x="95" y="1734"/>
                    <a:pt x="127" y="1923"/>
                    <a:pt x="127" y="2143"/>
                  </a:cubicBezTo>
                  <a:lnTo>
                    <a:pt x="127" y="4916"/>
                  </a:lnTo>
                  <a:cubicBezTo>
                    <a:pt x="127" y="5105"/>
                    <a:pt x="95" y="5294"/>
                    <a:pt x="1" y="5514"/>
                  </a:cubicBezTo>
                  <a:lnTo>
                    <a:pt x="158" y="5546"/>
                  </a:lnTo>
                  <a:cubicBezTo>
                    <a:pt x="127" y="5672"/>
                    <a:pt x="127" y="5829"/>
                    <a:pt x="127" y="5924"/>
                  </a:cubicBezTo>
                  <a:cubicBezTo>
                    <a:pt x="127" y="7090"/>
                    <a:pt x="1040" y="7972"/>
                    <a:pt x="2174" y="7972"/>
                  </a:cubicBezTo>
                  <a:cubicBezTo>
                    <a:pt x="3120" y="7972"/>
                    <a:pt x="3907" y="7405"/>
                    <a:pt x="4159" y="6522"/>
                  </a:cubicBezTo>
                  <a:lnTo>
                    <a:pt x="6270" y="7090"/>
                  </a:lnTo>
                  <a:lnTo>
                    <a:pt x="6270" y="5672"/>
                  </a:lnTo>
                  <a:lnTo>
                    <a:pt x="6270" y="2238"/>
                  </a:lnTo>
                  <a:lnTo>
                    <a:pt x="6270"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8" name="Google Shape;1499;p38"/>
          <p:cNvSpPr txBox="1"/>
          <p:nvPr/>
        </p:nvSpPr>
        <p:spPr>
          <a:xfrm>
            <a:off x="106938" y="4715438"/>
            <a:ext cx="4555581" cy="1106550"/>
          </a:xfrm>
          <a:prstGeom prst="rect">
            <a:avLst/>
          </a:prstGeom>
          <a:noFill/>
          <a:ln>
            <a:noFill/>
          </a:ln>
        </p:spPr>
        <p:txBody>
          <a:bodyPr spcFirstLastPara="1" wrap="square" lIns="121900" tIns="121900" rIns="121900" bIns="121900" anchor="ctr" anchorCtr="0">
            <a:noAutofit/>
          </a:bodyPr>
          <a:lstStyle/>
          <a:p>
            <a:pPr>
              <a:defRPr/>
            </a:pPr>
            <a:r>
              <a:rPr lang="el-GR" sz="2000" kern="1200" dirty="0">
                <a:solidFill>
                  <a:srgbClr val="4A66AC"/>
                </a:solidFill>
                <a:latin typeface="Fira Sans Extra Condensed Medium"/>
                <a:ea typeface="Fira Sans Extra Condensed Medium"/>
                <a:cs typeface="Fira Sans Extra Condensed Medium"/>
                <a:sym typeface="Fira Sans Extra Condensed Medium"/>
              </a:rPr>
              <a:t>Επαναλειτουργία της σιδηροδρομικής γραμμής Πτολεμαΐδας – Κοζάνης &amp; Αμύνταιου – Πτολεμαΐδας </a:t>
            </a:r>
          </a:p>
        </p:txBody>
      </p:sp>
      <p:sp>
        <p:nvSpPr>
          <p:cNvPr id="9" name="Google Shape;1499;p38">
            <a:extLst>
              <a:ext uri="{FF2B5EF4-FFF2-40B4-BE49-F238E27FC236}">
                <a16:creationId xmlns:a16="http://schemas.microsoft.com/office/drawing/2014/main" id="{A5968D0C-510B-EF09-09B9-974D17026FDA}"/>
              </a:ext>
            </a:extLst>
          </p:cNvPr>
          <p:cNvSpPr txBox="1"/>
          <p:nvPr/>
        </p:nvSpPr>
        <p:spPr>
          <a:xfrm>
            <a:off x="8407048" y="1878679"/>
            <a:ext cx="3299853" cy="559663"/>
          </a:xfrm>
          <a:prstGeom prst="rect">
            <a:avLst/>
          </a:prstGeom>
          <a:noFill/>
          <a:ln>
            <a:noFill/>
          </a:ln>
        </p:spPr>
        <p:txBody>
          <a:bodyPr spcFirstLastPara="1" wrap="square" lIns="121900" tIns="121900" rIns="121900" bIns="121900" anchor="ctr" anchorCtr="0">
            <a:noAutofit/>
          </a:bodyPr>
          <a:lstStyle/>
          <a:p>
            <a:pPr>
              <a:buClrTx/>
              <a:defRPr/>
            </a:pPr>
            <a:r>
              <a:rPr lang="el-GR" sz="2000" kern="1200">
                <a:solidFill>
                  <a:srgbClr val="4A66AC"/>
                </a:solidFill>
                <a:latin typeface="Fira Sans Extra Condensed Medium"/>
                <a:ea typeface="Fira Sans Extra Condensed Medium"/>
                <a:cs typeface="Fira Sans Extra Condensed Medium"/>
                <a:sym typeface="Fira Sans Extra Condensed Medium"/>
              </a:rPr>
              <a:t>Αεροδρόμιο Κοζάνης</a:t>
            </a:r>
            <a:r>
              <a:rPr kumimoji="0" lang="el-GR" sz="1600" b="0" i="0" u="none" strike="noStrike" kern="1200" cap="none" spc="0" normalizeH="0" baseline="0" noProof="0">
                <a:ln>
                  <a:noFill/>
                </a:ln>
                <a:solidFill>
                  <a:srgbClr val="4A66AC"/>
                </a:solidFill>
                <a:effectLst/>
                <a:uLnTx/>
                <a:uFillTx/>
                <a:latin typeface="Fira Sans Extra Condensed Medium"/>
                <a:ea typeface="Fira Sans Extra Condensed Medium"/>
                <a:cs typeface="Fira Sans Extra Condensed Medium"/>
                <a:sym typeface="Fira Sans Extra Condensed Medium"/>
              </a:rPr>
              <a:t> </a:t>
            </a:r>
            <a:endParaRPr lang="el-GR" sz="1600" b="0" i="0" u="none" strike="noStrike" kern="1200" cap="none" spc="0" normalizeH="0" baseline="0" noProof="0">
              <a:ln>
                <a:noFill/>
              </a:ln>
              <a:solidFill>
                <a:srgbClr val="FF0000"/>
              </a:solidFill>
              <a:effectLst/>
              <a:uLnTx/>
              <a:uFillTx/>
              <a:latin typeface="Fira Sans Extra Condensed Medium"/>
              <a:ea typeface="Fira Sans Extra Condensed Medium"/>
              <a:cs typeface="Fira Sans Extra Condensed Medium"/>
            </a:endParaRPr>
          </a:p>
        </p:txBody>
      </p:sp>
      <p:sp>
        <p:nvSpPr>
          <p:cNvPr id="13" name="Google Shape;1516;p38">
            <a:extLst>
              <a:ext uri="{FF2B5EF4-FFF2-40B4-BE49-F238E27FC236}">
                <a16:creationId xmlns:a16="http://schemas.microsoft.com/office/drawing/2014/main" id="{76609D03-4217-AEBF-664E-AF8D90CD8D2F}"/>
              </a:ext>
            </a:extLst>
          </p:cNvPr>
          <p:cNvSpPr txBox="1"/>
          <p:nvPr/>
        </p:nvSpPr>
        <p:spPr>
          <a:xfrm>
            <a:off x="310853" y="3669293"/>
            <a:ext cx="3761100" cy="572800"/>
          </a:xfrm>
          <a:prstGeom prst="rect">
            <a:avLst/>
          </a:prstGeom>
          <a:noFill/>
          <a:ln>
            <a:noFill/>
          </a:ln>
        </p:spPr>
        <p:txBody>
          <a:bodyPr spcFirstLastPara="1" wrap="square" lIns="121900" tIns="121900" rIns="121900" bIns="121900" anchor="ctr" anchorCtr="0">
            <a:noAutofit/>
          </a:bodyPr>
          <a:lstStyle/>
          <a:p>
            <a:pPr>
              <a:buClrTx/>
              <a:buFontTx/>
              <a:defRPr/>
            </a:pPr>
            <a:r>
              <a:rPr lang="el-GR" sz="2000" kern="1200" dirty="0">
                <a:solidFill>
                  <a:srgbClr val="5AA2AE"/>
                </a:solidFill>
                <a:latin typeface="Fira Sans Extra Condensed Medium"/>
                <a:ea typeface="Fira Sans Extra Condensed Medium"/>
                <a:cs typeface="Fira Sans Extra Condensed Medium"/>
                <a:sym typeface="Fira Sans Extra Condensed Medium"/>
              </a:rPr>
              <a:t>Παραλίμνια οδική χάραξη λίμνης Πολυφύτου</a:t>
            </a:r>
            <a:r>
              <a:rPr kumimoji="0" lang="el-GR" sz="1600" b="0" i="0" u="none" strike="noStrike" kern="1200" cap="none" spc="0" normalizeH="0" baseline="0" noProof="0" dirty="0">
                <a:ln>
                  <a:noFill/>
                </a:ln>
                <a:solidFill>
                  <a:srgbClr val="5AA2AE"/>
                </a:solidFill>
                <a:effectLst/>
                <a:uLnTx/>
                <a:uFillTx/>
                <a:latin typeface="Fira Sans Extra Condensed Medium"/>
                <a:ea typeface="Fira Sans Extra Condensed Medium"/>
                <a:cs typeface="Fira Sans Extra Condensed Medium"/>
                <a:sym typeface="Fira Sans Extra Condensed Medium"/>
              </a:rPr>
              <a:t> </a:t>
            </a:r>
            <a:endParaRPr lang="el-GR" sz="1600" b="0" i="0" u="none" strike="noStrike" kern="1200" cap="none" spc="0" normalizeH="0" baseline="0" noProof="0" dirty="0">
              <a:ln>
                <a:noFill/>
              </a:ln>
              <a:solidFill>
                <a:srgbClr val="FF0000"/>
              </a:solidFill>
              <a:effectLst/>
              <a:uLnTx/>
              <a:uFillTx/>
              <a:latin typeface="Fira Sans Extra Condensed Medium"/>
              <a:ea typeface="Fira Sans Extra Condensed Medium"/>
              <a:cs typeface="Fira Sans Extra Condensed Medium"/>
            </a:endParaRPr>
          </a:p>
        </p:txBody>
      </p:sp>
      <p:sp>
        <p:nvSpPr>
          <p:cNvPr id="3" name="Google Shape;414;p13">
            <a:extLst>
              <a:ext uri="{FF2B5EF4-FFF2-40B4-BE49-F238E27FC236}">
                <a16:creationId xmlns:a16="http://schemas.microsoft.com/office/drawing/2014/main" id="{D5F67DE0-CCEF-9D07-8B9F-AB95F0AE7D12}"/>
              </a:ext>
            </a:extLst>
          </p:cNvPr>
          <p:cNvSpPr/>
          <p:nvPr/>
        </p:nvSpPr>
        <p:spPr>
          <a:xfrm>
            <a:off x="779435" y="158892"/>
            <a:ext cx="6783921"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defRPr/>
            </a:pPr>
            <a:r>
              <a:rPr lang="el-GR" sz="3300">
                <a:solidFill>
                  <a:srgbClr val="002060"/>
                </a:solidFill>
                <a:latin typeface="Arial Black"/>
                <a:ea typeface="Arial Black"/>
                <a:cs typeface="Arial Black"/>
                <a:sym typeface="Arial Black"/>
              </a:rPr>
              <a:t>Άμεσες παρεμβάσεις- Κοζάνη </a:t>
            </a:r>
            <a:endParaRPr lang="el-GR" sz="3334">
              <a:solidFill>
                <a:srgbClr val="002060"/>
              </a:solidFill>
              <a:latin typeface="Arial Black"/>
              <a:ea typeface="Arial Black"/>
              <a:cs typeface="Arial Black"/>
              <a:sym typeface="Arial Black"/>
            </a:endParaRPr>
          </a:p>
        </p:txBody>
      </p:sp>
      <p:cxnSp>
        <p:nvCxnSpPr>
          <p:cNvPr id="10" name="Ευθεία γραμμή σύνδεσης 9">
            <a:extLst>
              <a:ext uri="{FF2B5EF4-FFF2-40B4-BE49-F238E27FC236}">
                <a16:creationId xmlns:a16="http://schemas.microsoft.com/office/drawing/2014/main" id="{3594813D-2BC7-8FD0-7914-3B59FA49E062}"/>
              </a:ext>
            </a:extLst>
          </p:cNvPr>
          <p:cNvCxnSpPr/>
          <p:nvPr/>
        </p:nvCxnSpPr>
        <p:spPr>
          <a:xfrm>
            <a:off x="261643" y="779953"/>
            <a:ext cx="11668715" cy="0"/>
          </a:xfrm>
          <a:prstGeom prst="line">
            <a:avLst/>
          </a:prstGeom>
        </p:spPr>
        <p:style>
          <a:lnRef idx="3">
            <a:schemeClr val="accent1"/>
          </a:lnRef>
          <a:fillRef idx="0">
            <a:schemeClr val="accent1"/>
          </a:fillRef>
          <a:effectRef idx="2">
            <a:schemeClr val="accent1"/>
          </a:effectRef>
          <a:fontRef idx="minor">
            <a:schemeClr val="tx1"/>
          </a:fontRef>
        </p:style>
      </p:cxnSp>
      <p:sp>
        <p:nvSpPr>
          <p:cNvPr id="12" name="Google Shape;1491;p38">
            <a:extLst>
              <a:ext uri="{FF2B5EF4-FFF2-40B4-BE49-F238E27FC236}">
                <a16:creationId xmlns:a16="http://schemas.microsoft.com/office/drawing/2014/main" id="{D9CC85D6-2505-60AF-A0B0-D57B78E09538}"/>
              </a:ext>
            </a:extLst>
          </p:cNvPr>
          <p:cNvSpPr txBox="1"/>
          <p:nvPr/>
        </p:nvSpPr>
        <p:spPr>
          <a:xfrm>
            <a:off x="7524877" y="1064132"/>
            <a:ext cx="3798666" cy="537697"/>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2000" kern="1200" dirty="0">
                <a:solidFill>
                  <a:srgbClr val="629DD1"/>
                </a:solidFill>
                <a:latin typeface="Fira Sans Extra Condensed Medium"/>
                <a:sym typeface="Fira Sans Extra Condensed Medium"/>
              </a:rPr>
              <a:t>Ολοκληρωμένες παρεμβάσεις στην Ακρινή Κοζάνης</a:t>
            </a:r>
            <a:endParaRPr lang="el-GR" sz="1600" kern="1200" dirty="0">
              <a:solidFill>
                <a:srgbClr val="629DD1"/>
              </a:solidFill>
              <a:latin typeface="Fira Sans Extra Condensed Medium"/>
            </a:endParaRPr>
          </a:p>
        </p:txBody>
      </p:sp>
      <p:sp>
        <p:nvSpPr>
          <p:cNvPr id="14" name="Google Shape;1522;p38">
            <a:extLst>
              <a:ext uri="{FF2B5EF4-FFF2-40B4-BE49-F238E27FC236}">
                <a16:creationId xmlns:a16="http://schemas.microsoft.com/office/drawing/2014/main" id="{C06EB1C2-B1EB-324E-AD44-2BFD094CE24A}"/>
              </a:ext>
            </a:extLst>
          </p:cNvPr>
          <p:cNvSpPr txBox="1"/>
          <p:nvPr/>
        </p:nvSpPr>
        <p:spPr>
          <a:xfrm>
            <a:off x="632656" y="2381460"/>
            <a:ext cx="4050672" cy="572800"/>
          </a:xfrm>
          <a:prstGeom prst="rect">
            <a:avLst/>
          </a:prstGeom>
          <a:noFill/>
          <a:ln>
            <a:noFill/>
          </a:ln>
        </p:spPr>
        <p:txBody>
          <a:bodyPr spcFirstLastPara="1" wrap="square" lIns="121900" tIns="121900" rIns="121900" bIns="121900" anchor="ctr" anchorCtr="0">
            <a:noAutofit/>
          </a:bodyPr>
          <a:lstStyle/>
          <a:p>
            <a:pPr>
              <a:buClrTx/>
              <a:defRPr/>
            </a:pPr>
            <a:r>
              <a:rPr lang="el-GR" sz="2000" kern="1200" dirty="0">
                <a:solidFill>
                  <a:srgbClr val="7F8FA9"/>
                </a:solidFill>
                <a:latin typeface="Fira Sans Extra Condensed Medium"/>
                <a:ea typeface="Fira Sans Extra Condensed Medium"/>
                <a:cs typeface="Fira Sans Extra Condensed Medium"/>
                <a:sym typeface="Fira Sans Extra Condensed Medium"/>
              </a:rPr>
              <a:t>Ολοκλήρωση οδικού τμήματος Κοζάνη – Γέφυρα </a:t>
            </a:r>
            <a:r>
              <a:rPr lang="el-GR" sz="2000" kern="1200" dirty="0" err="1">
                <a:solidFill>
                  <a:srgbClr val="7F8FA9"/>
                </a:solidFill>
                <a:latin typeface="Fira Sans Extra Condensed Medium"/>
                <a:ea typeface="Fira Sans Extra Condensed Medium"/>
                <a:cs typeface="Fira Sans Extra Condensed Medium"/>
                <a:sym typeface="Fira Sans Extra Condensed Medium"/>
              </a:rPr>
              <a:t>Ρυμνίου</a:t>
            </a:r>
            <a:endParaRPr lang="el-GR" sz="2000" kern="1200" dirty="0">
              <a:solidFill>
                <a:srgbClr val="7F8FA9"/>
              </a:solidFill>
              <a:latin typeface="Fira Sans Extra Condensed Medium"/>
              <a:ea typeface="Fira Sans Extra Condensed Medium"/>
              <a:cs typeface="Fira Sans Extra Condensed Medium"/>
              <a:sym typeface="Fira Sans Extra Condensed Medium"/>
            </a:endParaRPr>
          </a:p>
        </p:txBody>
      </p:sp>
      <p:sp>
        <p:nvSpPr>
          <p:cNvPr id="7" name="Google Shape;1516;p38">
            <a:extLst>
              <a:ext uri="{FF2B5EF4-FFF2-40B4-BE49-F238E27FC236}">
                <a16:creationId xmlns:a16="http://schemas.microsoft.com/office/drawing/2014/main" id="{4834FE67-3BE2-8EB2-A214-09AF7249F465}"/>
              </a:ext>
            </a:extLst>
          </p:cNvPr>
          <p:cNvSpPr txBox="1"/>
          <p:nvPr/>
        </p:nvSpPr>
        <p:spPr>
          <a:xfrm>
            <a:off x="3276994" y="6126308"/>
            <a:ext cx="4429202" cy="572800"/>
          </a:xfrm>
          <a:prstGeom prst="rect">
            <a:avLst/>
          </a:prstGeom>
          <a:noFill/>
          <a:ln>
            <a:noFill/>
          </a:ln>
        </p:spPr>
        <p:txBody>
          <a:bodyPr spcFirstLastPara="1" wrap="square" lIns="121900" tIns="121900" rIns="121900" bIns="121900" anchor="ctr" anchorCtr="0">
            <a:noAutofit/>
          </a:bodyPr>
          <a:lstStyle/>
          <a:p>
            <a:pPr>
              <a:buClrTx/>
              <a:buFontTx/>
              <a:defRPr/>
            </a:pPr>
            <a:r>
              <a:rPr lang="el-GR" sz="2000" kern="1200" dirty="0">
                <a:solidFill>
                  <a:srgbClr val="5AA2AE"/>
                </a:solidFill>
                <a:latin typeface="Fira Sans Extra Condensed Medium"/>
                <a:ea typeface="Fira Sans Extra Condensed Medium"/>
                <a:cs typeface="Fira Sans Extra Condensed Medium"/>
                <a:sym typeface="Fira Sans Extra Condensed Medium"/>
              </a:rPr>
              <a:t>Εθνικό οδικό δίκτυο (σύνδεση με Εγνατία οδό - Πτολεμαΐδα - Αμύνταιο) Τμήμα Πτολεμαΐδα – Ξινό Νερό</a:t>
            </a:r>
          </a:p>
          <a:p>
            <a:pPr>
              <a:buClrTx/>
              <a:buFontTx/>
              <a:defRPr/>
            </a:pPr>
            <a:endParaRPr lang="el-GR" sz="2000" kern="1200" dirty="0">
              <a:solidFill>
                <a:srgbClr val="5AA2AE"/>
              </a:solidFill>
              <a:latin typeface="Fira Sans Extra Condensed Medium"/>
              <a:ea typeface="Fira Sans Extra Condensed Medium"/>
              <a:cs typeface="Fira Sans Extra Condensed Medium"/>
              <a:sym typeface="Fira Sans Extra Condensed Medium"/>
            </a:endParaRPr>
          </a:p>
        </p:txBody>
      </p:sp>
      <p:sp>
        <p:nvSpPr>
          <p:cNvPr id="11" name="Google Shape;1516;p38">
            <a:extLst>
              <a:ext uri="{FF2B5EF4-FFF2-40B4-BE49-F238E27FC236}">
                <a16:creationId xmlns:a16="http://schemas.microsoft.com/office/drawing/2014/main" id="{E40C28B8-1C06-0F56-E169-AB79D0AA3246}"/>
              </a:ext>
            </a:extLst>
          </p:cNvPr>
          <p:cNvSpPr txBox="1"/>
          <p:nvPr/>
        </p:nvSpPr>
        <p:spPr>
          <a:xfrm>
            <a:off x="8289180" y="2928509"/>
            <a:ext cx="3761100" cy="572800"/>
          </a:xfrm>
          <a:prstGeom prst="rect">
            <a:avLst/>
          </a:prstGeom>
          <a:noFill/>
          <a:ln>
            <a:noFill/>
          </a:ln>
        </p:spPr>
        <p:txBody>
          <a:bodyPr spcFirstLastPara="1" wrap="square" lIns="121900" tIns="121900" rIns="121900" bIns="121900" anchor="ctr" anchorCtr="0">
            <a:noAutofit/>
          </a:bodyPr>
          <a:lstStyle/>
          <a:p>
            <a:pPr>
              <a:buClrTx/>
              <a:buFontTx/>
              <a:defRPr/>
            </a:pPr>
            <a:r>
              <a:rPr lang="el-GR" sz="2000" kern="1200" dirty="0">
                <a:solidFill>
                  <a:srgbClr val="5AA2AE"/>
                </a:solidFill>
                <a:latin typeface="Fira Sans Extra Condensed Medium"/>
                <a:ea typeface="Fira Sans Extra Condensed Medium"/>
                <a:cs typeface="Fira Sans Extra Condensed Medium"/>
                <a:sym typeface="Fira Sans Extra Condensed Medium"/>
              </a:rPr>
              <a:t>Υποδομές ύδρευσης </a:t>
            </a:r>
            <a:r>
              <a:rPr lang="el-GR" sz="2000" kern="1200" dirty="0" err="1">
                <a:solidFill>
                  <a:srgbClr val="5AA2AE"/>
                </a:solidFill>
                <a:latin typeface="Fira Sans Extra Condensed Medium"/>
                <a:ea typeface="Fira Sans Extra Condensed Medium"/>
                <a:cs typeface="Fira Sans Extra Condensed Medium"/>
                <a:sym typeface="Fira Sans Extra Condensed Medium"/>
              </a:rPr>
              <a:t>Βελβεντού</a:t>
            </a:r>
            <a:r>
              <a:rPr lang="el-GR" sz="2000" kern="1200" dirty="0">
                <a:solidFill>
                  <a:srgbClr val="5AA2AE"/>
                </a:solidFill>
                <a:latin typeface="Fira Sans Extra Condensed Medium"/>
                <a:ea typeface="Fira Sans Extra Condensed Medium"/>
                <a:cs typeface="Fira Sans Extra Condensed Medium"/>
                <a:sym typeface="Fira Sans Extra Condensed Medium"/>
              </a:rPr>
              <a:t> &amp; </a:t>
            </a:r>
            <a:r>
              <a:rPr lang="el-GR" sz="2000" kern="1200" dirty="0" err="1">
                <a:solidFill>
                  <a:srgbClr val="5AA2AE"/>
                </a:solidFill>
                <a:latin typeface="Fira Sans Extra Condensed Medium"/>
                <a:ea typeface="Fira Sans Extra Condensed Medium"/>
                <a:cs typeface="Fira Sans Extra Condensed Medium"/>
                <a:sym typeface="Fira Sans Extra Condensed Medium"/>
              </a:rPr>
              <a:t>Σερβίων</a:t>
            </a:r>
            <a:endParaRPr lang="el-GR" sz="1600" b="0" i="0" u="none" strike="noStrike" kern="1200" cap="none" spc="0" normalizeH="0" baseline="0" noProof="0" dirty="0">
              <a:ln>
                <a:noFill/>
              </a:ln>
              <a:solidFill>
                <a:srgbClr val="FF0000"/>
              </a:solidFill>
              <a:effectLst/>
              <a:uLnTx/>
              <a:uFillTx/>
              <a:latin typeface="Fira Sans Extra Condensed Medium"/>
              <a:ea typeface="Fira Sans Extra Condensed Medium"/>
              <a:cs typeface="Fira Sans Extra Condensed Medium"/>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80E4EE-98D4-480D-96DE-818FB4B8C273}"/>
            </a:ext>
          </a:extLst>
        </p:cNvPr>
        <p:cNvGrpSpPr/>
        <p:nvPr/>
      </p:nvGrpSpPr>
      <p:grpSpPr>
        <a:xfrm>
          <a:off x="0" y="0"/>
          <a:ext cx="0" cy="0"/>
          <a:chOff x="0" y="0"/>
          <a:chExt cx="0" cy="0"/>
        </a:xfrm>
      </p:grpSpPr>
      <p:sp>
        <p:nvSpPr>
          <p:cNvPr id="30" name="Google Shape;1275;p29">
            <a:extLst>
              <a:ext uri="{FF2B5EF4-FFF2-40B4-BE49-F238E27FC236}">
                <a16:creationId xmlns:a16="http://schemas.microsoft.com/office/drawing/2014/main" id="{50CF64F3-D78A-E7FC-D4C1-00EC63BF18B8}"/>
              </a:ext>
            </a:extLst>
          </p:cNvPr>
          <p:cNvSpPr/>
          <p:nvPr/>
        </p:nvSpPr>
        <p:spPr>
          <a:xfrm>
            <a:off x="9505212" y="4775674"/>
            <a:ext cx="2497298" cy="194544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lang="el-GR">
              <a:solidFill>
                <a:srgbClr val="000000"/>
              </a:solidFill>
              <a:ea typeface="Calibri"/>
              <a:cs typeface="Calibri"/>
            </a:endParaRPr>
          </a:p>
        </p:txBody>
      </p:sp>
      <p:sp>
        <p:nvSpPr>
          <p:cNvPr id="4" name="Google Shape;1275;p29">
            <a:extLst>
              <a:ext uri="{FF2B5EF4-FFF2-40B4-BE49-F238E27FC236}">
                <a16:creationId xmlns:a16="http://schemas.microsoft.com/office/drawing/2014/main" id="{32D971F0-EEA3-A05E-BDA9-2039134DC6E9}"/>
              </a:ext>
            </a:extLst>
          </p:cNvPr>
          <p:cNvSpPr/>
          <p:nvPr/>
        </p:nvSpPr>
        <p:spPr>
          <a:xfrm>
            <a:off x="2525464" y="1260256"/>
            <a:ext cx="3169536" cy="2243841"/>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5" name="Google Shape;1282;p29">
            <a:extLst>
              <a:ext uri="{FF2B5EF4-FFF2-40B4-BE49-F238E27FC236}">
                <a16:creationId xmlns:a16="http://schemas.microsoft.com/office/drawing/2014/main" id="{0839696E-781B-943C-2550-26EFBF75E911}"/>
              </a:ext>
            </a:extLst>
          </p:cNvPr>
          <p:cNvSpPr/>
          <p:nvPr/>
        </p:nvSpPr>
        <p:spPr>
          <a:xfrm>
            <a:off x="2674507" y="689488"/>
            <a:ext cx="2949050" cy="831473"/>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400" b="1" kern="0">
                <a:solidFill>
                  <a:srgbClr val="002060"/>
                </a:solidFill>
                <a:latin typeface="Arial"/>
                <a:cs typeface="Arial"/>
                <a:sym typeface="Arial"/>
              </a:rPr>
              <a:t>Φράγμα και αρδευτικά δίκτυα </a:t>
            </a:r>
            <a:r>
              <a:rPr lang="el-GR" sz="1400" b="1" kern="0" err="1">
                <a:solidFill>
                  <a:srgbClr val="002060"/>
                </a:solidFill>
                <a:latin typeface="Arial"/>
                <a:cs typeface="Arial"/>
                <a:sym typeface="Arial"/>
              </a:rPr>
              <a:t>Διποταμίας</a:t>
            </a:r>
            <a:r>
              <a:rPr lang="el-GR" sz="1400" b="1" kern="0">
                <a:solidFill>
                  <a:srgbClr val="002060"/>
                </a:solidFill>
                <a:latin typeface="Arial"/>
                <a:cs typeface="Arial"/>
                <a:sym typeface="Arial"/>
              </a:rPr>
              <a:t> </a:t>
            </a:r>
            <a:r>
              <a:rPr lang="el-GR" sz="1400" b="1" kern="0">
                <a:solidFill>
                  <a:srgbClr val="00B0F0"/>
                </a:solidFill>
                <a:latin typeface="Arial"/>
                <a:cs typeface="Arial"/>
                <a:sym typeface="Arial"/>
              </a:rPr>
              <a:t>Δήμου Νεστορίου Καστοριάς</a:t>
            </a:r>
            <a:endParaRPr lang="el-GR">
              <a:solidFill>
                <a:srgbClr val="00B0F0"/>
              </a:solidFill>
              <a:latin typeface="Arial"/>
              <a:ea typeface="Calibri"/>
              <a:cs typeface="Calibri"/>
            </a:endParaRPr>
          </a:p>
        </p:txBody>
      </p:sp>
      <p:sp>
        <p:nvSpPr>
          <p:cNvPr id="9" name="Ορθογώνιο 8">
            <a:extLst>
              <a:ext uri="{FF2B5EF4-FFF2-40B4-BE49-F238E27FC236}">
                <a16:creationId xmlns:a16="http://schemas.microsoft.com/office/drawing/2014/main" id="{981418D1-C768-E261-8D15-64DF088EFBEE}"/>
              </a:ext>
            </a:extLst>
          </p:cNvPr>
          <p:cNvSpPr/>
          <p:nvPr/>
        </p:nvSpPr>
        <p:spPr>
          <a:xfrm>
            <a:off x="2834929" y="1587419"/>
            <a:ext cx="2568745" cy="523220"/>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Υ: 33 εκ.€ προς ένταξη </a:t>
            </a:r>
            <a:endParaRPr lang="el-GR">
              <a:sym typeface="Arial"/>
            </a:endParaRPr>
          </a:p>
          <a:p>
            <a:r>
              <a:rPr lang="el-GR" sz="1400" b="1" kern="0">
                <a:solidFill>
                  <a:srgbClr val="002060"/>
                </a:solidFill>
                <a:cs typeface="Arial"/>
                <a:sym typeface="Arial"/>
              </a:rPr>
              <a:t>στο ΣΣ ΚΑΠ 2023-2027</a:t>
            </a:r>
            <a:endParaRPr lang="el-GR"/>
          </a:p>
        </p:txBody>
      </p:sp>
      <p:sp>
        <p:nvSpPr>
          <p:cNvPr id="10" name="Ορθογώνιο 9">
            <a:extLst>
              <a:ext uri="{FF2B5EF4-FFF2-40B4-BE49-F238E27FC236}">
                <a16:creationId xmlns:a16="http://schemas.microsoft.com/office/drawing/2014/main" id="{F1AF9FF4-D2CC-1289-753A-F519C7D0F444}"/>
              </a:ext>
            </a:extLst>
          </p:cNvPr>
          <p:cNvSpPr/>
          <p:nvPr/>
        </p:nvSpPr>
        <p:spPr>
          <a:xfrm>
            <a:off x="2835438" y="2110056"/>
            <a:ext cx="2559573" cy="1169551"/>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ρόοδος υλοποίησης:</a:t>
            </a:r>
            <a:r>
              <a:rPr lang="el-GR" sz="1400" kern="0">
                <a:solidFill>
                  <a:srgbClr val="002060"/>
                </a:solidFill>
                <a:cs typeface="Arial"/>
                <a:sym typeface="Arial"/>
              </a:rPr>
              <a:t> Το έργο βρίσκεται υπό ένταξη. Το 2024 δόθηκε πίστωση 45.000</a:t>
            </a:r>
            <a:r>
              <a:rPr lang="el-GR" sz="1400" kern="0">
                <a:solidFill>
                  <a:srgbClr val="002060"/>
                </a:solidFill>
                <a:cs typeface="Calibri"/>
                <a:sym typeface="Arial"/>
              </a:rPr>
              <a:t>€</a:t>
            </a:r>
            <a:r>
              <a:rPr lang="el-GR" sz="1400" kern="0">
                <a:solidFill>
                  <a:srgbClr val="002060"/>
                </a:solidFill>
                <a:cs typeface="Arial"/>
                <a:sym typeface="Arial"/>
              </a:rPr>
              <a:t> για εκπόνηση νέων συμπληρωματικών μελετών. </a:t>
            </a:r>
            <a:endParaRPr lang="el-GR"/>
          </a:p>
        </p:txBody>
      </p:sp>
      <p:sp>
        <p:nvSpPr>
          <p:cNvPr id="8" name="Google Shape;1275;p29">
            <a:extLst>
              <a:ext uri="{FF2B5EF4-FFF2-40B4-BE49-F238E27FC236}">
                <a16:creationId xmlns:a16="http://schemas.microsoft.com/office/drawing/2014/main" id="{EA112854-6DCC-4473-3CF3-EE3C76D326A6}"/>
              </a:ext>
            </a:extLst>
          </p:cNvPr>
          <p:cNvSpPr/>
          <p:nvPr/>
        </p:nvSpPr>
        <p:spPr>
          <a:xfrm>
            <a:off x="6756569" y="1119887"/>
            <a:ext cx="3159512" cy="2444369"/>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lang="el-GR">
              <a:solidFill>
                <a:srgbClr val="000000"/>
              </a:solidFill>
              <a:ea typeface="Calibri"/>
              <a:cs typeface="Calibri"/>
            </a:endParaRPr>
          </a:p>
        </p:txBody>
      </p:sp>
      <p:sp>
        <p:nvSpPr>
          <p:cNvPr id="12" name="Google Shape;1282;p29">
            <a:extLst>
              <a:ext uri="{FF2B5EF4-FFF2-40B4-BE49-F238E27FC236}">
                <a16:creationId xmlns:a16="http://schemas.microsoft.com/office/drawing/2014/main" id="{C66C4013-CF33-7A6F-BADA-90882B3F188C}"/>
              </a:ext>
            </a:extLst>
          </p:cNvPr>
          <p:cNvSpPr/>
          <p:nvPr/>
        </p:nvSpPr>
        <p:spPr>
          <a:xfrm>
            <a:off x="6865503" y="609277"/>
            <a:ext cx="2949050" cy="831473"/>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l-GR" sz="1400" b="1" kern="0">
                <a:solidFill>
                  <a:srgbClr val="002060"/>
                </a:solidFill>
                <a:latin typeface="Arial"/>
                <a:ea typeface="Calibri"/>
                <a:cs typeface="Calibri"/>
                <a:sym typeface="Arial"/>
              </a:rPr>
              <a:t>Κατασκευή αρδευτικού Βόρειας Ζώνης  </a:t>
            </a:r>
            <a:r>
              <a:rPr lang="el-GR" sz="1400" b="1" kern="0">
                <a:solidFill>
                  <a:srgbClr val="00B0F0"/>
                </a:solidFill>
                <a:latin typeface="Arial"/>
                <a:ea typeface="Calibri"/>
                <a:cs typeface="Calibri"/>
                <a:sym typeface="Arial"/>
              </a:rPr>
              <a:t>Πολυφύτου Κοζάνης </a:t>
            </a:r>
            <a:endParaRPr lang="el-GR" sz="1400" b="1" kern="0">
              <a:solidFill>
                <a:srgbClr val="00B0F0"/>
              </a:solidFill>
              <a:latin typeface="Arial"/>
              <a:ea typeface="Calibri"/>
              <a:cs typeface="Calibri"/>
            </a:endParaRPr>
          </a:p>
        </p:txBody>
      </p:sp>
      <p:sp>
        <p:nvSpPr>
          <p:cNvPr id="16" name="Ορθογώνιο 15">
            <a:extLst>
              <a:ext uri="{FF2B5EF4-FFF2-40B4-BE49-F238E27FC236}">
                <a16:creationId xmlns:a16="http://schemas.microsoft.com/office/drawing/2014/main" id="{CE570C8C-73C0-A2FF-F85E-8B4E5F59E1BA}"/>
              </a:ext>
            </a:extLst>
          </p:cNvPr>
          <p:cNvSpPr/>
          <p:nvPr/>
        </p:nvSpPr>
        <p:spPr>
          <a:xfrm>
            <a:off x="7056006" y="1437024"/>
            <a:ext cx="2568745" cy="523220"/>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Υ: 100 εκ.€ </a:t>
            </a:r>
            <a:r>
              <a:rPr lang="el-GR" sz="1400" b="1" kern="0">
                <a:solidFill>
                  <a:srgbClr val="002060"/>
                </a:solidFill>
                <a:cs typeface="Calibri"/>
                <a:sym typeface="Arial"/>
              </a:rPr>
              <a:t>προς ένταξη </a:t>
            </a:r>
            <a:endParaRPr lang="el-GR" sz="1400" kern="0">
              <a:solidFill>
                <a:srgbClr val="002060"/>
              </a:solidFill>
              <a:cs typeface="Calibri"/>
              <a:sym typeface="Arial"/>
            </a:endParaRPr>
          </a:p>
          <a:p>
            <a:r>
              <a:rPr lang="el-GR" sz="1400" b="1" kern="0">
                <a:solidFill>
                  <a:srgbClr val="002060"/>
                </a:solidFill>
                <a:cs typeface="Calibri"/>
                <a:sym typeface="Arial"/>
              </a:rPr>
              <a:t>στο ΣΣ ΚΑΠ 2023-2027</a:t>
            </a:r>
            <a:endParaRPr lang="el-GR" sz="1400" kern="0">
              <a:solidFill>
                <a:srgbClr val="002060"/>
              </a:solidFill>
              <a:cs typeface="Calibri"/>
              <a:sym typeface="Arial"/>
            </a:endParaRPr>
          </a:p>
        </p:txBody>
      </p:sp>
      <p:sp>
        <p:nvSpPr>
          <p:cNvPr id="19" name="Ορθογώνιο 18">
            <a:extLst>
              <a:ext uri="{FF2B5EF4-FFF2-40B4-BE49-F238E27FC236}">
                <a16:creationId xmlns:a16="http://schemas.microsoft.com/office/drawing/2014/main" id="{D3E4BCC9-F6FC-0442-A840-15917430769A}"/>
              </a:ext>
            </a:extLst>
          </p:cNvPr>
          <p:cNvSpPr/>
          <p:nvPr/>
        </p:nvSpPr>
        <p:spPr>
          <a:xfrm>
            <a:off x="7056517" y="1959662"/>
            <a:ext cx="3060888" cy="1600438"/>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ρόοδος υλοποίησης:</a:t>
            </a:r>
            <a:r>
              <a:rPr lang="el-GR" sz="1400" kern="0">
                <a:solidFill>
                  <a:srgbClr val="002060"/>
                </a:solidFill>
                <a:cs typeface="Arial"/>
                <a:sym typeface="Arial"/>
              </a:rPr>
              <a:t> Έχει εγκριθεί η ένταξη του έργου στο Αναπτυξιακό Πρόγραμμα Συμβάσεων Στρατηγικές Σημασίας (30.01.2023). Προετοιμασία διαγωνιστικής διαδικασίας από το Υπουργείο Αγροτικής Ανάπτυξης &amp; Τροφίμων.</a:t>
            </a:r>
            <a:endParaRPr lang="el-GR" sz="1400" kern="0">
              <a:solidFill>
                <a:srgbClr val="002060"/>
              </a:solidFill>
              <a:ea typeface="Calibri"/>
              <a:cs typeface="Arial"/>
            </a:endParaRPr>
          </a:p>
        </p:txBody>
      </p:sp>
      <p:sp>
        <p:nvSpPr>
          <p:cNvPr id="3" name="Google Shape;414;p13">
            <a:extLst>
              <a:ext uri="{FF2B5EF4-FFF2-40B4-BE49-F238E27FC236}">
                <a16:creationId xmlns:a16="http://schemas.microsoft.com/office/drawing/2014/main" id="{A534A535-636C-1758-6130-D82817270050}"/>
              </a:ext>
            </a:extLst>
          </p:cNvPr>
          <p:cNvSpPr/>
          <p:nvPr/>
        </p:nvSpPr>
        <p:spPr>
          <a:xfrm>
            <a:off x="207935" y="77250"/>
            <a:ext cx="6783921" cy="371184"/>
          </a:xfrm>
          <a:prstGeom prst="rect">
            <a:avLst/>
          </a:prstGeom>
          <a:noFill/>
          <a:ln>
            <a:noFill/>
          </a:ln>
        </p:spPr>
        <p:txBody>
          <a:bodyPr spcFirstLastPara="1" wrap="square" lIns="0" tIns="0" rIns="0" bIns="0" anchor="t" anchorCtr="0">
            <a:noAutofit/>
          </a:bodyPr>
          <a:lstStyle/>
          <a:p>
            <a:pPr defTabSz="609630">
              <a:lnSpc>
                <a:spcPct val="117222"/>
              </a:lnSpc>
              <a:defRPr/>
            </a:pPr>
            <a:r>
              <a:rPr lang="el-GR" sz="3300" kern="0" dirty="0">
                <a:solidFill>
                  <a:srgbClr val="002060"/>
                </a:solidFill>
                <a:latin typeface="Arial Black"/>
              </a:rPr>
              <a:t>Έργα</a:t>
            </a:r>
          </a:p>
        </p:txBody>
      </p:sp>
      <p:cxnSp>
        <p:nvCxnSpPr>
          <p:cNvPr id="7" name="Ευθεία γραμμή σύνδεσης 6">
            <a:extLst>
              <a:ext uri="{FF2B5EF4-FFF2-40B4-BE49-F238E27FC236}">
                <a16:creationId xmlns:a16="http://schemas.microsoft.com/office/drawing/2014/main" id="{69CEB89B-F127-CD20-F39C-86B7FFEC126B}"/>
              </a:ext>
            </a:extLst>
          </p:cNvPr>
          <p:cNvCxnSpPr/>
          <p:nvPr/>
        </p:nvCxnSpPr>
        <p:spPr>
          <a:xfrm>
            <a:off x="207214" y="553168"/>
            <a:ext cx="11786643" cy="9071"/>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11" name="Google Shape;414;p13">
            <a:extLst>
              <a:ext uri="{FF2B5EF4-FFF2-40B4-BE49-F238E27FC236}">
                <a16:creationId xmlns:a16="http://schemas.microsoft.com/office/drawing/2014/main" id="{44049CED-BE4B-762C-9039-D7898BEA39E7}"/>
              </a:ext>
            </a:extLst>
          </p:cNvPr>
          <p:cNvSpPr/>
          <p:nvPr/>
        </p:nvSpPr>
        <p:spPr>
          <a:xfrm>
            <a:off x="207933" y="3315749"/>
            <a:ext cx="6783921" cy="371184"/>
          </a:xfrm>
          <a:prstGeom prst="rect">
            <a:avLst/>
          </a:prstGeom>
          <a:noFill/>
          <a:ln>
            <a:noFill/>
          </a:ln>
        </p:spPr>
        <p:txBody>
          <a:bodyPr spcFirstLastPara="1" wrap="square" lIns="0" tIns="0" rIns="0" bIns="0" anchor="t" anchorCtr="0">
            <a:noAutofit/>
          </a:bodyPr>
          <a:lstStyle/>
          <a:p>
            <a:pPr defTabSz="609630">
              <a:lnSpc>
                <a:spcPct val="117222"/>
              </a:lnSpc>
              <a:defRPr/>
            </a:pPr>
            <a:r>
              <a:rPr lang="el-GR" sz="3300" kern="0">
                <a:solidFill>
                  <a:srgbClr val="002060"/>
                </a:solidFill>
                <a:latin typeface="Arial Black"/>
              </a:rPr>
              <a:t>Πολιτικές</a:t>
            </a:r>
          </a:p>
        </p:txBody>
      </p:sp>
      <p:cxnSp>
        <p:nvCxnSpPr>
          <p:cNvPr id="13" name="Ευθεία γραμμή σύνδεσης 12">
            <a:extLst>
              <a:ext uri="{FF2B5EF4-FFF2-40B4-BE49-F238E27FC236}">
                <a16:creationId xmlns:a16="http://schemas.microsoft.com/office/drawing/2014/main" id="{E738EC1C-961A-D067-657B-D5275E1C3DF4}"/>
              </a:ext>
            </a:extLst>
          </p:cNvPr>
          <p:cNvCxnSpPr>
            <a:cxnSpLocks/>
          </p:cNvCxnSpPr>
          <p:nvPr/>
        </p:nvCxnSpPr>
        <p:spPr>
          <a:xfrm flipV="1">
            <a:off x="207213" y="3773525"/>
            <a:ext cx="11786644"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14" name="Google Shape;1275;p29">
            <a:extLst>
              <a:ext uri="{FF2B5EF4-FFF2-40B4-BE49-F238E27FC236}">
                <a16:creationId xmlns:a16="http://schemas.microsoft.com/office/drawing/2014/main" id="{46D577C6-9CDA-5D59-BB45-EB859FF2D9D2}"/>
              </a:ext>
            </a:extLst>
          </p:cNvPr>
          <p:cNvSpPr/>
          <p:nvPr/>
        </p:nvSpPr>
        <p:spPr>
          <a:xfrm>
            <a:off x="2362178" y="4616685"/>
            <a:ext cx="3169536" cy="2243841"/>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5" name="Google Shape;1282;p29">
            <a:extLst>
              <a:ext uri="{FF2B5EF4-FFF2-40B4-BE49-F238E27FC236}">
                <a16:creationId xmlns:a16="http://schemas.microsoft.com/office/drawing/2014/main" id="{EC2A2C90-51C7-77A2-2DD6-99BA12FCEB8D}"/>
              </a:ext>
            </a:extLst>
          </p:cNvPr>
          <p:cNvSpPr/>
          <p:nvPr/>
        </p:nvSpPr>
        <p:spPr>
          <a:xfrm>
            <a:off x="2511221" y="4045917"/>
            <a:ext cx="2949050" cy="831473"/>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400" b="1" kern="0">
                <a:solidFill>
                  <a:srgbClr val="002060"/>
                </a:solidFill>
                <a:latin typeface="Arial"/>
                <a:cs typeface="Arial"/>
              </a:rPr>
              <a:t>Ad hoc πρόγραμμα κρατικών ενισχύσεων σε καλλιεργητές μήλων</a:t>
            </a:r>
          </a:p>
        </p:txBody>
      </p:sp>
      <p:sp>
        <p:nvSpPr>
          <p:cNvPr id="17" name="Ορθογώνιο 16">
            <a:extLst>
              <a:ext uri="{FF2B5EF4-FFF2-40B4-BE49-F238E27FC236}">
                <a16:creationId xmlns:a16="http://schemas.microsoft.com/office/drawing/2014/main" id="{04FCD9E3-CB70-BF4A-C945-9927AE30801A}"/>
              </a:ext>
            </a:extLst>
          </p:cNvPr>
          <p:cNvSpPr/>
          <p:nvPr/>
        </p:nvSpPr>
        <p:spPr>
          <a:xfrm>
            <a:off x="2698858" y="5116205"/>
            <a:ext cx="2568745" cy="1169551"/>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Υ: </a:t>
            </a:r>
            <a:r>
              <a:rPr lang="el-GR" sz="1400" kern="0" dirty="0">
                <a:solidFill>
                  <a:srgbClr val="002060"/>
                </a:solidFill>
                <a:cs typeface="Arial"/>
                <a:sym typeface="Arial"/>
              </a:rPr>
              <a:t>Για την </a:t>
            </a:r>
            <a:r>
              <a:rPr lang="el-GR" sz="1400" b="1" kern="0" dirty="0">
                <a:solidFill>
                  <a:srgbClr val="00B0F0"/>
                </a:solidFill>
                <a:cs typeface="Arial"/>
                <a:sym typeface="Arial"/>
              </a:rPr>
              <a:t>Π.Ε. Κοζάνης</a:t>
            </a:r>
            <a:r>
              <a:rPr lang="el-GR" sz="1400" kern="0" dirty="0">
                <a:solidFill>
                  <a:srgbClr val="002060"/>
                </a:solidFill>
                <a:cs typeface="Arial"/>
                <a:sym typeface="Arial"/>
              </a:rPr>
              <a:t> καταβλήθηκαν 2.253.260 </a:t>
            </a:r>
            <a:r>
              <a:rPr lang="el-GR" sz="1400" kern="0" dirty="0">
                <a:solidFill>
                  <a:srgbClr val="002060"/>
                </a:solidFill>
                <a:cs typeface="Calibri"/>
                <a:sym typeface="Arial"/>
              </a:rPr>
              <a:t>€ σε 353 δικαιούχους. Οι ενισχύσεις δόθηκαν στους δικαιούχους τον Μάιο 2025.  </a:t>
            </a:r>
            <a:endParaRPr lang="el-GR" dirty="0">
              <a:ea typeface="Calibri"/>
              <a:cs typeface="Calibri"/>
            </a:endParaRPr>
          </a:p>
        </p:txBody>
      </p:sp>
      <p:sp>
        <p:nvSpPr>
          <p:cNvPr id="20" name="Google Shape;1275;p29">
            <a:extLst>
              <a:ext uri="{FF2B5EF4-FFF2-40B4-BE49-F238E27FC236}">
                <a16:creationId xmlns:a16="http://schemas.microsoft.com/office/drawing/2014/main" id="{A68DBA9C-3F83-4FEB-C6DA-FD9EF7C51F83}"/>
              </a:ext>
            </a:extLst>
          </p:cNvPr>
          <p:cNvSpPr/>
          <p:nvPr/>
        </p:nvSpPr>
        <p:spPr>
          <a:xfrm>
            <a:off x="6366497" y="4775674"/>
            <a:ext cx="2687798" cy="194544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lang="el-GR">
              <a:solidFill>
                <a:srgbClr val="000000"/>
              </a:solidFill>
              <a:ea typeface="Calibri"/>
              <a:cs typeface="Calibri"/>
            </a:endParaRPr>
          </a:p>
        </p:txBody>
      </p:sp>
      <p:sp>
        <p:nvSpPr>
          <p:cNvPr id="22" name="Ορθογώνιο 21">
            <a:extLst>
              <a:ext uri="{FF2B5EF4-FFF2-40B4-BE49-F238E27FC236}">
                <a16:creationId xmlns:a16="http://schemas.microsoft.com/office/drawing/2014/main" id="{7744D089-A765-4CAC-6FD5-A8070A217786}"/>
              </a:ext>
            </a:extLst>
          </p:cNvPr>
          <p:cNvSpPr/>
          <p:nvPr/>
        </p:nvSpPr>
        <p:spPr>
          <a:xfrm>
            <a:off x="6520792" y="5201667"/>
            <a:ext cx="2369174" cy="1384995"/>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Υ: 143 εκ.€ </a:t>
            </a:r>
            <a:r>
              <a:rPr lang="el-GR" sz="1400" kern="0" dirty="0">
                <a:solidFill>
                  <a:srgbClr val="002060"/>
                </a:solidFill>
                <a:cs typeface="Arial"/>
                <a:sym typeface="Arial"/>
              </a:rPr>
              <a:t>κοινοτική συμμετοχή εντός του ΠΑΑ 2014-2022. Το συνολικό ποσό που θα κατανεμηθεί είναι </a:t>
            </a:r>
            <a:r>
              <a:rPr lang="el-GR" sz="1400" b="1" kern="0" dirty="0">
                <a:solidFill>
                  <a:srgbClr val="002060"/>
                </a:solidFill>
                <a:cs typeface="Arial"/>
                <a:sym typeface="Arial"/>
              </a:rPr>
              <a:t>178 εκ. </a:t>
            </a:r>
            <a:r>
              <a:rPr lang="el-GR" sz="1400" b="1" kern="0" dirty="0">
                <a:solidFill>
                  <a:srgbClr val="002060"/>
                </a:solidFill>
                <a:cs typeface="Calibri"/>
                <a:sym typeface="Arial"/>
              </a:rPr>
              <a:t>€</a:t>
            </a:r>
            <a:r>
              <a:rPr lang="el-GR" sz="1400" kern="0" dirty="0">
                <a:solidFill>
                  <a:srgbClr val="002060"/>
                </a:solidFill>
                <a:cs typeface="Calibri"/>
                <a:sym typeface="Arial"/>
              </a:rPr>
              <a:t>, </a:t>
            </a:r>
            <a:r>
              <a:rPr lang="el-GR" sz="1400" kern="0" dirty="0" err="1">
                <a:solidFill>
                  <a:srgbClr val="002060"/>
                </a:solidFill>
                <a:cs typeface="Calibri"/>
                <a:sym typeface="Arial"/>
              </a:rPr>
              <a:t>συμπ</a:t>
            </a:r>
            <a:r>
              <a:rPr lang="el-GR" sz="1400" kern="0" dirty="0">
                <a:solidFill>
                  <a:srgbClr val="002060"/>
                </a:solidFill>
                <a:cs typeface="Calibri"/>
                <a:sym typeface="Arial"/>
              </a:rPr>
              <a:t>. της εθνικής συμμετοχής.</a:t>
            </a:r>
            <a:endParaRPr lang="el-GR" sz="1400" kern="0" dirty="0">
              <a:solidFill>
                <a:srgbClr val="002060"/>
              </a:solidFill>
              <a:ea typeface="Calibri"/>
              <a:cs typeface="Arial"/>
            </a:endParaRPr>
          </a:p>
        </p:txBody>
      </p:sp>
      <p:sp>
        <p:nvSpPr>
          <p:cNvPr id="21" name="Google Shape;1282;p29">
            <a:extLst>
              <a:ext uri="{FF2B5EF4-FFF2-40B4-BE49-F238E27FC236}">
                <a16:creationId xmlns:a16="http://schemas.microsoft.com/office/drawing/2014/main" id="{80369024-9E2A-75C5-4DBE-2FC44806B493}"/>
              </a:ext>
            </a:extLst>
          </p:cNvPr>
          <p:cNvSpPr/>
          <p:nvPr/>
        </p:nvSpPr>
        <p:spPr>
          <a:xfrm>
            <a:off x="7335575" y="3892869"/>
            <a:ext cx="3888358" cy="1169551"/>
          </a:xfrm>
          <a:prstGeom prst="roundRect">
            <a:avLst>
              <a:gd name="adj" fmla="val 50000"/>
            </a:avLst>
          </a:prstGeom>
          <a:ln/>
        </p:spPr>
        <p:style>
          <a:lnRef idx="1">
            <a:schemeClr val="accent4"/>
          </a:lnRef>
          <a:fillRef idx="2">
            <a:schemeClr val="accent4"/>
          </a:fillRef>
          <a:effectRef idx="1">
            <a:schemeClr val="accent4"/>
          </a:effectRef>
          <a:fontRef idx="minor">
            <a:schemeClr val="dk1"/>
          </a:fontRef>
        </p:style>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l-GR" sz="1400" b="1" kern="0" dirty="0">
                <a:solidFill>
                  <a:srgbClr val="002060"/>
                </a:solidFill>
                <a:latin typeface="Arial"/>
                <a:ea typeface="Calibri"/>
                <a:cs typeface="Calibri"/>
                <a:sym typeface="Arial"/>
              </a:rPr>
              <a:t>Ενεργοποίηση Μέτρου 23: Έκτακτη προσωρινή στήριξη ρευστότητας στους γεωργούς, που έχουν πληγεί από φυσικές καταστροφές</a:t>
            </a:r>
            <a:endParaRPr lang="el-GR" sz="1400" b="1" kern="0" dirty="0">
              <a:solidFill>
                <a:srgbClr val="002060"/>
              </a:solidFill>
              <a:latin typeface="Arial"/>
              <a:ea typeface="Calibri"/>
              <a:cs typeface="Calibri"/>
            </a:endParaRPr>
          </a:p>
        </p:txBody>
      </p:sp>
      <p:sp>
        <p:nvSpPr>
          <p:cNvPr id="23" name="Ορθογώνιο 22">
            <a:extLst>
              <a:ext uri="{FF2B5EF4-FFF2-40B4-BE49-F238E27FC236}">
                <a16:creationId xmlns:a16="http://schemas.microsoft.com/office/drawing/2014/main" id="{16A50ACB-BE4F-12B4-0623-F3A47920D0BB}"/>
              </a:ext>
            </a:extLst>
          </p:cNvPr>
          <p:cNvSpPr/>
          <p:nvPr/>
        </p:nvSpPr>
        <p:spPr>
          <a:xfrm>
            <a:off x="9505802" y="5198163"/>
            <a:ext cx="2498460" cy="461665"/>
          </a:xfrm>
          <a:prstGeom prst="rect">
            <a:avLst/>
          </a:prstGeom>
        </p:spPr>
        <p:txBody>
          <a:bodyPr wrap="square" lIns="91440" tIns="45720" rIns="91440" bIns="45720" anchor="t">
            <a:spAutoFit/>
          </a:bodyPr>
          <a:lstStyle/>
          <a:p>
            <a:pPr algn="ctr"/>
            <a:r>
              <a:rPr lang="el-GR" sz="1200" b="1" kern="0">
                <a:solidFill>
                  <a:srgbClr val="002060"/>
                </a:solidFill>
                <a:latin typeface="Arial"/>
                <a:cs typeface="Arial"/>
                <a:sym typeface="Arial"/>
              </a:rPr>
              <a:t>Επιλέξιμες καλλιέργειες για την </a:t>
            </a:r>
            <a:r>
              <a:rPr lang="el-GR" sz="1200" b="1" kern="0">
                <a:solidFill>
                  <a:srgbClr val="00B0F0"/>
                </a:solidFill>
                <a:latin typeface="Arial"/>
                <a:cs typeface="Arial"/>
                <a:sym typeface="Arial"/>
              </a:rPr>
              <a:t>Π.Ε. Κοζάνης</a:t>
            </a:r>
            <a:endParaRPr lang="el-GR" sz="1200" kern="0">
              <a:solidFill>
                <a:srgbClr val="002060"/>
              </a:solidFill>
              <a:latin typeface="Arial"/>
              <a:cs typeface="Arial"/>
            </a:endParaRPr>
          </a:p>
        </p:txBody>
      </p:sp>
      <p:sp>
        <p:nvSpPr>
          <p:cNvPr id="32" name="Ορθογώνιο 31">
            <a:extLst>
              <a:ext uri="{FF2B5EF4-FFF2-40B4-BE49-F238E27FC236}">
                <a16:creationId xmlns:a16="http://schemas.microsoft.com/office/drawing/2014/main" id="{A4DEEA48-94AA-F95A-A116-CF0CC54CD608}"/>
              </a:ext>
            </a:extLst>
          </p:cNvPr>
          <p:cNvSpPr/>
          <p:nvPr/>
        </p:nvSpPr>
        <p:spPr>
          <a:xfrm>
            <a:off x="9505802" y="5551947"/>
            <a:ext cx="2498459" cy="1169551"/>
          </a:xfrm>
          <a:prstGeom prst="rect">
            <a:avLst/>
          </a:prstGeom>
        </p:spPr>
        <p:txBody>
          <a:bodyPr wrap="square" lIns="91440" tIns="45720" rIns="91440" bIns="45720" anchor="t">
            <a:spAutoFit/>
          </a:bodyPr>
          <a:lstStyle/>
          <a:p>
            <a:pPr algn="ctr"/>
            <a:r>
              <a:rPr lang="el-GR" sz="1400" kern="0">
                <a:solidFill>
                  <a:srgbClr val="002060"/>
                </a:solidFill>
                <a:ea typeface="+mn-lt"/>
                <a:cs typeface="+mn-lt"/>
                <a:sym typeface="Arial"/>
              </a:rPr>
              <a:t>Αμπέλι Οινοποιίας, Επιτραπέζιο Αμπέλι, Αραβόσιτος (καρπός &amp; </a:t>
            </a:r>
            <a:r>
              <a:rPr lang="el-GR" sz="1400" kern="0" err="1">
                <a:solidFill>
                  <a:srgbClr val="002060"/>
                </a:solidFill>
                <a:ea typeface="+mn-lt"/>
                <a:cs typeface="+mn-lt"/>
                <a:sym typeface="Arial"/>
              </a:rPr>
              <a:t>ενσίρωση</a:t>
            </a:r>
            <a:r>
              <a:rPr lang="el-GR" sz="1400" kern="0">
                <a:solidFill>
                  <a:srgbClr val="002060"/>
                </a:solidFill>
                <a:ea typeface="+mn-lt"/>
                <a:cs typeface="+mn-lt"/>
                <a:sym typeface="Arial"/>
              </a:rPr>
              <a:t>), Ηλίανθος, Αμύγδαλα, Φασόλια</a:t>
            </a:r>
            <a:r>
              <a:rPr lang="en-US" sz="1400" kern="0">
                <a:solidFill>
                  <a:srgbClr val="002060"/>
                </a:solidFill>
                <a:ea typeface="+mn-lt"/>
                <a:cs typeface="+mn-lt"/>
                <a:sym typeface="Arial"/>
              </a:rPr>
              <a:t>, </a:t>
            </a:r>
            <a:r>
              <a:rPr lang="el-GR" sz="1400" kern="0">
                <a:solidFill>
                  <a:srgbClr val="002060"/>
                </a:solidFill>
                <a:ea typeface="+mn-lt"/>
                <a:cs typeface="+mn-lt"/>
                <a:sym typeface="Arial"/>
              </a:rPr>
              <a:t>Αχλάδια</a:t>
            </a:r>
            <a:endParaRPr lang="el-GR" sz="1400">
              <a:ea typeface="Calibri"/>
              <a:cs typeface="Calibri"/>
            </a:endParaRPr>
          </a:p>
        </p:txBody>
      </p:sp>
    </p:spTree>
    <p:extLst>
      <p:ext uri="{BB962C8B-B14F-4D97-AF65-F5344CB8AC3E}">
        <p14:creationId xmlns:p14="http://schemas.microsoft.com/office/powerpoint/2010/main" val="429242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9C5856-9D0D-1432-2B64-C743BB072A19}"/>
              </a:ext>
            </a:extLst>
          </p:cNvPr>
          <p:cNvSpPr txBox="1"/>
          <p:nvPr/>
        </p:nvSpPr>
        <p:spPr>
          <a:xfrm>
            <a:off x="-76692" y="1755811"/>
            <a:ext cx="10529453"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ea typeface="Calibri" panose="020F0502020204030204"/>
                <a:cs typeface="Calibri" panose="020F0502020204030204"/>
              </a:rPr>
              <a:t>Υπουργείο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ea typeface="Calibri" panose="020F0502020204030204"/>
                <a:cs typeface="Calibri" panose="020F0502020204030204"/>
              </a:rPr>
              <a:t>Υποδομών &amp; Μεταφορών</a:t>
            </a:r>
            <a:endParaRPr kumimoji="0" lang="x-none" sz="3600" b="1" i="0" u="none" strike="noStrike" kern="1200" cap="none" spc="0" normalizeH="0" baseline="0" noProof="0">
              <a:ln>
                <a:noFill/>
              </a:ln>
              <a:solidFill>
                <a:srgbClr val="374C81"/>
              </a:solidFill>
              <a:effectLst/>
              <a:uLnTx/>
              <a:uFillTx/>
              <a:ea typeface="Calibri" panose="020F0502020204030204"/>
              <a:cs typeface="Calibri" panose="020F0502020204030204"/>
            </a:endParaRPr>
          </a:p>
        </p:txBody>
      </p:sp>
    </p:spTree>
    <p:extLst>
      <p:ext uri="{BB962C8B-B14F-4D97-AF65-F5344CB8AC3E}">
        <p14:creationId xmlns:p14="http://schemas.microsoft.com/office/powerpoint/2010/main" val="41920090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3BB658-0576-C4D2-6386-7B86938424CC}"/>
            </a:ext>
          </a:extLst>
        </p:cNvPr>
        <p:cNvGrpSpPr/>
        <p:nvPr/>
      </p:nvGrpSpPr>
      <p:grpSpPr>
        <a:xfrm>
          <a:off x="0" y="0"/>
          <a:ext cx="0" cy="0"/>
          <a:chOff x="0" y="0"/>
          <a:chExt cx="0" cy="0"/>
        </a:xfrm>
      </p:grpSpPr>
      <p:sp>
        <p:nvSpPr>
          <p:cNvPr id="4" name="Google Shape;1275;p29">
            <a:extLst>
              <a:ext uri="{FF2B5EF4-FFF2-40B4-BE49-F238E27FC236}">
                <a16:creationId xmlns:a16="http://schemas.microsoft.com/office/drawing/2014/main" id="{EE10675E-AA1B-1281-2E0D-4EED205DD3DA}"/>
              </a:ext>
            </a:extLst>
          </p:cNvPr>
          <p:cNvSpPr/>
          <p:nvPr/>
        </p:nvSpPr>
        <p:spPr>
          <a:xfrm>
            <a:off x="481527" y="1152830"/>
            <a:ext cx="2948958" cy="2073394"/>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5" name="Google Shape;1282;p29">
            <a:extLst>
              <a:ext uri="{FF2B5EF4-FFF2-40B4-BE49-F238E27FC236}">
                <a16:creationId xmlns:a16="http://schemas.microsoft.com/office/drawing/2014/main" id="{16DD95D7-BBE4-ADFC-8D77-07E65F2BD674}"/>
              </a:ext>
            </a:extLst>
          </p:cNvPr>
          <p:cNvSpPr/>
          <p:nvPr/>
        </p:nvSpPr>
        <p:spPr>
          <a:xfrm>
            <a:off x="391846" y="382013"/>
            <a:ext cx="3137164" cy="931736"/>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20000"/>
              </a:lnSpc>
            </a:pPr>
            <a:r>
              <a:rPr lang="el-GR" sz="1400" b="1" kern="0">
                <a:solidFill>
                  <a:srgbClr val="002060"/>
                </a:solidFill>
                <a:latin typeface="Arial"/>
                <a:ea typeface="+mn-lt"/>
                <a:cs typeface="+mn-lt"/>
                <a:sym typeface="Arial"/>
              </a:rPr>
              <a:t>Αυτοκινητόδρομος Κεντρικής Ελλάδος (Ε65): τμήμα Τρίκαλα - Εγνατία Οδός</a:t>
            </a:r>
            <a:endParaRPr lang="x-none" sz="1400" kern="0">
              <a:solidFill>
                <a:srgbClr val="002060"/>
              </a:solidFill>
              <a:latin typeface="Arial"/>
              <a:ea typeface="+mn-lt"/>
              <a:cs typeface="+mn-lt"/>
            </a:endParaRPr>
          </a:p>
        </p:txBody>
      </p:sp>
      <p:sp>
        <p:nvSpPr>
          <p:cNvPr id="9" name="Ορθογώνιο 8">
            <a:extLst>
              <a:ext uri="{FF2B5EF4-FFF2-40B4-BE49-F238E27FC236}">
                <a16:creationId xmlns:a16="http://schemas.microsoft.com/office/drawing/2014/main" id="{F32AC677-A693-1CB3-21C6-F523F8F6F068}"/>
              </a:ext>
            </a:extLst>
          </p:cNvPr>
          <p:cNvSpPr/>
          <p:nvPr/>
        </p:nvSpPr>
        <p:spPr>
          <a:xfrm>
            <a:off x="622454" y="1407422"/>
            <a:ext cx="2568745" cy="738664"/>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Υ: 480 εκ.€ στο ΤΑΑ</a:t>
            </a:r>
          </a:p>
          <a:p>
            <a:r>
              <a:rPr lang="el-GR" sz="1400" kern="0">
                <a:solidFill>
                  <a:srgbClr val="002060"/>
                </a:solidFill>
                <a:ea typeface="Calibri"/>
                <a:cs typeface="Arial"/>
              </a:rPr>
              <a:t>Εκτιμώμενη ολοκλήρωση: Μάρτιος 2026</a:t>
            </a:r>
          </a:p>
        </p:txBody>
      </p:sp>
      <p:sp>
        <p:nvSpPr>
          <p:cNvPr id="8" name="Google Shape;1275;p29">
            <a:extLst>
              <a:ext uri="{FF2B5EF4-FFF2-40B4-BE49-F238E27FC236}">
                <a16:creationId xmlns:a16="http://schemas.microsoft.com/office/drawing/2014/main" id="{C6176E13-822F-0367-5211-442B48F7A54E}"/>
              </a:ext>
            </a:extLst>
          </p:cNvPr>
          <p:cNvSpPr/>
          <p:nvPr/>
        </p:nvSpPr>
        <p:spPr>
          <a:xfrm>
            <a:off x="4443354" y="1333781"/>
            <a:ext cx="3244498" cy="1738232"/>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lang="el-GR">
              <a:solidFill>
                <a:srgbClr val="000000"/>
              </a:solidFill>
              <a:ea typeface="Calibri"/>
              <a:cs typeface="Calibri"/>
            </a:endParaRPr>
          </a:p>
        </p:txBody>
      </p:sp>
      <p:sp>
        <p:nvSpPr>
          <p:cNvPr id="12" name="Google Shape;1282;p29">
            <a:extLst>
              <a:ext uri="{FF2B5EF4-FFF2-40B4-BE49-F238E27FC236}">
                <a16:creationId xmlns:a16="http://schemas.microsoft.com/office/drawing/2014/main" id="{4A6631AC-FC30-B3B3-A206-32B815408BDF}"/>
              </a:ext>
            </a:extLst>
          </p:cNvPr>
          <p:cNvSpPr/>
          <p:nvPr/>
        </p:nvSpPr>
        <p:spPr>
          <a:xfrm>
            <a:off x="4452503" y="245942"/>
            <a:ext cx="3243633" cy="1162342"/>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l-GR" sz="1400" b="1" kern="0">
                <a:solidFill>
                  <a:srgbClr val="002060"/>
                </a:solidFill>
                <a:latin typeface="Arial"/>
                <a:ea typeface="+mn-lt"/>
                <a:cs typeface="+mn-lt"/>
                <a:sym typeface="Arial"/>
              </a:rPr>
              <a:t>Κατασκευή Επαρχιακής Οδού Καστοριάς – </a:t>
            </a:r>
            <a:r>
              <a:rPr lang="el-GR" sz="1400" b="1" kern="0">
                <a:solidFill>
                  <a:srgbClr val="002060"/>
                </a:solidFill>
                <a:latin typeface="Arial"/>
                <a:ea typeface="+mn-lt"/>
                <a:cs typeface="+mn-lt"/>
              </a:rPr>
              <a:t>Πτολεμαΐδας: </a:t>
            </a:r>
            <a:endParaRPr lang="en-US" sz="1400" b="1" kern="0">
              <a:solidFill>
                <a:srgbClr val="002060"/>
              </a:solidFill>
              <a:latin typeface="Arial"/>
              <a:ea typeface="+mn-lt"/>
              <a:cs typeface="+mn-lt"/>
            </a:endParaRPr>
          </a:p>
          <a:p>
            <a:pPr algn="ctr">
              <a:lnSpc>
                <a:spcPct val="120000"/>
              </a:lnSpc>
            </a:pPr>
            <a:r>
              <a:rPr lang="el-GR" sz="1400" b="1" kern="0">
                <a:solidFill>
                  <a:srgbClr val="002060"/>
                </a:solidFill>
                <a:latin typeface="Arial"/>
                <a:ea typeface="+mn-lt"/>
                <a:cs typeface="+mn-lt"/>
              </a:rPr>
              <a:t>Τμήμα Ρέμα </a:t>
            </a:r>
            <a:r>
              <a:rPr lang="el-GR" sz="1400" b="1" kern="0" err="1">
                <a:solidFill>
                  <a:srgbClr val="002060"/>
                </a:solidFill>
                <a:latin typeface="Arial"/>
                <a:ea typeface="+mn-lt"/>
                <a:cs typeface="+mn-lt"/>
              </a:rPr>
              <a:t>Κώτουρη</a:t>
            </a:r>
            <a:r>
              <a:rPr lang="el-GR" sz="1400" b="1" kern="0">
                <a:solidFill>
                  <a:srgbClr val="002060"/>
                </a:solidFill>
                <a:latin typeface="Arial"/>
                <a:ea typeface="+mn-lt"/>
                <a:cs typeface="+mn-lt"/>
              </a:rPr>
              <a:t> με Σήραγγα στην Κλεισούρα</a:t>
            </a:r>
            <a:endParaRPr lang="el-GR" sz="1400" b="1">
              <a:solidFill>
                <a:srgbClr val="002060"/>
              </a:solidFill>
              <a:latin typeface="Arial"/>
              <a:ea typeface="+mn-lt"/>
              <a:cs typeface="Arial"/>
            </a:endParaRPr>
          </a:p>
        </p:txBody>
      </p:sp>
      <p:sp>
        <p:nvSpPr>
          <p:cNvPr id="16" name="Ορθογώνιο 15">
            <a:extLst>
              <a:ext uri="{FF2B5EF4-FFF2-40B4-BE49-F238E27FC236}">
                <a16:creationId xmlns:a16="http://schemas.microsoft.com/office/drawing/2014/main" id="{07E8AD13-3A8D-0C78-8182-0E2A7BF49C49}"/>
              </a:ext>
            </a:extLst>
          </p:cNvPr>
          <p:cNvSpPr/>
          <p:nvPr/>
        </p:nvSpPr>
        <p:spPr>
          <a:xfrm>
            <a:off x="4446779" y="1481423"/>
            <a:ext cx="3481135" cy="738664"/>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Υ: 71 εκ.€ </a:t>
            </a:r>
            <a:r>
              <a:rPr lang="el-GR" sz="1400" b="1" kern="0">
                <a:solidFill>
                  <a:srgbClr val="002060"/>
                </a:solidFill>
                <a:cs typeface="Calibri"/>
                <a:sym typeface="Arial"/>
              </a:rPr>
              <a:t>στο ΠΕΠ Δυτικής Μακεδονίας</a:t>
            </a:r>
            <a:endParaRPr lang="el-GR" sz="1400" kern="0">
              <a:solidFill>
                <a:srgbClr val="002060"/>
              </a:solidFill>
              <a:ea typeface="Calibri"/>
              <a:cs typeface="Calibri"/>
            </a:endParaRPr>
          </a:p>
          <a:p>
            <a:r>
              <a:rPr lang="el-GR" sz="1400" kern="0">
                <a:solidFill>
                  <a:srgbClr val="002060"/>
                </a:solidFill>
                <a:ea typeface="Calibri"/>
                <a:cs typeface="Calibri"/>
              </a:rPr>
              <a:t>Εκτιμώμενη ολοκλήρωση: </a:t>
            </a:r>
          </a:p>
          <a:p>
            <a:r>
              <a:rPr lang="el-GR" sz="1400" kern="0">
                <a:solidFill>
                  <a:srgbClr val="002060"/>
                </a:solidFill>
                <a:ea typeface="Calibri"/>
                <a:cs typeface="Calibri"/>
              </a:rPr>
              <a:t>Οκτώβριος 2025</a:t>
            </a:r>
            <a:endParaRPr lang="el-GR"/>
          </a:p>
        </p:txBody>
      </p:sp>
      <p:sp>
        <p:nvSpPr>
          <p:cNvPr id="19" name="Ορθογώνιο 18">
            <a:extLst>
              <a:ext uri="{FF2B5EF4-FFF2-40B4-BE49-F238E27FC236}">
                <a16:creationId xmlns:a16="http://schemas.microsoft.com/office/drawing/2014/main" id="{8B880574-4268-4977-FBA4-931F1EDDCCF7}"/>
              </a:ext>
            </a:extLst>
          </p:cNvPr>
          <p:cNvSpPr/>
          <p:nvPr/>
        </p:nvSpPr>
        <p:spPr>
          <a:xfrm>
            <a:off x="4452540" y="2192652"/>
            <a:ext cx="2669862" cy="738664"/>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ρόοδος υλοποίησης:</a:t>
            </a:r>
            <a:r>
              <a:rPr lang="el-GR" sz="1400" kern="0">
                <a:solidFill>
                  <a:srgbClr val="002060"/>
                </a:solidFill>
                <a:cs typeface="Arial"/>
                <a:sym typeface="Arial"/>
              </a:rPr>
              <a:t> Το έργο βρίσκεται στο στάδιο εκτέλεσης εργασιών. </a:t>
            </a:r>
            <a:endParaRPr lang="el-GR" sz="1400" kern="0">
              <a:solidFill>
                <a:srgbClr val="002060"/>
              </a:solidFill>
              <a:ea typeface="Calibri"/>
              <a:cs typeface="Arial"/>
            </a:endParaRPr>
          </a:p>
        </p:txBody>
      </p:sp>
      <p:sp>
        <p:nvSpPr>
          <p:cNvPr id="2" name="Ορθογώνιο 1">
            <a:extLst>
              <a:ext uri="{FF2B5EF4-FFF2-40B4-BE49-F238E27FC236}">
                <a16:creationId xmlns:a16="http://schemas.microsoft.com/office/drawing/2014/main" id="{13BBD728-068B-5BD3-34B7-F868425281D8}"/>
              </a:ext>
            </a:extLst>
          </p:cNvPr>
          <p:cNvSpPr/>
          <p:nvPr/>
        </p:nvSpPr>
        <p:spPr>
          <a:xfrm>
            <a:off x="622963" y="2055625"/>
            <a:ext cx="2469337" cy="1169551"/>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ρόοδος υλοποίησης:</a:t>
            </a:r>
            <a:r>
              <a:rPr lang="el-GR" sz="1400" kern="0">
                <a:solidFill>
                  <a:srgbClr val="002060"/>
                </a:solidFill>
                <a:cs typeface="Arial"/>
                <a:sym typeface="Arial"/>
              </a:rPr>
              <a:t> Οι μελέτες βρίσκονται στο στάδιο εκπόνησης. Το</a:t>
            </a:r>
            <a:r>
              <a:rPr lang="el-GR" sz="1400" i="1" kern="0">
                <a:solidFill>
                  <a:srgbClr val="002060"/>
                </a:solidFill>
                <a:cs typeface="Arial"/>
                <a:sym typeface="Arial"/>
              </a:rPr>
              <a:t> τμήμα Τρίκαλα- Καλαμπάκα</a:t>
            </a:r>
            <a:r>
              <a:rPr lang="el-GR" sz="1400" kern="0">
                <a:solidFill>
                  <a:srgbClr val="002060"/>
                </a:solidFill>
                <a:cs typeface="Arial"/>
                <a:sym typeface="Arial"/>
              </a:rPr>
              <a:t> αποδόθηκε στην κυκλοφορία τον Απρίλιο 2024. </a:t>
            </a:r>
          </a:p>
        </p:txBody>
      </p:sp>
      <p:sp>
        <p:nvSpPr>
          <p:cNvPr id="14" name="Google Shape;1275;p29">
            <a:extLst>
              <a:ext uri="{FF2B5EF4-FFF2-40B4-BE49-F238E27FC236}">
                <a16:creationId xmlns:a16="http://schemas.microsoft.com/office/drawing/2014/main" id="{395D8F44-833D-24C3-3C68-737529D563F5}"/>
              </a:ext>
            </a:extLst>
          </p:cNvPr>
          <p:cNvSpPr/>
          <p:nvPr/>
        </p:nvSpPr>
        <p:spPr>
          <a:xfrm>
            <a:off x="8339772" y="1038721"/>
            <a:ext cx="3170493" cy="238660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lang="el-GR">
              <a:solidFill>
                <a:srgbClr val="000000"/>
              </a:solidFill>
              <a:ea typeface="Calibri"/>
              <a:cs typeface="Calibri"/>
            </a:endParaRPr>
          </a:p>
        </p:txBody>
      </p:sp>
      <p:sp>
        <p:nvSpPr>
          <p:cNvPr id="17" name="Google Shape;1282;p29">
            <a:extLst>
              <a:ext uri="{FF2B5EF4-FFF2-40B4-BE49-F238E27FC236}">
                <a16:creationId xmlns:a16="http://schemas.microsoft.com/office/drawing/2014/main" id="{07B4CA66-DF36-8499-4BFD-D8DBBA75589D}"/>
              </a:ext>
            </a:extLst>
          </p:cNvPr>
          <p:cNvSpPr/>
          <p:nvPr/>
        </p:nvSpPr>
        <p:spPr>
          <a:xfrm>
            <a:off x="8337079" y="243174"/>
            <a:ext cx="3173927" cy="109358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l-GR" sz="1400" b="1" kern="0">
                <a:solidFill>
                  <a:srgbClr val="002060"/>
                </a:solidFill>
                <a:latin typeface="Arial"/>
                <a:ea typeface="+mn-lt"/>
                <a:cs typeface="+mn-lt"/>
                <a:sym typeface="Arial"/>
              </a:rPr>
              <a:t>Επαναλειτουργία της σιδηροδρομικής γραμμής </a:t>
            </a:r>
            <a:r>
              <a:rPr lang="el-GR" sz="1400" b="1" kern="0">
                <a:solidFill>
                  <a:srgbClr val="002060"/>
                </a:solidFill>
                <a:latin typeface="Arial"/>
                <a:ea typeface="+mn-lt"/>
                <a:cs typeface="+mn-lt"/>
              </a:rPr>
              <a:t>μεταξύ του Σ.Σ. Πτολεμαΐδας </a:t>
            </a:r>
            <a:r>
              <a:rPr lang="el-GR" sz="1400" b="1" kern="0">
                <a:solidFill>
                  <a:srgbClr val="002060"/>
                </a:solidFill>
                <a:latin typeface="Arial"/>
                <a:ea typeface="+mn-lt"/>
                <a:cs typeface="+mn-lt"/>
                <a:sym typeface="Arial"/>
              </a:rPr>
              <a:t>– </a:t>
            </a:r>
            <a:r>
              <a:rPr lang="el-GR" sz="1400" b="1" kern="0">
                <a:solidFill>
                  <a:srgbClr val="002060"/>
                </a:solidFill>
                <a:latin typeface="Arial"/>
                <a:ea typeface="+mn-lt"/>
                <a:cs typeface="+mn-lt"/>
              </a:rPr>
              <a:t>Σ.Σ. Κοζάνης </a:t>
            </a:r>
            <a:endParaRPr lang="x-none" sz="1400" b="1" kern="0">
              <a:solidFill>
                <a:srgbClr val="002060"/>
              </a:solidFill>
              <a:latin typeface="Arial"/>
              <a:ea typeface="+mn-lt"/>
              <a:cs typeface="+mn-lt"/>
            </a:endParaRPr>
          </a:p>
        </p:txBody>
      </p:sp>
      <p:sp>
        <p:nvSpPr>
          <p:cNvPr id="26" name="Ορθογώνιο 25">
            <a:extLst>
              <a:ext uri="{FF2B5EF4-FFF2-40B4-BE49-F238E27FC236}">
                <a16:creationId xmlns:a16="http://schemas.microsoft.com/office/drawing/2014/main" id="{9E917B47-69B4-953A-3F1F-AACF148CE19B}"/>
              </a:ext>
            </a:extLst>
          </p:cNvPr>
          <p:cNvSpPr/>
          <p:nvPr/>
        </p:nvSpPr>
        <p:spPr>
          <a:xfrm>
            <a:off x="8484518" y="1327689"/>
            <a:ext cx="2568742" cy="523220"/>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Υ: 20 εκ.€</a:t>
            </a:r>
          </a:p>
          <a:p>
            <a:r>
              <a:rPr lang="el-GR" sz="1400" kern="0">
                <a:solidFill>
                  <a:srgbClr val="002060"/>
                </a:solidFill>
                <a:ea typeface="Calibri"/>
                <a:cs typeface="Arial"/>
              </a:rPr>
              <a:t>Εκτιμώμενη ολοκλήρωση: 2028</a:t>
            </a:r>
          </a:p>
        </p:txBody>
      </p:sp>
      <p:sp>
        <p:nvSpPr>
          <p:cNvPr id="30" name="Ορθογώνιο 29">
            <a:extLst>
              <a:ext uri="{FF2B5EF4-FFF2-40B4-BE49-F238E27FC236}">
                <a16:creationId xmlns:a16="http://schemas.microsoft.com/office/drawing/2014/main" id="{EE4D5112-119A-910C-C2D7-36F6DF33D32D}"/>
              </a:ext>
            </a:extLst>
          </p:cNvPr>
          <p:cNvSpPr/>
          <p:nvPr/>
        </p:nvSpPr>
        <p:spPr>
          <a:xfrm>
            <a:off x="8480254" y="1776800"/>
            <a:ext cx="2860362" cy="1600438"/>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ρόοδος υλοποίησης:</a:t>
            </a:r>
            <a:r>
              <a:rPr lang="el-GR" sz="1400" b="1" kern="0">
                <a:solidFill>
                  <a:srgbClr val="002060"/>
                </a:solidFill>
                <a:ea typeface="+mn-lt"/>
                <a:cs typeface="Arial"/>
                <a:sym typeface="Arial"/>
              </a:rPr>
              <a:t> </a:t>
            </a:r>
            <a:r>
              <a:rPr lang="el-GR" sz="1400" kern="0">
                <a:solidFill>
                  <a:srgbClr val="002060"/>
                </a:solidFill>
                <a:ea typeface="+mn-lt"/>
                <a:cs typeface="+mn-lt"/>
                <a:sym typeface="Arial"/>
              </a:rPr>
              <a:t> Έχουν ολοκληρωθεί όλες οι μελέτες.</a:t>
            </a:r>
            <a:r>
              <a:rPr lang="en-US" sz="1400" kern="0">
                <a:solidFill>
                  <a:srgbClr val="002060"/>
                </a:solidFill>
                <a:ea typeface="+mn-lt"/>
                <a:cs typeface="+mn-lt"/>
                <a:sym typeface="Arial"/>
              </a:rPr>
              <a:t> </a:t>
            </a:r>
            <a:r>
              <a:rPr lang="el-GR" sz="1400" kern="0">
                <a:solidFill>
                  <a:srgbClr val="002060"/>
                </a:solidFill>
                <a:ea typeface="+mn-lt"/>
                <a:cs typeface="+mn-lt"/>
                <a:sym typeface="Arial"/>
              </a:rPr>
              <a:t>Έχει ολοκληρωθεί από τη ΔΕΗ η Α΄ Φάση των έργων που αφορά την</a:t>
            </a:r>
            <a:r>
              <a:rPr lang="en-US" sz="1400" kern="0">
                <a:solidFill>
                  <a:srgbClr val="002060"/>
                </a:solidFill>
                <a:ea typeface="+mn-lt"/>
                <a:cs typeface="+mn-lt"/>
                <a:sym typeface="Arial"/>
              </a:rPr>
              <a:t> </a:t>
            </a:r>
            <a:r>
              <a:rPr lang="el-GR" sz="1400" kern="0">
                <a:solidFill>
                  <a:srgbClr val="002060"/>
                </a:solidFill>
                <a:ea typeface="+mn-lt"/>
                <a:cs typeface="+mn-lt"/>
                <a:sym typeface="Arial"/>
              </a:rPr>
              <a:t>συμπύκνωση του εδάφους και μετά την ολοκλήρωση θα δημοπρατηθεί</a:t>
            </a:r>
            <a:r>
              <a:rPr lang="en-US" sz="1400" kern="0">
                <a:solidFill>
                  <a:srgbClr val="002060"/>
                </a:solidFill>
                <a:ea typeface="+mn-lt"/>
                <a:cs typeface="+mn-lt"/>
                <a:sym typeface="Arial"/>
              </a:rPr>
              <a:t> </a:t>
            </a:r>
            <a:r>
              <a:rPr lang="el-GR" sz="1400" kern="0">
                <a:solidFill>
                  <a:srgbClr val="002060"/>
                </a:solidFill>
                <a:ea typeface="+mn-lt"/>
                <a:cs typeface="+mn-lt"/>
                <a:sym typeface="Arial"/>
              </a:rPr>
              <a:t>το έργο από τον ΟΣΕ το 2025. </a:t>
            </a:r>
            <a:endParaRPr lang="el-GR" sz="1400" kern="0">
              <a:solidFill>
                <a:srgbClr val="002060"/>
              </a:solidFill>
              <a:ea typeface="+mn-lt"/>
              <a:cs typeface="+mn-lt"/>
            </a:endParaRPr>
          </a:p>
        </p:txBody>
      </p:sp>
      <p:sp>
        <p:nvSpPr>
          <p:cNvPr id="11" name="Google Shape;1275;p29">
            <a:extLst>
              <a:ext uri="{FF2B5EF4-FFF2-40B4-BE49-F238E27FC236}">
                <a16:creationId xmlns:a16="http://schemas.microsoft.com/office/drawing/2014/main" id="{E9A6594F-63F3-840E-832E-360789A05A28}"/>
              </a:ext>
            </a:extLst>
          </p:cNvPr>
          <p:cNvSpPr/>
          <p:nvPr/>
        </p:nvSpPr>
        <p:spPr>
          <a:xfrm>
            <a:off x="245670" y="4246188"/>
            <a:ext cx="2948958" cy="2073394"/>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buFont typeface="Arial"/>
              <a:buNone/>
            </a:pPr>
            <a:endParaRPr sz="1400" kern="0">
              <a:solidFill>
                <a:srgbClr val="000000"/>
              </a:solidFill>
              <a:cs typeface="Arial"/>
              <a:sym typeface="Arial"/>
            </a:endParaRPr>
          </a:p>
        </p:txBody>
      </p:sp>
      <p:sp>
        <p:nvSpPr>
          <p:cNvPr id="13" name="Google Shape;1282;p29">
            <a:extLst>
              <a:ext uri="{FF2B5EF4-FFF2-40B4-BE49-F238E27FC236}">
                <a16:creationId xmlns:a16="http://schemas.microsoft.com/office/drawing/2014/main" id="{BAD17C09-EEA4-5D15-031D-A031F3D0F5A9}"/>
              </a:ext>
            </a:extLst>
          </p:cNvPr>
          <p:cNvSpPr/>
          <p:nvPr/>
        </p:nvSpPr>
        <p:spPr>
          <a:xfrm>
            <a:off x="246704" y="3502584"/>
            <a:ext cx="2946665" cy="850094"/>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l-GR" sz="1400" b="1" kern="0">
                <a:solidFill>
                  <a:srgbClr val="002060"/>
                </a:solidFill>
                <a:latin typeface="Arial"/>
                <a:ea typeface="+mn-lt"/>
                <a:cs typeface="+mn-lt"/>
                <a:sym typeface="Arial"/>
              </a:rPr>
              <a:t>Κατασκευή φράγματος Νεστορίου και συνοδευτικών έργων </a:t>
            </a:r>
            <a:r>
              <a:rPr lang="el-GR" sz="1400" b="1" kern="0">
                <a:solidFill>
                  <a:srgbClr val="00B0F0"/>
                </a:solidFill>
                <a:latin typeface="Arial"/>
                <a:ea typeface="+mn-lt"/>
                <a:cs typeface="+mn-lt"/>
                <a:sym typeface="Arial"/>
              </a:rPr>
              <a:t>Καστοριάς</a:t>
            </a:r>
            <a:endParaRPr lang="x-none" sz="1400" kern="0">
              <a:solidFill>
                <a:srgbClr val="002060"/>
              </a:solidFill>
              <a:latin typeface="Arial"/>
              <a:ea typeface="+mn-lt"/>
              <a:cs typeface="+mn-lt"/>
            </a:endParaRPr>
          </a:p>
        </p:txBody>
      </p:sp>
      <p:sp>
        <p:nvSpPr>
          <p:cNvPr id="15" name="Ορθογώνιο 14">
            <a:extLst>
              <a:ext uri="{FF2B5EF4-FFF2-40B4-BE49-F238E27FC236}">
                <a16:creationId xmlns:a16="http://schemas.microsoft.com/office/drawing/2014/main" id="{C7EAD167-006A-759D-9E80-06929F901B4E}"/>
              </a:ext>
            </a:extLst>
          </p:cNvPr>
          <p:cNvSpPr/>
          <p:nvPr/>
        </p:nvSpPr>
        <p:spPr>
          <a:xfrm>
            <a:off x="486384" y="4355636"/>
            <a:ext cx="2568745" cy="307777"/>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a:solidFill>
                  <a:srgbClr val="002060"/>
                </a:solidFill>
                <a:cs typeface="Arial"/>
                <a:sym typeface="Arial"/>
              </a:rPr>
              <a:t>Π/Υ: 49 εκ.€ στο ΠΑΑ</a:t>
            </a:r>
            <a:endParaRPr lang="el-GR">
              <a:ea typeface="Calibri"/>
              <a:cs typeface="Calibri"/>
            </a:endParaRPr>
          </a:p>
        </p:txBody>
      </p:sp>
      <p:sp>
        <p:nvSpPr>
          <p:cNvPr id="18" name="Ορθογώνιο 17">
            <a:extLst>
              <a:ext uri="{FF2B5EF4-FFF2-40B4-BE49-F238E27FC236}">
                <a16:creationId xmlns:a16="http://schemas.microsoft.com/office/drawing/2014/main" id="{D4076C70-7430-C668-0997-E6D490E34BAB}"/>
              </a:ext>
            </a:extLst>
          </p:cNvPr>
          <p:cNvSpPr/>
          <p:nvPr/>
        </p:nvSpPr>
        <p:spPr>
          <a:xfrm>
            <a:off x="486892" y="4717850"/>
            <a:ext cx="2469337" cy="1384995"/>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dirty="0">
                <a:solidFill>
                  <a:srgbClr val="002060"/>
                </a:solidFill>
                <a:cs typeface="Arial"/>
                <a:sym typeface="Arial"/>
              </a:rPr>
              <a:t>Πρόοδος υλοποίησης:</a:t>
            </a:r>
            <a:r>
              <a:rPr lang="el-GR" sz="1400" kern="0" dirty="0">
                <a:solidFill>
                  <a:srgbClr val="002060"/>
                </a:solidFill>
                <a:cs typeface="Arial"/>
                <a:sym typeface="Arial"/>
              </a:rPr>
              <a:t> Ο</a:t>
            </a:r>
            <a:r>
              <a:rPr lang="el-GR" sz="1400" kern="0" dirty="0">
                <a:solidFill>
                  <a:srgbClr val="002060"/>
                </a:solidFill>
                <a:ea typeface="+mn-lt"/>
                <a:cs typeface="+mn-lt"/>
                <a:sym typeface="Arial"/>
              </a:rPr>
              <a:t>ριστικοποιείται με τους επόμενους κατά σειρά μειοδότες του διαγωνισμού, η υπογραφή σύμβασης για τη συνέχιση του έργου. </a:t>
            </a:r>
          </a:p>
        </p:txBody>
      </p:sp>
      <p:sp>
        <p:nvSpPr>
          <p:cNvPr id="20" name="Google Shape;1275;p29">
            <a:extLst>
              <a:ext uri="{FF2B5EF4-FFF2-40B4-BE49-F238E27FC236}">
                <a16:creationId xmlns:a16="http://schemas.microsoft.com/office/drawing/2014/main" id="{6FAA3649-22EB-DAD8-294D-7917F3DC54D2}"/>
              </a:ext>
            </a:extLst>
          </p:cNvPr>
          <p:cNvSpPr/>
          <p:nvPr/>
        </p:nvSpPr>
        <p:spPr>
          <a:xfrm>
            <a:off x="9744887" y="4244278"/>
            <a:ext cx="2360273" cy="1727723"/>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l-GR" sz="1400" b="1">
              <a:solidFill>
                <a:srgbClr val="002060"/>
              </a:solidFill>
              <a:ea typeface="Calibri"/>
              <a:cs typeface="Calibri"/>
            </a:endParaRPr>
          </a:p>
        </p:txBody>
      </p:sp>
      <p:sp>
        <p:nvSpPr>
          <p:cNvPr id="21" name="Google Shape;1282;p29">
            <a:extLst>
              <a:ext uri="{FF2B5EF4-FFF2-40B4-BE49-F238E27FC236}">
                <a16:creationId xmlns:a16="http://schemas.microsoft.com/office/drawing/2014/main" id="{22B1F794-DEDE-9215-ADD6-11555EA20AC2}"/>
              </a:ext>
            </a:extLst>
          </p:cNvPr>
          <p:cNvSpPr/>
          <p:nvPr/>
        </p:nvSpPr>
        <p:spPr>
          <a:xfrm>
            <a:off x="9742581" y="3495426"/>
            <a:ext cx="2360364" cy="993324"/>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l-GR" sz="1400" b="1" kern="0">
                <a:solidFill>
                  <a:srgbClr val="002060"/>
                </a:solidFill>
                <a:latin typeface="Arial"/>
                <a:ea typeface="+mn-lt"/>
                <a:cs typeface="+mn-lt"/>
                <a:sym typeface="Arial"/>
              </a:rPr>
              <a:t>Κατασκευή αρδευτικού δικτύου Πρεσπών </a:t>
            </a:r>
            <a:r>
              <a:rPr lang="el-GR" sz="1400" b="1" kern="0">
                <a:solidFill>
                  <a:srgbClr val="00B0F0"/>
                </a:solidFill>
                <a:latin typeface="Arial"/>
                <a:ea typeface="+mn-lt"/>
                <a:cs typeface="Arial"/>
                <a:sym typeface="Arial"/>
              </a:rPr>
              <a:t>Φλώρινας</a:t>
            </a:r>
            <a:endParaRPr lang="el-GR" sz="1400" b="1" kern="0">
              <a:solidFill>
                <a:srgbClr val="00B0F0"/>
              </a:solidFill>
              <a:latin typeface="Arial"/>
              <a:ea typeface="Calibri"/>
              <a:cs typeface="Arial"/>
            </a:endParaRPr>
          </a:p>
        </p:txBody>
      </p:sp>
      <p:sp>
        <p:nvSpPr>
          <p:cNvPr id="22" name="Ορθογώνιο 21">
            <a:extLst>
              <a:ext uri="{FF2B5EF4-FFF2-40B4-BE49-F238E27FC236}">
                <a16:creationId xmlns:a16="http://schemas.microsoft.com/office/drawing/2014/main" id="{0F835197-CF75-4A4C-1D84-ABD34323FF17}"/>
              </a:ext>
            </a:extLst>
          </p:cNvPr>
          <p:cNvSpPr/>
          <p:nvPr/>
        </p:nvSpPr>
        <p:spPr>
          <a:xfrm>
            <a:off x="9826134" y="4484545"/>
            <a:ext cx="2120903" cy="738664"/>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a:solidFill>
                  <a:srgbClr val="002060"/>
                </a:solidFill>
                <a:cs typeface="Arial"/>
                <a:sym typeface="Arial"/>
              </a:rPr>
              <a:t>Π/Υ: 20,3 εκ.€ </a:t>
            </a:r>
          </a:p>
          <a:p>
            <a:r>
              <a:rPr lang="el-GR" sz="1400" kern="0">
                <a:solidFill>
                  <a:srgbClr val="002060"/>
                </a:solidFill>
                <a:ea typeface="Calibri"/>
                <a:cs typeface="Arial"/>
              </a:rPr>
              <a:t>Εκτιμώμενη ολοκλήρωση: 2025</a:t>
            </a:r>
          </a:p>
        </p:txBody>
      </p:sp>
      <p:sp>
        <p:nvSpPr>
          <p:cNvPr id="23" name="Ορθογώνιο 22">
            <a:extLst>
              <a:ext uri="{FF2B5EF4-FFF2-40B4-BE49-F238E27FC236}">
                <a16:creationId xmlns:a16="http://schemas.microsoft.com/office/drawing/2014/main" id="{F65C9666-A6E8-80A0-4AC3-758FBB895FF5}"/>
              </a:ext>
            </a:extLst>
          </p:cNvPr>
          <p:cNvSpPr/>
          <p:nvPr/>
        </p:nvSpPr>
        <p:spPr>
          <a:xfrm>
            <a:off x="9771260" y="5225850"/>
            <a:ext cx="2328014" cy="738664"/>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a:solidFill>
                  <a:srgbClr val="002060"/>
                </a:solidFill>
                <a:cs typeface="Arial"/>
                <a:sym typeface="Arial"/>
              </a:rPr>
              <a:t>Πρόοδος υλοποίησης:</a:t>
            </a:r>
            <a:r>
              <a:rPr lang="el-GR" sz="1400" kern="0">
                <a:solidFill>
                  <a:srgbClr val="002060"/>
                </a:solidFill>
                <a:cs typeface="Arial"/>
                <a:sym typeface="Arial"/>
              </a:rPr>
              <a:t> Οι εργασίες του έργου έχουν εκτελεστεί κατά 70 %. </a:t>
            </a:r>
          </a:p>
        </p:txBody>
      </p:sp>
      <p:sp>
        <p:nvSpPr>
          <p:cNvPr id="24" name="Google Shape;1275;p29">
            <a:extLst>
              <a:ext uri="{FF2B5EF4-FFF2-40B4-BE49-F238E27FC236}">
                <a16:creationId xmlns:a16="http://schemas.microsoft.com/office/drawing/2014/main" id="{12CABFF0-2E30-DD5A-258A-0ADA3F72B54F}"/>
              </a:ext>
            </a:extLst>
          </p:cNvPr>
          <p:cNvSpPr/>
          <p:nvPr/>
        </p:nvSpPr>
        <p:spPr>
          <a:xfrm>
            <a:off x="3524753" y="4102000"/>
            <a:ext cx="2937978" cy="2683567"/>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l-GR" sz="1400" b="1">
              <a:solidFill>
                <a:srgbClr val="002060"/>
              </a:solidFill>
              <a:ea typeface="Calibri"/>
              <a:cs typeface="Calibri"/>
            </a:endParaRPr>
          </a:p>
        </p:txBody>
      </p:sp>
      <p:sp>
        <p:nvSpPr>
          <p:cNvPr id="25" name="Google Shape;1282;p29">
            <a:extLst>
              <a:ext uri="{FF2B5EF4-FFF2-40B4-BE49-F238E27FC236}">
                <a16:creationId xmlns:a16="http://schemas.microsoft.com/office/drawing/2014/main" id="{869BA50C-38A0-87ED-6361-CF69ABEB0922}"/>
              </a:ext>
            </a:extLst>
          </p:cNvPr>
          <p:cNvSpPr/>
          <p:nvPr/>
        </p:nvSpPr>
        <p:spPr>
          <a:xfrm>
            <a:off x="3528176" y="3499243"/>
            <a:ext cx="2947616" cy="857254"/>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l-GR" sz="1400" b="1" kern="0">
                <a:solidFill>
                  <a:srgbClr val="002060"/>
                </a:solidFill>
                <a:latin typeface="Arial"/>
                <a:ea typeface="+mn-lt"/>
                <a:cs typeface="+mn-lt"/>
                <a:sym typeface="Arial"/>
              </a:rPr>
              <a:t>Κατασκευή αρδευτικών δικτύων Τριανταφυλλιάς</a:t>
            </a:r>
            <a:endParaRPr lang="el-GR" sz="1400" b="1" kern="0">
              <a:solidFill>
                <a:srgbClr val="00B0F0"/>
              </a:solidFill>
              <a:latin typeface="Arial"/>
              <a:ea typeface="+mn-lt"/>
              <a:cs typeface="Arial"/>
            </a:endParaRPr>
          </a:p>
          <a:p>
            <a:pPr algn="ctr"/>
            <a:r>
              <a:rPr lang="el-GR" sz="1400" b="1" kern="0">
                <a:solidFill>
                  <a:srgbClr val="00B0F0"/>
                </a:solidFill>
                <a:latin typeface="Arial"/>
                <a:ea typeface="+mn-lt"/>
                <a:cs typeface="Arial"/>
                <a:sym typeface="Arial"/>
              </a:rPr>
              <a:t>Δήμου Φλώρινας</a:t>
            </a:r>
            <a:endParaRPr lang="el-GR" sz="1400" b="1" kern="0">
              <a:solidFill>
                <a:srgbClr val="00B0F0"/>
              </a:solidFill>
              <a:latin typeface="Arial"/>
              <a:ea typeface="Calibri"/>
              <a:cs typeface="Arial"/>
            </a:endParaRPr>
          </a:p>
        </p:txBody>
      </p:sp>
      <p:sp>
        <p:nvSpPr>
          <p:cNvPr id="27" name="Ορθογώνιο 26">
            <a:extLst>
              <a:ext uri="{FF2B5EF4-FFF2-40B4-BE49-F238E27FC236}">
                <a16:creationId xmlns:a16="http://schemas.microsoft.com/office/drawing/2014/main" id="{CC71904F-65B9-0749-F29A-25189A819357}"/>
              </a:ext>
            </a:extLst>
          </p:cNvPr>
          <p:cNvSpPr/>
          <p:nvPr/>
        </p:nvSpPr>
        <p:spPr>
          <a:xfrm>
            <a:off x="3621851" y="4355254"/>
            <a:ext cx="2568745" cy="523220"/>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a:solidFill>
                  <a:srgbClr val="002060"/>
                </a:solidFill>
                <a:cs typeface="Arial"/>
                <a:sym typeface="Arial"/>
              </a:rPr>
              <a:t>Π/Υ: 41,5 εκ.€ </a:t>
            </a:r>
          </a:p>
          <a:p>
            <a:r>
              <a:rPr lang="el-GR" sz="1400" kern="0">
                <a:solidFill>
                  <a:srgbClr val="002060"/>
                </a:solidFill>
                <a:ea typeface="Calibri"/>
                <a:cs typeface="Arial"/>
              </a:rPr>
              <a:t>Εκτιμώμενη ολοκλήρωση: 2025</a:t>
            </a:r>
          </a:p>
        </p:txBody>
      </p:sp>
      <p:sp>
        <p:nvSpPr>
          <p:cNvPr id="28" name="Ορθογώνιο 27">
            <a:extLst>
              <a:ext uri="{FF2B5EF4-FFF2-40B4-BE49-F238E27FC236}">
                <a16:creationId xmlns:a16="http://schemas.microsoft.com/office/drawing/2014/main" id="{2ABE9826-82CF-4595-444E-F90A948C644A}"/>
              </a:ext>
            </a:extLst>
          </p:cNvPr>
          <p:cNvSpPr/>
          <p:nvPr/>
        </p:nvSpPr>
        <p:spPr>
          <a:xfrm>
            <a:off x="3624650" y="4875886"/>
            <a:ext cx="2760099" cy="1815882"/>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dirty="0">
                <a:solidFill>
                  <a:srgbClr val="002060"/>
                </a:solidFill>
                <a:cs typeface="Arial"/>
                <a:sym typeface="Arial"/>
              </a:rPr>
              <a:t>Πρόοδος υλοποίησης:</a:t>
            </a:r>
            <a:r>
              <a:rPr lang="el-GR" sz="1400" kern="0" dirty="0">
                <a:solidFill>
                  <a:srgbClr val="002060"/>
                </a:solidFill>
                <a:cs typeface="Arial"/>
                <a:sym typeface="Arial"/>
              </a:rPr>
              <a:t> Το έργο βρίσκεται στο στάδιο της εκτέλεσης εργασιών. </a:t>
            </a:r>
            <a:r>
              <a:rPr lang="el-GR" sz="1400" kern="0" dirty="0">
                <a:solidFill>
                  <a:srgbClr val="002060"/>
                </a:solidFill>
                <a:ea typeface="+mn-lt"/>
                <a:cs typeface="+mn-lt"/>
                <a:sym typeface="Arial"/>
              </a:rPr>
              <a:t>Οι καθυστερήσεις στην εξέλιξη του έργου παρατηρούνται λόγω των δυσμενών καιρικών συνθήκων της περιοχής σε συνδυασμό με την αρδευτική περίοδο.</a:t>
            </a:r>
            <a:endParaRPr lang="el-GR" sz="1400" kern="0" dirty="0">
              <a:solidFill>
                <a:srgbClr val="002060"/>
              </a:solidFill>
              <a:ea typeface="Calibri"/>
              <a:cs typeface="Arial"/>
            </a:endParaRPr>
          </a:p>
        </p:txBody>
      </p:sp>
      <p:sp>
        <p:nvSpPr>
          <p:cNvPr id="29" name="Google Shape;1275;p29">
            <a:extLst>
              <a:ext uri="{FF2B5EF4-FFF2-40B4-BE49-F238E27FC236}">
                <a16:creationId xmlns:a16="http://schemas.microsoft.com/office/drawing/2014/main" id="{231500C1-756A-55B8-1BBF-B97DAF854E14}"/>
              </a:ext>
            </a:extLst>
          </p:cNvPr>
          <p:cNvSpPr/>
          <p:nvPr/>
        </p:nvSpPr>
        <p:spPr>
          <a:xfrm>
            <a:off x="6715030" y="4230433"/>
            <a:ext cx="2858245" cy="2293017"/>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Calibri"/>
              <a:cs typeface="Arial"/>
            </a:endParaRPr>
          </a:p>
        </p:txBody>
      </p:sp>
      <p:sp>
        <p:nvSpPr>
          <p:cNvPr id="31" name="Google Shape;1282;p29">
            <a:extLst>
              <a:ext uri="{FF2B5EF4-FFF2-40B4-BE49-F238E27FC236}">
                <a16:creationId xmlns:a16="http://schemas.microsoft.com/office/drawing/2014/main" id="{12B78EA8-E2B3-9DBE-9A93-D80C2595F293}"/>
              </a:ext>
            </a:extLst>
          </p:cNvPr>
          <p:cNvSpPr/>
          <p:nvPr/>
        </p:nvSpPr>
        <p:spPr>
          <a:xfrm>
            <a:off x="6713203" y="3504973"/>
            <a:ext cx="2749956" cy="99093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l-GR" sz="1400" b="1" kern="0">
                <a:solidFill>
                  <a:srgbClr val="002060"/>
                </a:solidFill>
                <a:latin typeface="Arial"/>
                <a:ea typeface="+mn-lt"/>
                <a:cs typeface="+mn-lt"/>
                <a:sym typeface="Arial"/>
              </a:rPr>
              <a:t>Ύδρευση πόλης Φλώρινας από φράγμα Τριανταφυλλιάς </a:t>
            </a:r>
            <a:r>
              <a:rPr lang="el-GR" sz="1400" b="1" kern="0">
                <a:solidFill>
                  <a:srgbClr val="00B0F0"/>
                </a:solidFill>
                <a:latin typeface="Arial"/>
                <a:ea typeface="+mn-lt"/>
                <a:cs typeface="Arial"/>
                <a:sym typeface="Arial"/>
              </a:rPr>
              <a:t>Δήμου Φλώρινας</a:t>
            </a:r>
            <a:endParaRPr lang="el-GR" sz="1400" b="1" kern="0">
              <a:solidFill>
                <a:srgbClr val="00B0F0"/>
              </a:solidFill>
              <a:latin typeface="Arial"/>
              <a:ea typeface="Calibri"/>
              <a:cs typeface="Arial"/>
            </a:endParaRPr>
          </a:p>
        </p:txBody>
      </p:sp>
      <p:sp>
        <p:nvSpPr>
          <p:cNvPr id="32" name="Ορθογώνιο 31">
            <a:extLst>
              <a:ext uri="{FF2B5EF4-FFF2-40B4-BE49-F238E27FC236}">
                <a16:creationId xmlns:a16="http://schemas.microsoft.com/office/drawing/2014/main" id="{D3FF8C61-7788-2B1D-B697-A49A8E6BA7A8}"/>
              </a:ext>
            </a:extLst>
          </p:cNvPr>
          <p:cNvSpPr/>
          <p:nvPr/>
        </p:nvSpPr>
        <p:spPr>
          <a:xfrm>
            <a:off x="6894154" y="4506507"/>
            <a:ext cx="2568745" cy="738664"/>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dirty="0">
                <a:solidFill>
                  <a:srgbClr val="002060"/>
                </a:solidFill>
                <a:cs typeface="Arial"/>
                <a:sym typeface="Arial"/>
              </a:rPr>
              <a:t>Π/Υ: 17 εκ.€ στο ΕΣΠΑ</a:t>
            </a:r>
          </a:p>
          <a:p>
            <a:r>
              <a:rPr lang="el-GR" sz="1400" kern="0" dirty="0">
                <a:solidFill>
                  <a:srgbClr val="002060"/>
                </a:solidFill>
                <a:ea typeface="Calibri"/>
                <a:cs typeface="Arial"/>
              </a:rPr>
              <a:t>Εκτιμώμενη ολοκλήρωση: Μάρτιος 2026</a:t>
            </a:r>
          </a:p>
        </p:txBody>
      </p:sp>
      <p:sp>
        <p:nvSpPr>
          <p:cNvPr id="33" name="Ορθογώνιο 32">
            <a:extLst>
              <a:ext uri="{FF2B5EF4-FFF2-40B4-BE49-F238E27FC236}">
                <a16:creationId xmlns:a16="http://schemas.microsoft.com/office/drawing/2014/main" id="{88EAFA56-5820-C9B6-B23C-104A4576C255}"/>
              </a:ext>
            </a:extLst>
          </p:cNvPr>
          <p:cNvSpPr/>
          <p:nvPr/>
        </p:nvSpPr>
        <p:spPr>
          <a:xfrm>
            <a:off x="6864583" y="5249722"/>
            <a:ext cx="2559574" cy="1169551"/>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dirty="0">
                <a:solidFill>
                  <a:srgbClr val="002060"/>
                </a:solidFill>
                <a:cs typeface="Arial"/>
                <a:sym typeface="Arial"/>
              </a:rPr>
              <a:t>Πρόοδος υλοποίησης:</a:t>
            </a:r>
            <a:r>
              <a:rPr lang="el-GR" sz="1400" kern="0" dirty="0">
                <a:solidFill>
                  <a:srgbClr val="002060"/>
                </a:solidFill>
                <a:cs typeface="Arial"/>
                <a:sym typeface="Arial"/>
              </a:rPr>
              <a:t> </a:t>
            </a:r>
            <a:r>
              <a:rPr lang="el-GR" sz="1400" kern="0" dirty="0">
                <a:solidFill>
                  <a:srgbClr val="002060"/>
                </a:solidFill>
                <a:ea typeface="+mn-lt"/>
                <a:cs typeface="+mn-lt"/>
                <a:sym typeface="Arial"/>
              </a:rPr>
              <a:t>Οι εργασίες του έργου έχουν προχωρήσει σε ποσοστό 14%. Αναμένεται η έγκριση οριστικής μελέτης του διυλιστηρίου. </a:t>
            </a:r>
          </a:p>
        </p:txBody>
      </p:sp>
    </p:spTree>
    <p:extLst>
      <p:ext uri="{BB962C8B-B14F-4D97-AF65-F5344CB8AC3E}">
        <p14:creationId xmlns:p14="http://schemas.microsoft.com/office/powerpoint/2010/main" val="38739790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9C5856-9D0D-1432-2B64-C743BB072A19}"/>
              </a:ext>
            </a:extLst>
          </p:cNvPr>
          <p:cNvSpPr txBox="1"/>
          <p:nvPr/>
        </p:nvSpPr>
        <p:spPr>
          <a:xfrm>
            <a:off x="750160" y="2475658"/>
            <a:ext cx="10529453"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Υπουργείο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Περιβάλλοντος &amp; Ενέργειας</a:t>
            </a:r>
            <a:endParaRPr kumimoji="0" lang="x-none"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endParaRPr>
          </a:p>
        </p:txBody>
      </p:sp>
    </p:spTree>
    <p:extLst>
      <p:ext uri="{BB962C8B-B14F-4D97-AF65-F5344CB8AC3E}">
        <p14:creationId xmlns:p14="http://schemas.microsoft.com/office/powerpoint/2010/main" val="9367378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34824-76C0-8A80-8FF3-02333A4C0900}"/>
            </a:ext>
          </a:extLst>
        </p:cNvPr>
        <p:cNvGrpSpPr/>
        <p:nvPr/>
      </p:nvGrpSpPr>
      <p:grpSpPr>
        <a:xfrm>
          <a:off x="0" y="0"/>
          <a:ext cx="0" cy="0"/>
          <a:chOff x="0" y="0"/>
          <a:chExt cx="0" cy="0"/>
        </a:xfrm>
      </p:grpSpPr>
      <p:sp>
        <p:nvSpPr>
          <p:cNvPr id="5" name="Google Shape;1275;p29">
            <a:extLst>
              <a:ext uri="{FF2B5EF4-FFF2-40B4-BE49-F238E27FC236}">
                <a16:creationId xmlns:a16="http://schemas.microsoft.com/office/drawing/2014/main" id="{AFB14930-93DD-2D76-B3B8-4856AC9E7981}"/>
              </a:ext>
            </a:extLst>
          </p:cNvPr>
          <p:cNvSpPr/>
          <p:nvPr/>
        </p:nvSpPr>
        <p:spPr>
          <a:xfrm>
            <a:off x="546459" y="928430"/>
            <a:ext cx="3520458" cy="2454394"/>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1" name="Ορθογώνιο 10">
            <a:extLst>
              <a:ext uri="{FF2B5EF4-FFF2-40B4-BE49-F238E27FC236}">
                <a16:creationId xmlns:a16="http://schemas.microsoft.com/office/drawing/2014/main" id="{6434F6B1-FC66-03C7-F6E5-688D8B49486F}"/>
              </a:ext>
            </a:extLst>
          </p:cNvPr>
          <p:cNvSpPr/>
          <p:nvPr/>
        </p:nvSpPr>
        <p:spPr>
          <a:xfrm>
            <a:off x="780997" y="1039148"/>
            <a:ext cx="3161152" cy="2246769"/>
          </a:xfrm>
          <a:prstGeom prst="rect">
            <a:avLst/>
          </a:prstGeom>
        </p:spPr>
        <p:txBody>
          <a:bodyPr wrap="square" lIns="91440" tIns="45720" rIns="91440" bIns="45720" anchor="t">
            <a:spAutoFit/>
          </a:bodyPr>
          <a:lstStyle/>
          <a:p>
            <a:r>
              <a:rPr lang="el-GR" sz="1400" kern="0" dirty="0">
                <a:solidFill>
                  <a:srgbClr val="002060"/>
                </a:solidFill>
                <a:cs typeface="Arial"/>
              </a:rPr>
              <a:t>Ανατέθηκε στην ΕΕΣΥΠ η διαδικασία για την ωρίμαση, ανάπτυξη και αξιοποίηση των εγκαταστάσεων και του ακινήτου που διαχειρίζεται το ΝΠΔΔ "Εθνικό Χιονοδρομικό Κέντρο </a:t>
            </a:r>
            <a:r>
              <a:rPr lang="el-GR" sz="1400" kern="0" dirty="0" err="1">
                <a:solidFill>
                  <a:srgbClr val="002060"/>
                </a:solidFill>
                <a:cs typeface="Arial"/>
              </a:rPr>
              <a:t>Βασιλίτσας</a:t>
            </a:r>
            <a:r>
              <a:rPr lang="el-GR" sz="1400" kern="0" dirty="0">
                <a:solidFill>
                  <a:srgbClr val="002060"/>
                </a:solidFill>
                <a:cs typeface="Arial"/>
              </a:rPr>
              <a:t>" με αντικείμενο τον εκσυγχρονισμό, τη βελτίωση και επέκταση των εγκαταστάσεών του και την αναβάθμιση των παρεχόμενων υπηρεσιών. </a:t>
            </a:r>
          </a:p>
        </p:txBody>
      </p:sp>
      <p:sp>
        <p:nvSpPr>
          <p:cNvPr id="15" name="Google Shape;414;p13">
            <a:extLst>
              <a:ext uri="{FF2B5EF4-FFF2-40B4-BE49-F238E27FC236}">
                <a16:creationId xmlns:a16="http://schemas.microsoft.com/office/drawing/2014/main" id="{A4E9A59B-A985-646C-9811-5F2E0C5EC24C}"/>
              </a:ext>
            </a:extLst>
          </p:cNvPr>
          <p:cNvSpPr/>
          <p:nvPr/>
        </p:nvSpPr>
        <p:spPr>
          <a:xfrm>
            <a:off x="779435" y="158892"/>
            <a:ext cx="11416078" cy="371184"/>
          </a:xfrm>
          <a:prstGeom prst="rect">
            <a:avLst/>
          </a:prstGeom>
          <a:noFill/>
          <a:ln>
            <a:noFill/>
          </a:ln>
        </p:spPr>
        <p:txBody>
          <a:bodyPr spcFirstLastPara="1" wrap="square" lIns="0" tIns="0" rIns="0" bIns="0" anchor="t" anchorCtr="0">
            <a:noAutofit/>
          </a:bodyPr>
          <a:lstStyle/>
          <a:p>
            <a:pPr defTabSz="609630">
              <a:lnSpc>
                <a:spcPct val="117222"/>
              </a:lnSpc>
              <a:defRPr/>
            </a:pPr>
            <a:r>
              <a:rPr lang="el-GR" sz="3300" kern="0">
                <a:solidFill>
                  <a:srgbClr val="002060"/>
                </a:solidFill>
                <a:latin typeface="Arial Black"/>
              </a:rPr>
              <a:t>Εθνικό Χιονοδρομικό Κέντρο </a:t>
            </a:r>
            <a:r>
              <a:rPr lang="el-GR" sz="3300" kern="0" err="1">
                <a:solidFill>
                  <a:srgbClr val="002060"/>
                </a:solidFill>
                <a:latin typeface="Arial Black"/>
              </a:rPr>
              <a:t>Βασιλίτσας</a:t>
            </a:r>
          </a:p>
        </p:txBody>
      </p:sp>
      <p:cxnSp>
        <p:nvCxnSpPr>
          <p:cNvPr id="17" name="Ευθεία γραμμή σύνδεσης 16">
            <a:extLst>
              <a:ext uri="{FF2B5EF4-FFF2-40B4-BE49-F238E27FC236}">
                <a16:creationId xmlns:a16="http://schemas.microsoft.com/office/drawing/2014/main" id="{5F651960-FD07-8D8F-9128-3F6169EF067F}"/>
              </a:ext>
            </a:extLst>
          </p:cNvPr>
          <p:cNvCxnSpPr/>
          <p:nvPr/>
        </p:nvCxnSpPr>
        <p:spPr>
          <a:xfrm>
            <a:off x="381959" y="749874"/>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pic>
        <p:nvPicPr>
          <p:cNvPr id="4" name="Εικόνα 3" descr="Εικόνα που περιέχει κείμενο, χάρτης, Άτλας&#10;&#10;Το περιεχόμενο που δημιουργείται από ΑΙ μπορεί να μην είναι σωστό.">
            <a:extLst>
              <a:ext uri="{FF2B5EF4-FFF2-40B4-BE49-F238E27FC236}">
                <a16:creationId xmlns:a16="http://schemas.microsoft.com/office/drawing/2014/main" id="{3C5F1477-9117-AC78-0CC4-99839E302E72}"/>
              </a:ext>
            </a:extLst>
          </p:cNvPr>
          <p:cNvPicPr>
            <a:picLocks noChangeAspect="1"/>
          </p:cNvPicPr>
          <p:nvPr/>
        </p:nvPicPr>
        <p:blipFill>
          <a:blip r:embed="rId2"/>
          <a:stretch>
            <a:fillRect/>
          </a:stretch>
        </p:blipFill>
        <p:spPr>
          <a:xfrm>
            <a:off x="7814762" y="925680"/>
            <a:ext cx="4232609" cy="5056772"/>
          </a:xfrm>
          <a:prstGeom prst="rect">
            <a:avLst/>
          </a:prstGeom>
        </p:spPr>
      </p:pic>
      <p:sp>
        <p:nvSpPr>
          <p:cNvPr id="10" name="Google Shape;1275;p29">
            <a:extLst>
              <a:ext uri="{FF2B5EF4-FFF2-40B4-BE49-F238E27FC236}">
                <a16:creationId xmlns:a16="http://schemas.microsoft.com/office/drawing/2014/main" id="{4FA52808-1C7E-730C-8D39-93A62754492B}"/>
              </a:ext>
            </a:extLst>
          </p:cNvPr>
          <p:cNvSpPr/>
          <p:nvPr/>
        </p:nvSpPr>
        <p:spPr>
          <a:xfrm>
            <a:off x="546459" y="3545298"/>
            <a:ext cx="3520458" cy="2454394"/>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2" name="Ορθογώνιο 11">
            <a:extLst>
              <a:ext uri="{FF2B5EF4-FFF2-40B4-BE49-F238E27FC236}">
                <a16:creationId xmlns:a16="http://schemas.microsoft.com/office/drawing/2014/main" id="{85F8FBE9-C1A1-C8EC-2660-3A230B40D864}"/>
              </a:ext>
            </a:extLst>
          </p:cNvPr>
          <p:cNvSpPr/>
          <p:nvPr/>
        </p:nvSpPr>
        <p:spPr>
          <a:xfrm>
            <a:off x="780997" y="3716174"/>
            <a:ext cx="3060889" cy="1938992"/>
          </a:xfrm>
          <a:prstGeom prst="rect">
            <a:avLst/>
          </a:prstGeom>
        </p:spPr>
        <p:txBody>
          <a:bodyPr wrap="square" lIns="91440" tIns="45720" rIns="91440" bIns="45720" anchor="t">
            <a:spAutoFit/>
          </a:bodyPr>
          <a:lstStyle/>
          <a:p>
            <a:r>
              <a:rPr lang="el-GR" sz="1200" kern="0" dirty="0">
                <a:solidFill>
                  <a:srgbClr val="002060"/>
                </a:solidFill>
                <a:cs typeface="Arial"/>
              </a:rPr>
              <a:t>Την 5η Ιουλίου 2024 η ΕΕΣΥΠ εκκίνησε διεθνή διαγωνιστική διαδικασία δύο φάσεων για την παραχώρηση του δικαιώματος χρήσης, λειτουργίας, διαχείρισης και εκμετάλλευσης του ΕΧΚΒ.</a:t>
            </a:r>
            <a:endParaRPr lang="el-GR" dirty="0"/>
          </a:p>
          <a:p>
            <a:pPr marL="171450" indent="-171450">
              <a:buFont typeface="Calibri"/>
              <a:buChar char="-"/>
            </a:pPr>
            <a:r>
              <a:rPr lang="el-GR" sz="1200" kern="0" dirty="0">
                <a:solidFill>
                  <a:srgbClr val="002060"/>
                </a:solidFill>
                <a:cs typeface="Arial"/>
              </a:rPr>
              <a:t>  Στη διαγωνιστική διαδικασία συμμετέχουν 3 ενδιαφερόμενα μέρη. </a:t>
            </a:r>
          </a:p>
          <a:p>
            <a:pPr marL="171450" indent="-171450">
              <a:buFont typeface="Calibri"/>
              <a:buChar char="-"/>
            </a:pPr>
            <a:r>
              <a:rPr lang="el-GR" sz="1200" kern="0" dirty="0">
                <a:solidFill>
                  <a:srgbClr val="002060"/>
                </a:solidFill>
                <a:cs typeface="Arial"/>
              </a:rPr>
              <a:t>Θα αποτελέσει την πρώτη σύμβαση παραχώρησης για χιονοδρομικό κέντρο στην Ελλάδα. </a:t>
            </a:r>
          </a:p>
        </p:txBody>
      </p:sp>
      <p:sp>
        <p:nvSpPr>
          <p:cNvPr id="16" name="Google Shape;1275;p29">
            <a:extLst>
              <a:ext uri="{FF2B5EF4-FFF2-40B4-BE49-F238E27FC236}">
                <a16:creationId xmlns:a16="http://schemas.microsoft.com/office/drawing/2014/main" id="{562F5ED3-FB58-1860-A981-8CF98BEC9DC5}"/>
              </a:ext>
            </a:extLst>
          </p:cNvPr>
          <p:cNvSpPr/>
          <p:nvPr/>
        </p:nvSpPr>
        <p:spPr>
          <a:xfrm>
            <a:off x="4165959" y="928430"/>
            <a:ext cx="3520458" cy="2454394"/>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8" name="Ορθογώνιο 17">
            <a:extLst>
              <a:ext uri="{FF2B5EF4-FFF2-40B4-BE49-F238E27FC236}">
                <a16:creationId xmlns:a16="http://schemas.microsoft.com/office/drawing/2014/main" id="{23D07FC0-EB45-FE25-0C49-1AA4A5D36D1D}"/>
              </a:ext>
            </a:extLst>
          </p:cNvPr>
          <p:cNvSpPr/>
          <p:nvPr/>
        </p:nvSpPr>
        <p:spPr>
          <a:xfrm>
            <a:off x="4460655" y="1039147"/>
            <a:ext cx="3060889" cy="1815882"/>
          </a:xfrm>
          <a:prstGeom prst="rect">
            <a:avLst/>
          </a:prstGeom>
        </p:spPr>
        <p:txBody>
          <a:bodyPr wrap="square" lIns="91440" tIns="45720" rIns="91440" bIns="45720" anchor="t">
            <a:spAutoFit/>
          </a:bodyPr>
          <a:lstStyle/>
          <a:p>
            <a:r>
              <a:rPr lang="el-GR" sz="1400" kern="0">
                <a:solidFill>
                  <a:srgbClr val="002060"/>
                </a:solidFill>
                <a:cs typeface="Arial"/>
              </a:rPr>
              <a:t>Παράλληλα με τη διαγωνιστική διαδικασία και σε συνεργασία με τα Υπουργεία Τουρισμού και Περιβάλλοντος, βρίσκεται σε εξέλιξη προσπάθεια για τη βελτίωση του υφιστάμενου θεσμικού πλαισίου για μία πιο οικονομικά βιώσιμη τουριστική ανάπτυξη του ΕΚΧΒ. </a:t>
            </a:r>
            <a:endParaRPr lang="el-GR" sz="1400">
              <a:cs typeface="Arial"/>
            </a:endParaRPr>
          </a:p>
        </p:txBody>
      </p:sp>
      <p:sp>
        <p:nvSpPr>
          <p:cNvPr id="19" name="Google Shape;1275;p29">
            <a:extLst>
              <a:ext uri="{FF2B5EF4-FFF2-40B4-BE49-F238E27FC236}">
                <a16:creationId xmlns:a16="http://schemas.microsoft.com/office/drawing/2014/main" id="{E44D2A37-BB78-A394-4F9F-6D4F4412D573}"/>
              </a:ext>
            </a:extLst>
          </p:cNvPr>
          <p:cNvSpPr/>
          <p:nvPr/>
        </p:nvSpPr>
        <p:spPr>
          <a:xfrm>
            <a:off x="4165959" y="3545298"/>
            <a:ext cx="3520458" cy="2454394"/>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20" name="Ορθογώνιο 19">
            <a:extLst>
              <a:ext uri="{FF2B5EF4-FFF2-40B4-BE49-F238E27FC236}">
                <a16:creationId xmlns:a16="http://schemas.microsoft.com/office/drawing/2014/main" id="{DDED5FF8-BFA9-6ADC-DFBD-3797502D6D2A}"/>
              </a:ext>
            </a:extLst>
          </p:cNvPr>
          <p:cNvSpPr/>
          <p:nvPr/>
        </p:nvSpPr>
        <p:spPr>
          <a:xfrm>
            <a:off x="4400497" y="3615911"/>
            <a:ext cx="3060889" cy="2308324"/>
          </a:xfrm>
          <a:prstGeom prst="rect">
            <a:avLst/>
          </a:prstGeom>
        </p:spPr>
        <p:txBody>
          <a:bodyPr wrap="square" lIns="91440" tIns="45720" rIns="91440" bIns="45720" anchor="t">
            <a:spAutoFit/>
          </a:bodyPr>
          <a:lstStyle/>
          <a:p>
            <a:r>
              <a:rPr lang="el-GR" sz="1200" kern="0">
                <a:solidFill>
                  <a:srgbClr val="002060"/>
                </a:solidFill>
                <a:cs typeface="Arial"/>
              </a:rPr>
              <a:t>Βασικοί άξονες της προσπάθειας: </a:t>
            </a:r>
          </a:p>
          <a:p>
            <a:pPr marL="171450" indent="-171450">
              <a:buFont typeface="Calibri"/>
              <a:buChar char="-"/>
            </a:pPr>
            <a:r>
              <a:rPr lang="el-GR" sz="1200" kern="0">
                <a:solidFill>
                  <a:srgbClr val="002060"/>
                </a:solidFill>
                <a:cs typeface="Arial"/>
              </a:rPr>
              <a:t>Νομιμοποίηση των υφιστάμενων κτηρίων και της λειτουργίας των ορειβατικών καταφυγίων εντός του ΕΧΚΒ</a:t>
            </a:r>
          </a:p>
          <a:p>
            <a:pPr marL="171450" indent="-171450">
              <a:buFont typeface="Calibri"/>
              <a:buChar char="-"/>
            </a:pPr>
            <a:r>
              <a:rPr lang="el-GR" sz="1200" kern="0">
                <a:solidFill>
                  <a:srgbClr val="002060"/>
                </a:solidFill>
                <a:cs typeface="Arial"/>
              </a:rPr>
              <a:t>Εξέταση δυνατότητας δημιουργίας δομών φιλοξενίας με ανεξάρτητα σπίτια, έναντι της κατασκευής ξενοδοχείου ενιαίου όγκου</a:t>
            </a:r>
          </a:p>
          <a:p>
            <a:pPr marL="171450" indent="-171450">
              <a:buFont typeface="Calibri"/>
              <a:buChar char="-"/>
            </a:pPr>
            <a:r>
              <a:rPr lang="el-GR" sz="1200" kern="0">
                <a:solidFill>
                  <a:srgbClr val="002060"/>
                </a:solidFill>
                <a:cs typeface="Arial"/>
              </a:rPr>
              <a:t>Επέκταση των πιστών χιονοδρομίας</a:t>
            </a:r>
          </a:p>
          <a:p>
            <a:pPr marL="171450" indent="-171450">
              <a:buFont typeface="Calibri"/>
              <a:buChar char="-"/>
            </a:pPr>
            <a:r>
              <a:rPr lang="el-GR" sz="1200" kern="0">
                <a:solidFill>
                  <a:srgbClr val="002060"/>
                </a:solidFill>
                <a:cs typeface="Arial"/>
              </a:rPr>
              <a:t>Δημιουργία αθλητικών εγκαταστάσεων για προπόνηση ομάδων </a:t>
            </a:r>
          </a:p>
        </p:txBody>
      </p:sp>
    </p:spTree>
    <p:extLst>
      <p:ext uri="{BB962C8B-B14F-4D97-AF65-F5344CB8AC3E}">
        <p14:creationId xmlns:p14="http://schemas.microsoft.com/office/powerpoint/2010/main" val="16112699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Πίνακας 6">
            <a:extLst>
              <a:ext uri="{FF2B5EF4-FFF2-40B4-BE49-F238E27FC236}">
                <a16:creationId xmlns:a16="http://schemas.microsoft.com/office/drawing/2014/main" id="{D7D59CF0-498B-83DD-65D3-8928B7040DAB}"/>
              </a:ext>
            </a:extLst>
          </p:cNvPr>
          <p:cNvGraphicFramePr>
            <a:graphicFrameLocks noGrp="1"/>
          </p:cNvGraphicFramePr>
          <p:nvPr>
            <p:extLst>
              <p:ext uri="{D42A27DB-BD31-4B8C-83A1-F6EECF244321}">
                <p14:modId xmlns:p14="http://schemas.microsoft.com/office/powerpoint/2010/main" val="1242083327"/>
              </p:ext>
            </p:extLst>
          </p:nvPr>
        </p:nvGraphicFramePr>
        <p:xfrm>
          <a:off x="0" y="471236"/>
          <a:ext cx="12179140" cy="6376736"/>
        </p:xfrm>
        <a:graphic>
          <a:graphicData uri="http://schemas.openxmlformats.org/drawingml/2006/table">
            <a:tbl>
              <a:tblPr firstRow="1" bandRow="1">
                <a:tableStyleId>{5C22544A-7EE6-4342-B048-85BDC9FD1C3A}</a:tableStyleId>
              </a:tblPr>
              <a:tblGrid>
                <a:gridCol w="3044785">
                  <a:extLst>
                    <a:ext uri="{9D8B030D-6E8A-4147-A177-3AD203B41FA5}">
                      <a16:colId xmlns:a16="http://schemas.microsoft.com/office/drawing/2014/main" val="3320007856"/>
                    </a:ext>
                  </a:extLst>
                </a:gridCol>
                <a:gridCol w="3044785">
                  <a:extLst>
                    <a:ext uri="{9D8B030D-6E8A-4147-A177-3AD203B41FA5}">
                      <a16:colId xmlns:a16="http://schemas.microsoft.com/office/drawing/2014/main" val="2653806716"/>
                    </a:ext>
                  </a:extLst>
                </a:gridCol>
                <a:gridCol w="3044785">
                  <a:extLst>
                    <a:ext uri="{9D8B030D-6E8A-4147-A177-3AD203B41FA5}">
                      <a16:colId xmlns:a16="http://schemas.microsoft.com/office/drawing/2014/main" val="1335917415"/>
                    </a:ext>
                  </a:extLst>
                </a:gridCol>
                <a:gridCol w="3044785">
                  <a:extLst>
                    <a:ext uri="{9D8B030D-6E8A-4147-A177-3AD203B41FA5}">
                      <a16:colId xmlns:a16="http://schemas.microsoft.com/office/drawing/2014/main" val="386685399"/>
                    </a:ext>
                  </a:extLst>
                </a:gridCol>
              </a:tblGrid>
              <a:tr h="313214">
                <a:tc>
                  <a:txBody>
                    <a:bodyPr/>
                    <a:lstStyle/>
                    <a:p>
                      <a:pPr algn="ctr"/>
                      <a:r>
                        <a:rPr lang="el-GR"/>
                        <a:t> Γρεβενά</a:t>
                      </a:r>
                      <a:endParaRPr lang="el-GR" err="1"/>
                    </a:p>
                  </a:txBody>
                  <a:tcPr/>
                </a:tc>
                <a:tc>
                  <a:txBody>
                    <a:bodyPr/>
                    <a:lstStyle/>
                    <a:p>
                      <a:pPr algn="ctr"/>
                      <a:r>
                        <a:rPr lang="el-GR"/>
                        <a:t> Κοζάνη</a:t>
                      </a:r>
                    </a:p>
                  </a:txBody>
                  <a:tcPr/>
                </a:tc>
                <a:tc>
                  <a:txBody>
                    <a:bodyPr/>
                    <a:lstStyle/>
                    <a:p>
                      <a:pPr algn="ctr"/>
                      <a:r>
                        <a:rPr lang="el-GR"/>
                        <a:t> Φλώρινα</a:t>
                      </a:r>
                    </a:p>
                  </a:txBody>
                  <a:tcPr/>
                </a:tc>
                <a:tc>
                  <a:txBody>
                    <a:bodyPr/>
                    <a:lstStyle/>
                    <a:p>
                      <a:pPr algn="ctr"/>
                      <a:r>
                        <a:rPr lang="el-GR"/>
                        <a:t> Καστοριά</a:t>
                      </a:r>
                    </a:p>
                  </a:txBody>
                  <a:tcPr/>
                </a:tc>
                <a:extLst>
                  <a:ext uri="{0D108BD9-81ED-4DB2-BD59-A6C34878D82A}">
                    <a16:rowId xmlns:a16="http://schemas.microsoft.com/office/drawing/2014/main" val="2074983212"/>
                  </a:ext>
                </a:extLst>
              </a:tr>
              <a:tr h="6063522">
                <a:tc>
                  <a:txBody>
                    <a:bodyPr/>
                    <a:lstStyle/>
                    <a:p>
                      <a:pPr marL="0" marR="0" lvl="0" indent="0" algn="just">
                        <a:lnSpc>
                          <a:spcPct val="100000"/>
                        </a:lnSpc>
                        <a:spcBef>
                          <a:spcPts val="0"/>
                        </a:spcBef>
                        <a:spcAft>
                          <a:spcPts val="0"/>
                        </a:spcAft>
                        <a:buNone/>
                      </a:pPr>
                      <a:r>
                        <a:rPr lang="el-GR" sz="1200" b="0" i="1" u="none" strike="noStrike" noProof="0" dirty="0">
                          <a:solidFill>
                            <a:srgbClr val="000000"/>
                          </a:solidFill>
                          <a:latin typeface="Calibri"/>
                        </a:rPr>
                        <a:t>Ενότητα Ι</a:t>
                      </a:r>
                      <a:r>
                        <a:rPr lang="el-GR" sz="1200" b="0" i="0" u="none" strike="noStrike" noProof="0" dirty="0">
                          <a:solidFill>
                            <a:srgbClr val="000000"/>
                          </a:solidFill>
                          <a:latin typeface="Calibri"/>
                        </a:rPr>
                        <a:t>: Εκτελείται στις δημοτικές ενότητες Γρεβενών, </a:t>
                      </a:r>
                      <a:r>
                        <a:rPr lang="el-GR" sz="1200" b="0" i="0" u="none" strike="noStrike" noProof="0" dirty="0" err="1">
                          <a:solidFill>
                            <a:srgbClr val="000000"/>
                          </a:solidFill>
                          <a:latin typeface="Calibri"/>
                        </a:rPr>
                        <a:t>Βεντζίου</a:t>
                      </a:r>
                      <a:r>
                        <a:rPr lang="el-GR" sz="1200" b="0" i="0" u="none" strike="noStrike" noProof="0" dirty="0">
                          <a:solidFill>
                            <a:srgbClr val="000000"/>
                          </a:solidFill>
                          <a:latin typeface="Calibri"/>
                        </a:rPr>
                        <a:t> και </a:t>
                      </a:r>
                      <a:r>
                        <a:rPr lang="el-GR" sz="1200" b="0" i="0" u="none" strike="noStrike" noProof="0" dirty="0" err="1">
                          <a:solidFill>
                            <a:srgbClr val="000000"/>
                          </a:solidFill>
                          <a:latin typeface="Calibri"/>
                        </a:rPr>
                        <a:t>Ηρακλεωτών</a:t>
                      </a:r>
                      <a:endParaRPr lang="el-GR" sz="1200" b="0" i="0" u="none" strike="noStrike" noProof="0" dirty="0">
                        <a:solidFill>
                          <a:srgbClr val="000000"/>
                        </a:solidFill>
                        <a:latin typeface="Calibri"/>
                      </a:endParaRPr>
                    </a:p>
                    <a:p>
                      <a:pPr marL="0" marR="0" lvl="0" indent="0" algn="just">
                        <a:lnSpc>
                          <a:spcPct val="100000"/>
                        </a:lnSpc>
                        <a:spcBef>
                          <a:spcPts val="0"/>
                        </a:spcBef>
                        <a:spcAft>
                          <a:spcPts val="0"/>
                        </a:spcAft>
                        <a:buNone/>
                      </a:pPr>
                      <a:endParaRPr lang="el-GR" sz="1200" b="0" i="0" u="none" strike="noStrike" noProof="0" dirty="0">
                        <a:solidFill>
                          <a:srgbClr val="000000"/>
                        </a:solidFill>
                        <a:latin typeface="Calibri"/>
                      </a:endParaRPr>
                    </a:p>
                    <a:p>
                      <a:pPr marL="0" marR="0" lvl="0" indent="0" algn="just">
                        <a:lnSpc>
                          <a:spcPct val="100000"/>
                        </a:lnSpc>
                        <a:spcBef>
                          <a:spcPts val="0"/>
                        </a:spcBef>
                        <a:spcAft>
                          <a:spcPts val="0"/>
                        </a:spcAft>
                        <a:buNone/>
                      </a:pPr>
                      <a:r>
                        <a:rPr lang="el-GR" sz="1200" b="0" i="1" u="none" strike="noStrike" noProof="0" dirty="0">
                          <a:solidFill>
                            <a:schemeClr val="tx1"/>
                          </a:solidFill>
                          <a:latin typeface="Calibri"/>
                        </a:rPr>
                        <a:t>Ενότητα ΙΙ</a:t>
                      </a:r>
                      <a:r>
                        <a:rPr lang="el-GR" sz="1200" b="0" i="0" u="none" strike="noStrike" noProof="0" dirty="0">
                          <a:solidFill>
                            <a:schemeClr val="tx1"/>
                          </a:solidFill>
                          <a:latin typeface="Calibri"/>
                        </a:rPr>
                        <a:t>: Εκτελείται στις δημοτικές ενότητες Αβδέλλας, Αγίου Κοσμά, </a:t>
                      </a:r>
                      <a:r>
                        <a:rPr lang="el-GR" sz="1200" b="0" i="0" u="none" strike="noStrike" noProof="0" dirty="0" err="1">
                          <a:solidFill>
                            <a:schemeClr val="tx1"/>
                          </a:solidFill>
                          <a:latin typeface="Calibri"/>
                        </a:rPr>
                        <a:t>Γοριγιάνη</a:t>
                      </a:r>
                      <a:r>
                        <a:rPr lang="el-GR" sz="1200" b="0" i="0" u="none" strike="noStrike" noProof="0" dirty="0">
                          <a:solidFill>
                            <a:schemeClr val="tx1"/>
                          </a:solidFill>
                          <a:latin typeface="Calibri"/>
                        </a:rPr>
                        <a:t>, Θεοδώρου, Ζιάκα, </a:t>
                      </a:r>
                      <a:r>
                        <a:rPr lang="el-GR" sz="1200" b="0" i="0" u="none" strike="noStrike" noProof="0" dirty="0" err="1">
                          <a:solidFill>
                            <a:schemeClr val="tx1"/>
                          </a:solidFill>
                          <a:latin typeface="Calibri"/>
                        </a:rPr>
                        <a:t>Δοτσίκου</a:t>
                      </a:r>
                      <a:r>
                        <a:rPr lang="el-GR" sz="1200" b="0" i="0" u="none" strike="noStrike" noProof="0" dirty="0">
                          <a:solidFill>
                            <a:schemeClr val="tx1"/>
                          </a:solidFill>
                          <a:latin typeface="Calibri"/>
                        </a:rPr>
                        <a:t>, </a:t>
                      </a:r>
                      <a:r>
                        <a:rPr lang="el-GR" sz="1200" b="0" i="0" u="none" strike="noStrike" noProof="0" dirty="0" err="1">
                          <a:solidFill>
                            <a:schemeClr val="tx1"/>
                          </a:solidFill>
                          <a:latin typeface="Calibri"/>
                        </a:rPr>
                        <a:t>Περιβολίου</a:t>
                      </a:r>
                      <a:r>
                        <a:rPr lang="el-GR" sz="1200" b="0" i="0" u="none" strike="noStrike" noProof="0" dirty="0">
                          <a:solidFill>
                            <a:schemeClr val="tx1"/>
                          </a:solidFill>
                          <a:latin typeface="Calibri"/>
                        </a:rPr>
                        <a:t>, </a:t>
                      </a:r>
                      <a:r>
                        <a:rPr lang="el-GR" sz="1200" b="0" i="0" u="none" strike="noStrike" noProof="0" dirty="0" err="1">
                          <a:solidFill>
                            <a:schemeClr val="tx1"/>
                          </a:solidFill>
                          <a:latin typeface="Calibri"/>
                        </a:rPr>
                        <a:t>Σαμαρίνας</a:t>
                      </a:r>
                      <a:r>
                        <a:rPr lang="el-GR" sz="1200" b="0" i="0" u="none" strike="noStrike" noProof="0" dirty="0">
                          <a:solidFill>
                            <a:schemeClr val="tx1"/>
                          </a:solidFill>
                          <a:latin typeface="Calibri"/>
                        </a:rPr>
                        <a:t>, </a:t>
                      </a:r>
                      <a:r>
                        <a:rPr lang="el-GR" sz="1200" b="0" i="0" u="none" strike="noStrike" noProof="0" dirty="0" err="1">
                          <a:solidFill>
                            <a:schemeClr val="tx1"/>
                          </a:solidFill>
                          <a:latin typeface="Calibri"/>
                        </a:rPr>
                        <a:t>Σμίξης</a:t>
                      </a:r>
                      <a:r>
                        <a:rPr lang="el-GR" sz="1200" b="0" i="0" u="none" strike="noStrike" noProof="0" dirty="0">
                          <a:solidFill>
                            <a:schemeClr val="tx1"/>
                          </a:solidFill>
                          <a:latin typeface="Calibri"/>
                        </a:rPr>
                        <a:t>, </a:t>
                      </a:r>
                      <a:r>
                        <a:rPr lang="el-GR" sz="1200" b="0" i="0" u="none" strike="noStrike" noProof="0" dirty="0" err="1">
                          <a:solidFill>
                            <a:schemeClr val="tx1"/>
                          </a:solidFill>
                          <a:latin typeface="Calibri"/>
                        </a:rPr>
                        <a:t>Μεσολουρίου</a:t>
                      </a:r>
                      <a:r>
                        <a:rPr lang="el-GR" sz="1200" b="0" i="0" u="none" strike="noStrike" noProof="0" dirty="0">
                          <a:solidFill>
                            <a:schemeClr val="tx1"/>
                          </a:solidFill>
                          <a:latin typeface="Calibri"/>
                        </a:rPr>
                        <a:t> και </a:t>
                      </a:r>
                      <a:r>
                        <a:rPr lang="el-GR" sz="1200" b="0" i="0" u="none" strike="noStrike" noProof="0" dirty="0" err="1">
                          <a:solidFill>
                            <a:schemeClr val="tx1"/>
                          </a:solidFill>
                          <a:latin typeface="Calibri"/>
                        </a:rPr>
                        <a:t>Φιλιππαίων</a:t>
                      </a:r>
                      <a:endParaRPr lang="el-GR" sz="1200" dirty="0"/>
                    </a:p>
                    <a:p>
                      <a:pPr marL="0" marR="0" lvl="0" indent="0" algn="just">
                        <a:spcBef>
                          <a:spcPts val="0"/>
                        </a:spcBef>
                        <a:spcAft>
                          <a:spcPts val="0"/>
                        </a:spcAft>
                        <a:buNone/>
                      </a:pPr>
                      <a:r>
                        <a:rPr lang="el-GR" sz="1200" b="1" i="0" u="none" strike="noStrike" noProof="0" dirty="0">
                          <a:solidFill>
                            <a:srgbClr val="000000"/>
                          </a:solidFill>
                          <a:latin typeface="Calibri"/>
                        </a:rPr>
                        <a:t>Πρόοδος υλοποίησης: </a:t>
                      </a:r>
                      <a:endParaRPr lang="el-GR" sz="1200" dirty="0"/>
                    </a:p>
                    <a:p>
                      <a:pPr marL="0" marR="0" lvl="0" indent="0" algn="just">
                        <a:spcBef>
                          <a:spcPts val="0"/>
                        </a:spcBef>
                        <a:spcAft>
                          <a:spcPts val="0"/>
                        </a:spcAft>
                        <a:buNone/>
                      </a:pPr>
                      <a:r>
                        <a:rPr lang="el-GR" sz="1200" b="0" i="0" u="none" strike="noStrike" noProof="0" dirty="0">
                          <a:solidFill>
                            <a:schemeClr val="tx1"/>
                          </a:solidFill>
                          <a:latin typeface="Calibri"/>
                        </a:rPr>
                        <a:t>Σε εξέλιξη οι μελέτες</a:t>
                      </a:r>
                    </a:p>
                    <a:p>
                      <a:pPr marL="0" marR="0" lvl="0" indent="0" algn="just">
                        <a:spcBef>
                          <a:spcPts val="0"/>
                        </a:spcBef>
                        <a:spcAft>
                          <a:spcPts val="0"/>
                        </a:spcAft>
                        <a:buNone/>
                      </a:pPr>
                      <a:r>
                        <a:rPr lang="el-GR" sz="1200" b="1" i="0" u="none" strike="noStrike" noProof="0" dirty="0">
                          <a:solidFill>
                            <a:srgbClr val="000000"/>
                          </a:solidFill>
                          <a:latin typeface="Calibri"/>
                        </a:rPr>
                        <a:t>Εκτιμώμενη ολοκλήρωση</a:t>
                      </a:r>
                      <a:r>
                        <a:rPr lang="el-GR" sz="1200" b="0" i="0" u="none" strike="noStrike" noProof="0" dirty="0">
                          <a:solidFill>
                            <a:srgbClr val="000000"/>
                          </a:solidFill>
                          <a:latin typeface="Calibri"/>
                        </a:rPr>
                        <a:t>: Δεκέμβριος 2025</a:t>
                      </a:r>
                      <a:endParaRPr lang="en-US" sz="1200" b="0" i="0" u="none" strike="noStrike" noProof="0" dirty="0">
                        <a:solidFill>
                          <a:srgbClr val="000000"/>
                        </a:solidFill>
                        <a:latin typeface="Calibri"/>
                      </a:endParaRPr>
                    </a:p>
                    <a:p>
                      <a:pPr marL="0" marR="0" lvl="0" indent="0" algn="just">
                        <a:spcBef>
                          <a:spcPts val="0"/>
                        </a:spcBef>
                        <a:spcAft>
                          <a:spcPts val="0"/>
                        </a:spcAft>
                        <a:buNone/>
                      </a:pPr>
                      <a:endParaRPr lang="el-GR" sz="1200" b="0" i="0" u="none" strike="noStrike" noProof="0" dirty="0">
                        <a:solidFill>
                          <a:schemeClr val="tx1"/>
                        </a:solidFill>
                        <a:latin typeface="Calibri"/>
                      </a:endParaRPr>
                    </a:p>
                    <a:p>
                      <a:pPr marL="0" marR="0" lvl="0" indent="0" algn="just">
                        <a:spcBef>
                          <a:spcPts val="0"/>
                        </a:spcBef>
                        <a:spcAft>
                          <a:spcPts val="0"/>
                        </a:spcAft>
                        <a:buNone/>
                      </a:pPr>
                      <a:endParaRPr lang="el-GR" sz="1400" b="0" i="0" u="none" strike="noStrike" noProof="0" dirty="0">
                        <a:solidFill>
                          <a:schemeClr val="tx1"/>
                        </a:solidFill>
                        <a:latin typeface="Calibri"/>
                      </a:endParaRPr>
                    </a:p>
                    <a:p>
                      <a:pPr marL="0" marR="0" lvl="0" indent="0" algn="just">
                        <a:lnSpc>
                          <a:spcPct val="100000"/>
                        </a:lnSpc>
                        <a:spcBef>
                          <a:spcPts val="0"/>
                        </a:spcBef>
                        <a:spcAft>
                          <a:spcPts val="0"/>
                        </a:spcAft>
                        <a:buNone/>
                      </a:pPr>
                      <a:endParaRPr lang="el-GR" sz="1400" b="0" i="0" u="none" strike="noStrike" noProof="0" dirty="0">
                        <a:solidFill>
                          <a:schemeClr val="tx1"/>
                        </a:solidFill>
                        <a:latin typeface="Calibri"/>
                      </a:endParaRPr>
                    </a:p>
                    <a:p>
                      <a:pPr marL="0" marR="0" lvl="0" indent="0" algn="just">
                        <a:spcBef>
                          <a:spcPts val="0"/>
                        </a:spcBef>
                        <a:spcAft>
                          <a:spcPts val="0"/>
                        </a:spcAft>
                        <a:buNone/>
                      </a:pPr>
                      <a:endParaRPr lang="el-GR" sz="1400" b="0" i="0" u="none" strike="noStrike" noProof="0" dirty="0">
                        <a:solidFill>
                          <a:schemeClr val="tx1"/>
                        </a:solidFill>
                        <a:latin typeface="Calibri"/>
                      </a:endParaRPr>
                    </a:p>
                    <a:p>
                      <a:pPr marL="0" marR="0" lvl="0" indent="0" algn="just">
                        <a:spcBef>
                          <a:spcPts val="0"/>
                        </a:spcBef>
                        <a:spcAft>
                          <a:spcPts val="0"/>
                        </a:spcAft>
                        <a:buNone/>
                      </a:pPr>
                      <a:endParaRPr lang="el-GR" sz="1400" b="0" i="0" u="none" strike="noStrike" noProof="0" dirty="0">
                        <a:solidFill>
                          <a:schemeClr val="tx1"/>
                        </a:solidFill>
                        <a:latin typeface="Calibri"/>
                      </a:endParaRPr>
                    </a:p>
                  </a:txBody>
                  <a:tcPr/>
                </a:tc>
                <a:tc>
                  <a:txBody>
                    <a:bodyPr/>
                    <a:lstStyle/>
                    <a:p>
                      <a:pPr marL="0" marR="0" lvl="0" indent="0" algn="just">
                        <a:lnSpc>
                          <a:spcPct val="100000"/>
                        </a:lnSpc>
                        <a:spcBef>
                          <a:spcPts val="0"/>
                        </a:spcBef>
                        <a:spcAft>
                          <a:spcPts val="0"/>
                        </a:spcAft>
                        <a:buNone/>
                      </a:pPr>
                      <a:r>
                        <a:rPr lang="el-GR" sz="1200" b="0" i="0" u="none" strike="noStrike" noProof="0" dirty="0">
                          <a:solidFill>
                            <a:srgbClr val="000000"/>
                          </a:solidFill>
                          <a:latin typeface="Calibri"/>
                        </a:rPr>
                        <a:t>Εκτελείται στις δημοτικές ενότητες Κοζάνης, </a:t>
                      </a:r>
                      <a:r>
                        <a:rPr lang="el-GR" sz="1200" b="0" i="0" u="none" strike="noStrike" noProof="0" dirty="0" err="1">
                          <a:solidFill>
                            <a:srgbClr val="000000"/>
                          </a:solidFill>
                          <a:latin typeface="Calibri"/>
                        </a:rPr>
                        <a:t>Αιανής</a:t>
                      </a:r>
                      <a:r>
                        <a:rPr lang="el-GR" sz="1200" b="0" i="0" u="none" strike="noStrike" noProof="0" dirty="0">
                          <a:solidFill>
                            <a:srgbClr val="000000"/>
                          </a:solidFill>
                          <a:latin typeface="Calibri"/>
                        </a:rPr>
                        <a:t>, Δημητρίου Υψηλάντη, </a:t>
                      </a:r>
                      <a:r>
                        <a:rPr lang="el-GR" sz="1200" b="0" i="0" u="none" strike="noStrike" noProof="0" dirty="0" err="1">
                          <a:solidFill>
                            <a:srgbClr val="000000"/>
                          </a:solidFill>
                          <a:latin typeface="Calibri"/>
                        </a:rPr>
                        <a:t>Ελίμειας</a:t>
                      </a:r>
                      <a:r>
                        <a:rPr lang="el-GR" sz="1200" b="0" i="0" u="none" strike="noStrike" noProof="0" dirty="0">
                          <a:solidFill>
                            <a:srgbClr val="000000"/>
                          </a:solidFill>
                          <a:latin typeface="Calibri"/>
                        </a:rPr>
                        <a:t> και Ελλησπόντου δήμου Κοζάνης. </a:t>
                      </a:r>
                    </a:p>
                    <a:p>
                      <a:pPr marL="0" marR="0" lvl="0" indent="0" algn="just">
                        <a:lnSpc>
                          <a:spcPct val="100000"/>
                        </a:lnSpc>
                        <a:spcBef>
                          <a:spcPts val="0"/>
                        </a:spcBef>
                        <a:spcAft>
                          <a:spcPts val="0"/>
                        </a:spcAft>
                        <a:buNone/>
                      </a:pPr>
                      <a:r>
                        <a:rPr lang="el-GR" sz="1200" b="1" i="0" u="none" strike="noStrike" noProof="0" dirty="0">
                          <a:solidFill>
                            <a:srgbClr val="000000"/>
                          </a:solidFill>
                          <a:latin typeface="Calibri"/>
                        </a:rPr>
                        <a:t>Πρόοδος υλοποίησης:</a:t>
                      </a:r>
                      <a:endParaRPr lang="el-GR" sz="1200" dirty="0"/>
                    </a:p>
                    <a:p>
                      <a:pPr marL="0" marR="0" lvl="0" indent="0" algn="just">
                        <a:lnSpc>
                          <a:spcPct val="100000"/>
                        </a:lnSpc>
                        <a:spcBef>
                          <a:spcPts val="0"/>
                        </a:spcBef>
                        <a:spcAft>
                          <a:spcPts val="0"/>
                        </a:spcAft>
                        <a:buNone/>
                      </a:pPr>
                      <a:r>
                        <a:rPr lang="el-GR" sz="1200" b="0" i="0" u="none" strike="noStrike" noProof="0" dirty="0">
                          <a:solidFill>
                            <a:srgbClr val="000000"/>
                          </a:solidFill>
                          <a:latin typeface="Calibri"/>
                        </a:rPr>
                        <a:t>Βρίσκεται σε εξέλιξη το 1ο Στάδιο της Α’ Φάσης </a:t>
                      </a:r>
                      <a:r>
                        <a:rPr lang="el-GR" sz="1200" b="0" i="0" u="none" strike="noStrike" noProof="0" dirty="0">
                          <a:solidFill>
                            <a:schemeClr val="tx1"/>
                          </a:solidFill>
                          <a:latin typeface="Calibri"/>
                        </a:rPr>
                        <a:t>και γίνεται σ</a:t>
                      </a:r>
                      <a:r>
                        <a:rPr lang="el-GR" sz="1200" b="0" i="0" u="none" strike="noStrike" noProof="0" dirty="0">
                          <a:solidFill>
                            <a:srgbClr val="000000"/>
                          </a:solidFill>
                          <a:latin typeface="Calibri"/>
                        </a:rPr>
                        <a:t>υλλογή και επεξεργασία δεδομένων για την εκπόνηση του Α’ Σταδίου της ανάλυσης. Έχει υποβληθεί η Α’ Φάση της ΣΜΠΕ.</a:t>
                      </a:r>
                      <a:endParaRPr lang="el-GR" sz="1200" dirty="0"/>
                    </a:p>
                    <a:p>
                      <a:pPr marL="0" marR="0" lvl="0" indent="0" algn="just">
                        <a:lnSpc>
                          <a:spcPct val="100000"/>
                        </a:lnSpc>
                        <a:spcBef>
                          <a:spcPts val="0"/>
                        </a:spcBef>
                        <a:spcAft>
                          <a:spcPts val="0"/>
                        </a:spcAft>
                        <a:buNone/>
                      </a:pPr>
                      <a:r>
                        <a:rPr lang="el-GR" sz="1200" b="0" i="0" u="none" strike="noStrike" noProof="0" dirty="0">
                          <a:solidFill>
                            <a:srgbClr val="000000"/>
                          </a:solidFill>
                          <a:latin typeface="Calibri"/>
                        </a:rPr>
                        <a:t>Εκτελείται στις δημοτικές ενότητες </a:t>
                      </a:r>
                      <a:r>
                        <a:rPr lang="el-GR" sz="1200" b="0" i="0" u="none" strike="noStrike" noProof="0" dirty="0" err="1">
                          <a:solidFill>
                            <a:srgbClr val="000000"/>
                          </a:solidFill>
                          <a:latin typeface="Calibri"/>
                        </a:rPr>
                        <a:t>Σερβίων</a:t>
                      </a:r>
                      <a:r>
                        <a:rPr lang="el-GR" sz="1200" b="0" i="0" u="none" strike="noStrike" noProof="0" dirty="0">
                          <a:solidFill>
                            <a:srgbClr val="000000"/>
                          </a:solidFill>
                          <a:latin typeface="Calibri"/>
                        </a:rPr>
                        <a:t>, </a:t>
                      </a:r>
                      <a:r>
                        <a:rPr lang="el-GR" sz="1200" b="0" i="0" u="none" strike="noStrike" noProof="0" dirty="0" err="1">
                          <a:solidFill>
                            <a:srgbClr val="000000"/>
                          </a:solidFill>
                          <a:latin typeface="Calibri"/>
                        </a:rPr>
                        <a:t>Καμβουνίων</a:t>
                      </a:r>
                      <a:r>
                        <a:rPr lang="el-GR" sz="1200" b="0" i="0" u="none" strike="noStrike" noProof="0" dirty="0">
                          <a:solidFill>
                            <a:srgbClr val="000000"/>
                          </a:solidFill>
                          <a:latin typeface="Calibri"/>
                        </a:rPr>
                        <a:t> και </a:t>
                      </a:r>
                      <a:r>
                        <a:rPr lang="el-GR" sz="1200" b="0" i="0" u="none" strike="noStrike" noProof="0" dirty="0" err="1">
                          <a:solidFill>
                            <a:srgbClr val="000000"/>
                          </a:solidFill>
                          <a:latin typeface="Calibri"/>
                        </a:rPr>
                        <a:t>Λιβαδερού</a:t>
                      </a:r>
                      <a:r>
                        <a:rPr lang="el-GR" sz="1200" b="0" i="0" u="none" strike="noStrike" noProof="0" dirty="0">
                          <a:solidFill>
                            <a:srgbClr val="000000"/>
                          </a:solidFill>
                          <a:latin typeface="Calibri"/>
                        </a:rPr>
                        <a:t> δήμου </a:t>
                      </a:r>
                      <a:r>
                        <a:rPr lang="el-GR" sz="1200" b="0" i="0" u="none" strike="noStrike" noProof="0" dirty="0" err="1">
                          <a:solidFill>
                            <a:srgbClr val="000000"/>
                          </a:solidFill>
                          <a:latin typeface="Calibri"/>
                        </a:rPr>
                        <a:t>Σερβίων</a:t>
                      </a:r>
                      <a:r>
                        <a:rPr lang="el-GR" sz="1200" b="0" i="0" u="none" strike="noStrike" noProof="0" dirty="0">
                          <a:solidFill>
                            <a:srgbClr val="000000"/>
                          </a:solidFill>
                          <a:latin typeface="Calibri"/>
                        </a:rPr>
                        <a:t> και στον δήμο </a:t>
                      </a:r>
                      <a:r>
                        <a:rPr lang="el-GR" sz="1200" b="0" i="0" u="none" strike="noStrike" noProof="0" dirty="0" err="1">
                          <a:solidFill>
                            <a:srgbClr val="000000"/>
                          </a:solidFill>
                          <a:latin typeface="Calibri"/>
                        </a:rPr>
                        <a:t>Βελβεντού</a:t>
                      </a:r>
                      <a:r>
                        <a:rPr lang="el-GR" sz="1200" b="0" i="0" u="none" strike="noStrike" noProof="0" dirty="0">
                          <a:solidFill>
                            <a:srgbClr val="000000"/>
                          </a:solidFill>
                          <a:latin typeface="Calibri"/>
                        </a:rPr>
                        <a:t>, και στις δημοτικές ενότητες Νεάπολης, Ασκίου κα </a:t>
                      </a:r>
                      <a:r>
                        <a:rPr lang="el-GR" sz="1200" b="0" i="0" u="none" strike="noStrike" noProof="0" dirty="0" err="1">
                          <a:solidFill>
                            <a:srgbClr val="000000"/>
                          </a:solidFill>
                          <a:latin typeface="Calibri"/>
                        </a:rPr>
                        <a:t>Τσοτυλίου</a:t>
                      </a:r>
                      <a:r>
                        <a:rPr lang="el-GR" sz="1200" b="0" i="0" u="none" strike="noStrike" noProof="0" dirty="0">
                          <a:solidFill>
                            <a:srgbClr val="000000"/>
                          </a:solidFill>
                          <a:latin typeface="Calibri"/>
                        </a:rPr>
                        <a:t> δήμου </a:t>
                      </a:r>
                      <a:r>
                        <a:rPr lang="el-GR" sz="1200" b="0" i="0" u="none" strike="noStrike" noProof="0" dirty="0" err="1">
                          <a:solidFill>
                            <a:srgbClr val="000000"/>
                          </a:solidFill>
                          <a:latin typeface="Calibri"/>
                        </a:rPr>
                        <a:t>Βοϊου</a:t>
                      </a:r>
                      <a:r>
                        <a:rPr lang="el-GR" sz="1200" b="0" i="0" u="none" strike="noStrike" noProof="0" dirty="0">
                          <a:solidFill>
                            <a:srgbClr val="000000"/>
                          </a:solidFill>
                          <a:latin typeface="Calibri"/>
                        </a:rPr>
                        <a:t> και στις δημοτικές ενότητες </a:t>
                      </a:r>
                      <a:r>
                        <a:rPr lang="el-GR" sz="1200" b="0" i="0" u="none" strike="noStrike" noProof="0" dirty="0" err="1">
                          <a:solidFill>
                            <a:srgbClr val="000000"/>
                          </a:solidFill>
                          <a:latin typeface="Calibri"/>
                        </a:rPr>
                        <a:t>Πτολεμαϊδας</a:t>
                      </a:r>
                      <a:r>
                        <a:rPr lang="el-GR" sz="1200" b="0" i="0" u="none" strike="noStrike" noProof="0" dirty="0">
                          <a:solidFill>
                            <a:srgbClr val="000000"/>
                          </a:solidFill>
                          <a:latin typeface="Calibri"/>
                        </a:rPr>
                        <a:t>, Αγίας Παρασκευής, Βερμίου, Βλάστης και </a:t>
                      </a:r>
                      <a:r>
                        <a:rPr lang="el-GR" sz="1200" b="0" i="0" u="none" strike="noStrike" noProof="0" dirty="0" err="1">
                          <a:solidFill>
                            <a:srgbClr val="000000"/>
                          </a:solidFill>
                          <a:latin typeface="Calibri"/>
                        </a:rPr>
                        <a:t>Μουρικίου</a:t>
                      </a:r>
                      <a:r>
                        <a:rPr lang="el-GR" sz="1200" b="0" i="0" u="none" strike="noStrike" noProof="0" dirty="0">
                          <a:solidFill>
                            <a:srgbClr val="000000"/>
                          </a:solidFill>
                          <a:latin typeface="Calibri"/>
                        </a:rPr>
                        <a:t> δήμου Εορδαίας. </a:t>
                      </a:r>
                    </a:p>
                    <a:p>
                      <a:pPr marL="0" marR="0" lvl="0" indent="0" algn="just">
                        <a:lnSpc>
                          <a:spcPct val="100000"/>
                        </a:lnSpc>
                        <a:spcBef>
                          <a:spcPts val="0"/>
                        </a:spcBef>
                        <a:spcAft>
                          <a:spcPts val="0"/>
                        </a:spcAft>
                        <a:buNone/>
                      </a:pPr>
                      <a:r>
                        <a:rPr lang="el-GR" sz="1200" b="1" i="0" u="none" strike="noStrike" noProof="0" dirty="0">
                          <a:solidFill>
                            <a:srgbClr val="000000"/>
                          </a:solidFill>
                          <a:latin typeface="Calibri"/>
                        </a:rPr>
                        <a:t>Πρόοδος υλοποίησης:</a:t>
                      </a:r>
                      <a:endParaRPr lang="el-GR" sz="1200" dirty="0">
                        <a:latin typeface="Calibri"/>
                      </a:endParaRPr>
                    </a:p>
                    <a:p>
                      <a:pPr marL="0" marR="0" lvl="0" indent="0" algn="just">
                        <a:spcBef>
                          <a:spcPts val="0"/>
                        </a:spcBef>
                        <a:spcAft>
                          <a:spcPts val="0"/>
                        </a:spcAft>
                        <a:buNone/>
                      </a:pPr>
                      <a:r>
                        <a:rPr lang="el-GR" sz="1200" b="0" i="0" u="none" strike="noStrike" noProof="0" dirty="0">
                          <a:solidFill>
                            <a:srgbClr val="000000"/>
                          </a:solidFill>
                          <a:latin typeface="Calibri"/>
                        </a:rPr>
                        <a:t>Βρίσκεται σε εξέλιξη το 1ο Στάδιο της Α’ Φάσης </a:t>
                      </a:r>
                      <a:r>
                        <a:rPr lang="el-GR" sz="1200" b="0" i="0" u="none" strike="noStrike" noProof="0" dirty="0">
                          <a:solidFill>
                            <a:schemeClr val="tx1"/>
                          </a:solidFill>
                          <a:latin typeface="Calibri"/>
                        </a:rPr>
                        <a:t>και γίνεται σ</a:t>
                      </a:r>
                      <a:r>
                        <a:rPr lang="el-GR" sz="1200" b="0" i="0" u="none" strike="noStrike" noProof="0" dirty="0">
                          <a:solidFill>
                            <a:srgbClr val="000000"/>
                          </a:solidFill>
                          <a:latin typeface="Calibri"/>
                        </a:rPr>
                        <a:t>υλλογή και επεξεργασία δεδομένων για την εκπόνηση του Α’ Σταδίου της ανάλυσης. Έχει υποβληθεί η Α’ Φάση της ΣΜΠΕ καθώς και η Προκαταρκτική Μελέτη Γεωλογικής </a:t>
                      </a:r>
                      <a:r>
                        <a:rPr lang="el-GR" sz="1200" b="0" i="0" u="none" strike="noStrike" noProof="0" dirty="0" err="1">
                          <a:solidFill>
                            <a:srgbClr val="000000"/>
                          </a:solidFill>
                          <a:latin typeface="Calibri"/>
                        </a:rPr>
                        <a:t>Καταλληλότητας</a:t>
                      </a:r>
                      <a:r>
                        <a:rPr lang="el-GR" sz="1200" b="0" i="0" u="none" strike="noStrike" noProof="0" dirty="0">
                          <a:solidFill>
                            <a:srgbClr val="000000"/>
                          </a:solidFill>
                          <a:latin typeface="Calibri"/>
                        </a:rPr>
                        <a:t> (ΠΜΓΚ).</a:t>
                      </a:r>
                    </a:p>
                    <a:p>
                      <a:pPr marL="0" marR="0" lvl="0" indent="0" algn="just">
                        <a:spcBef>
                          <a:spcPts val="0"/>
                        </a:spcBef>
                        <a:spcAft>
                          <a:spcPts val="0"/>
                        </a:spcAft>
                        <a:buNone/>
                      </a:pPr>
                      <a:r>
                        <a:rPr lang="el-GR" sz="1200" b="1" i="0" u="none" strike="noStrike" noProof="0" dirty="0">
                          <a:solidFill>
                            <a:srgbClr val="000000"/>
                          </a:solidFill>
                          <a:latin typeface="Calibri"/>
                        </a:rPr>
                        <a:t>Εκτιμώμενη ολοκλήρωση</a:t>
                      </a:r>
                      <a:r>
                        <a:rPr lang="el-GR" sz="1200" b="0" i="0" u="none" strike="noStrike" noProof="0" dirty="0">
                          <a:solidFill>
                            <a:srgbClr val="000000"/>
                          </a:solidFill>
                          <a:latin typeface="Calibri"/>
                        </a:rPr>
                        <a:t>: Δεκέμβριος 2025</a:t>
                      </a:r>
                      <a:endParaRPr lang="en-US" sz="1200" b="0" i="0" u="none" strike="noStrike" noProof="0" dirty="0">
                        <a:solidFill>
                          <a:srgbClr val="000000"/>
                        </a:solidFill>
                        <a:latin typeface="Calibri"/>
                      </a:endParaRPr>
                    </a:p>
                    <a:p>
                      <a:pPr marL="0" marR="0" lvl="0" indent="0" algn="just">
                        <a:spcBef>
                          <a:spcPts val="0"/>
                        </a:spcBef>
                        <a:spcAft>
                          <a:spcPts val="0"/>
                        </a:spcAft>
                        <a:buNone/>
                      </a:pPr>
                      <a:endParaRPr lang="el-GR" sz="1200" b="0" i="0" u="none" strike="noStrike" noProof="0" dirty="0">
                        <a:solidFill>
                          <a:srgbClr val="000000"/>
                        </a:solidFill>
                        <a:latin typeface="Calibri"/>
                      </a:endParaRPr>
                    </a:p>
                  </a:txBody>
                  <a:tcPr/>
                </a:tc>
                <a:tc>
                  <a:txBody>
                    <a:bodyPr/>
                    <a:lstStyle/>
                    <a:p>
                      <a:pPr marL="0" marR="0" lvl="0" indent="0" algn="just">
                        <a:lnSpc>
                          <a:spcPct val="100000"/>
                        </a:lnSpc>
                        <a:spcBef>
                          <a:spcPts val="0"/>
                        </a:spcBef>
                        <a:spcAft>
                          <a:spcPts val="0"/>
                        </a:spcAft>
                        <a:buNone/>
                      </a:pPr>
                      <a:r>
                        <a:rPr lang="el-GR" sz="1200" b="0" i="0" u="none" strike="noStrike" noProof="0" dirty="0">
                          <a:solidFill>
                            <a:srgbClr val="000000"/>
                          </a:solidFill>
                          <a:latin typeface="Calibri"/>
                        </a:rPr>
                        <a:t>Εκτελείται στις δημοτικές ενότητες Φλώρινας, Κάτω Κλεινών, Μελίτη και Περάσματος δήμου Φλώρινας και στις δημοτικές ενότητες Αμυνταίου, Αετού, </a:t>
                      </a:r>
                      <a:r>
                        <a:rPr lang="el-GR" sz="1200" b="0" i="0" u="none" strike="noStrike" noProof="0" dirty="0" err="1">
                          <a:solidFill>
                            <a:srgbClr val="000000"/>
                          </a:solidFill>
                          <a:latin typeface="Calibri"/>
                        </a:rPr>
                        <a:t>Βαρίκου</a:t>
                      </a:r>
                      <a:r>
                        <a:rPr lang="el-GR" sz="1200" b="0" i="0" u="none" strike="noStrike" noProof="0" dirty="0">
                          <a:solidFill>
                            <a:srgbClr val="000000"/>
                          </a:solidFill>
                          <a:latin typeface="Calibri"/>
                        </a:rPr>
                        <a:t>, </a:t>
                      </a:r>
                      <a:r>
                        <a:rPr lang="el-GR" sz="1200" b="0" i="0" u="none" strike="noStrike" noProof="0" dirty="0" err="1">
                          <a:solidFill>
                            <a:srgbClr val="000000"/>
                          </a:solidFill>
                          <a:latin typeface="Calibri"/>
                        </a:rPr>
                        <a:t>Λεχόβου</a:t>
                      </a:r>
                      <a:r>
                        <a:rPr lang="el-GR" sz="1200" b="0" i="0" u="none" strike="noStrike" noProof="0" dirty="0">
                          <a:solidFill>
                            <a:srgbClr val="000000"/>
                          </a:solidFill>
                          <a:latin typeface="Calibri"/>
                        </a:rPr>
                        <a:t>, Νυμφαίου και Φιλώτα δήμου Αμυνταίου</a:t>
                      </a:r>
                      <a:endParaRPr lang="el-GR" sz="1200" b="1" i="0" u="none" strike="noStrike" noProof="0" dirty="0">
                        <a:solidFill>
                          <a:srgbClr val="002060"/>
                        </a:solidFill>
                        <a:latin typeface="Calibri"/>
                      </a:endParaRPr>
                    </a:p>
                    <a:p>
                      <a:pPr marL="0" marR="0" lvl="0" indent="0" algn="just">
                        <a:lnSpc>
                          <a:spcPct val="100000"/>
                        </a:lnSpc>
                        <a:spcBef>
                          <a:spcPts val="0"/>
                        </a:spcBef>
                        <a:spcAft>
                          <a:spcPts val="0"/>
                        </a:spcAft>
                        <a:buNone/>
                      </a:pPr>
                      <a:r>
                        <a:rPr lang="el-GR" sz="1200" b="1" i="0" u="none" strike="noStrike" noProof="0" dirty="0">
                          <a:solidFill>
                            <a:srgbClr val="000000"/>
                          </a:solidFill>
                          <a:latin typeface="Calibri"/>
                        </a:rPr>
                        <a:t>Πρόοδος υλοποίησης:</a:t>
                      </a:r>
                      <a:endParaRPr lang="el-GR" sz="1200" b="0" i="0" u="none" strike="noStrike" noProof="0" dirty="0">
                        <a:solidFill>
                          <a:srgbClr val="000000"/>
                        </a:solidFill>
                        <a:latin typeface="Calibri"/>
                      </a:endParaRPr>
                    </a:p>
                    <a:p>
                      <a:pPr marL="0" marR="0" lvl="0" indent="0" algn="just">
                        <a:spcBef>
                          <a:spcPts val="0"/>
                        </a:spcBef>
                        <a:spcAft>
                          <a:spcPts val="0"/>
                        </a:spcAft>
                        <a:buNone/>
                      </a:pPr>
                      <a:r>
                        <a:rPr lang="el-GR" sz="1200" b="0" i="0" u="none" strike="noStrike" noProof="0" dirty="0">
                          <a:solidFill>
                            <a:srgbClr val="000000"/>
                          </a:solidFill>
                          <a:latin typeface="Calibri"/>
                        </a:rPr>
                        <a:t>Βρίσκεται σε εξέλιξη το 1ο Στάδιο της Α’ Φάσης </a:t>
                      </a:r>
                      <a:r>
                        <a:rPr lang="el-GR" sz="1200" b="0" i="0" u="none" strike="noStrike" noProof="0" dirty="0">
                          <a:solidFill>
                            <a:schemeClr val="tx1"/>
                          </a:solidFill>
                          <a:latin typeface="Calibri"/>
                        </a:rPr>
                        <a:t>και γίνεται σ</a:t>
                      </a:r>
                      <a:r>
                        <a:rPr lang="el-GR" sz="1200" b="0" i="0" u="none" strike="noStrike" noProof="0" dirty="0">
                          <a:solidFill>
                            <a:srgbClr val="000000"/>
                          </a:solidFill>
                          <a:latin typeface="Calibri"/>
                        </a:rPr>
                        <a:t>υλλογή και επεξεργασία δεδομένων για την εκπόνηση του Α’ Σταδίου της ανάλυσης.</a:t>
                      </a:r>
                      <a:endParaRPr lang="el-GR" sz="1200" dirty="0"/>
                    </a:p>
                    <a:p>
                      <a:pPr marL="0" marR="0" lvl="0" indent="0" algn="just">
                        <a:spcBef>
                          <a:spcPts val="0"/>
                        </a:spcBef>
                        <a:spcAft>
                          <a:spcPts val="0"/>
                        </a:spcAft>
                        <a:buNone/>
                      </a:pPr>
                      <a:r>
                        <a:rPr lang="el-GR" sz="1200" b="1" i="0" u="none" strike="noStrike" noProof="0" dirty="0">
                          <a:solidFill>
                            <a:srgbClr val="000000"/>
                          </a:solidFill>
                          <a:latin typeface="Calibri"/>
                        </a:rPr>
                        <a:t>Εκτιμώμενη ολοκλήρωση</a:t>
                      </a:r>
                      <a:r>
                        <a:rPr lang="el-GR" sz="1200" b="0" i="0" u="none" strike="noStrike" noProof="0" dirty="0">
                          <a:solidFill>
                            <a:srgbClr val="000000"/>
                          </a:solidFill>
                          <a:latin typeface="Calibri"/>
                        </a:rPr>
                        <a:t>: Δεκέμβριος 2025</a:t>
                      </a:r>
                    </a:p>
                    <a:p>
                      <a:pPr lvl="0">
                        <a:buNone/>
                      </a:pPr>
                      <a:endParaRPr lang="el-GR" sz="1200" b="0" i="0" u="none" strike="noStrike" noProof="0" dirty="0">
                        <a:solidFill>
                          <a:srgbClr val="000000"/>
                        </a:solidFill>
                        <a:latin typeface="Calibri"/>
                      </a:endParaRPr>
                    </a:p>
                  </a:txBody>
                  <a:tcPr/>
                </a:tc>
                <a:tc>
                  <a:txBody>
                    <a:bodyPr/>
                    <a:lstStyle/>
                    <a:p>
                      <a:pPr marL="0" marR="0" lvl="0" indent="0" algn="just">
                        <a:lnSpc>
                          <a:spcPct val="100000"/>
                        </a:lnSpc>
                        <a:spcBef>
                          <a:spcPts val="0"/>
                        </a:spcBef>
                        <a:spcAft>
                          <a:spcPts val="0"/>
                        </a:spcAft>
                        <a:buNone/>
                      </a:pPr>
                      <a:r>
                        <a:rPr lang="el-GR" sz="1200" b="0" i="0" u="none" strike="noStrike" noProof="0" dirty="0">
                          <a:solidFill>
                            <a:srgbClr val="000000"/>
                          </a:solidFill>
                          <a:latin typeface="Calibri"/>
                        </a:rPr>
                        <a:t>Εκτελείται μελέτη οριοθέτησης οικισμών δημοτικών ενοτήτων Καστοριάς, Αγίας Τριάδος, Αγίων Αναργύρων, Βίτσιου, Καστρακίου, Κλεισούρας, </a:t>
                      </a:r>
                      <a:r>
                        <a:rPr lang="el-GR" sz="1200" b="0" i="0" u="none" strike="noStrike" noProof="0" dirty="0" err="1">
                          <a:solidFill>
                            <a:srgbClr val="000000"/>
                          </a:solidFill>
                          <a:latin typeface="Calibri"/>
                        </a:rPr>
                        <a:t>Κορεστίων</a:t>
                      </a:r>
                      <a:r>
                        <a:rPr lang="el-GR" sz="1200" b="0" i="0" u="none" strike="noStrike" noProof="0" dirty="0">
                          <a:solidFill>
                            <a:srgbClr val="000000"/>
                          </a:solidFill>
                          <a:latin typeface="Calibri"/>
                        </a:rPr>
                        <a:t>, </a:t>
                      </a:r>
                      <a:r>
                        <a:rPr lang="el-GR" sz="1200" b="0" i="0" u="none" strike="noStrike" noProof="0" dirty="0" err="1">
                          <a:solidFill>
                            <a:srgbClr val="000000"/>
                          </a:solidFill>
                          <a:latin typeface="Calibri"/>
                        </a:rPr>
                        <a:t>Μακεδνών</a:t>
                      </a:r>
                      <a:r>
                        <a:rPr lang="el-GR" sz="1200" b="0" i="0" u="none" strike="noStrike" noProof="0" dirty="0">
                          <a:solidFill>
                            <a:srgbClr val="000000"/>
                          </a:solidFill>
                          <a:latin typeface="Calibri"/>
                        </a:rPr>
                        <a:t> και Μεσοποταμίας δήμου Καστοριάς </a:t>
                      </a:r>
                      <a:endParaRPr lang="el-GR" dirty="0"/>
                    </a:p>
                    <a:p>
                      <a:pPr marL="0" marR="0" lvl="0" indent="0" algn="just">
                        <a:spcBef>
                          <a:spcPts val="0"/>
                        </a:spcBef>
                        <a:spcAft>
                          <a:spcPts val="0"/>
                        </a:spcAft>
                        <a:buNone/>
                      </a:pPr>
                      <a:r>
                        <a:rPr lang="el-GR" sz="1200" b="1" i="0" u="none" strike="noStrike" noProof="0" dirty="0">
                          <a:solidFill>
                            <a:srgbClr val="000000"/>
                          </a:solidFill>
                          <a:latin typeface="Calibri"/>
                        </a:rPr>
                        <a:t>Πρόοδος υλοποίησης: </a:t>
                      </a:r>
                      <a:r>
                        <a:rPr lang="el-GR" sz="1200" b="0" i="0" u="none" strike="noStrike" noProof="0" dirty="0">
                          <a:solidFill>
                            <a:srgbClr val="000000"/>
                          </a:solidFill>
                          <a:latin typeface="Calibri"/>
                        </a:rPr>
                        <a:t>Η εκπόνηση της μελέτης βρίσκεται σε εξέλιξη και βαίνει προς ολοκλήρωση το 1</a:t>
                      </a:r>
                      <a:r>
                        <a:rPr lang="el-GR" sz="1200" b="0" i="0" u="none" strike="noStrike" baseline="30000" noProof="0" dirty="0">
                          <a:solidFill>
                            <a:srgbClr val="000000"/>
                          </a:solidFill>
                          <a:latin typeface="Calibri"/>
                        </a:rPr>
                        <a:t>ο</a:t>
                      </a:r>
                      <a:r>
                        <a:rPr lang="el-GR" sz="1200" b="0" i="0" u="none" strike="noStrike" noProof="0" dirty="0">
                          <a:solidFill>
                            <a:srgbClr val="000000"/>
                          </a:solidFill>
                          <a:latin typeface="Calibri"/>
                        </a:rPr>
                        <a:t> Στάδιο αυτής. </a:t>
                      </a:r>
                    </a:p>
                    <a:p>
                      <a:pPr marL="0" marR="0" lvl="0" indent="0" algn="just">
                        <a:spcBef>
                          <a:spcPts val="0"/>
                        </a:spcBef>
                        <a:spcAft>
                          <a:spcPts val="0"/>
                        </a:spcAft>
                        <a:buNone/>
                      </a:pPr>
                      <a:r>
                        <a:rPr lang="el-GR" sz="1200" b="1" i="0" u="none" strike="noStrike" noProof="0" dirty="0">
                          <a:solidFill>
                            <a:srgbClr val="000000"/>
                          </a:solidFill>
                          <a:latin typeface="Calibri"/>
                        </a:rPr>
                        <a:t>Εκτιμώμενη ολοκλήρωση</a:t>
                      </a:r>
                      <a:r>
                        <a:rPr lang="el-GR" sz="1200" b="0" i="0" u="none" strike="noStrike" noProof="0" dirty="0">
                          <a:solidFill>
                            <a:srgbClr val="000000"/>
                          </a:solidFill>
                          <a:latin typeface="Calibri"/>
                        </a:rPr>
                        <a:t>: Οκτώβριος 2025</a:t>
                      </a:r>
                      <a:endParaRPr lang="en-US" sz="1200" b="0" i="0" u="none" strike="noStrike" noProof="0" dirty="0">
                        <a:solidFill>
                          <a:srgbClr val="000000"/>
                        </a:solidFill>
                        <a:latin typeface="Calibri"/>
                      </a:endParaRPr>
                    </a:p>
                    <a:p>
                      <a:pPr marL="0" marR="0" lvl="0" indent="0" algn="just">
                        <a:spcBef>
                          <a:spcPts val="0"/>
                        </a:spcBef>
                        <a:spcAft>
                          <a:spcPts val="0"/>
                        </a:spcAft>
                        <a:buNone/>
                      </a:pPr>
                      <a:endParaRPr lang="el-GR" sz="1200" b="0" i="0" u="none" strike="noStrike" noProof="0" dirty="0">
                        <a:solidFill>
                          <a:srgbClr val="000000"/>
                        </a:solidFill>
                        <a:latin typeface="Calibri"/>
                      </a:endParaRPr>
                    </a:p>
                    <a:p>
                      <a:pPr marL="0" marR="0" lvl="0" indent="0" algn="just">
                        <a:lnSpc>
                          <a:spcPct val="100000"/>
                        </a:lnSpc>
                        <a:spcBef>
                          <a:spcPts val="0"/>
                        </a:spcBef>
                        <a:spcAft>
                          <a:spcPts val="0"/>
                        </a:spcAft>
                        <a:buNone/>
                      </a:pPr>
                      <a:r>
                        <a:rPr lang="el-GR" sz="1200" b="0" i="0" u="none" strike="noStrike" noProof="0" dirty="0">
                          <a:solidFill>
                            <a:srgbClr val="000000"/>
                          </a:solidFill>
                          <a:latin typeface="Calibri"/>
                        </a:rPr>
                        <a:t>Εκτελείται μελέτη οριοθέτησης οικισμών δημοτικών ενοτήτων Ακριτών, Νεστορίου, Γράμμου, Αρρένων δήμου Νεστορίου. </a:t>
                      </a:r>
                    </a:p>
                    <a:p>
                      <a:pPr marL="0" marR="0" lvl="0" indent="0" algn="just">
                        <a:spcBef>
                          <a:spcPts val="0"/>
                        </a:spcBef>
                        <a:spcAft>
                          <a:spcPts val="0"/>
                        </a:spcAft>
                        <a:buNone/>
                      </a:pPr>
                      <a:r>
                        <a:rPr lang="el-GR" sz="1200" b="1" i="0" u="none" strike="noStrike" noProof="0" dirty="0">
                          <a:solidFill>
                            <a:srgbClr val="000000"/>
                          </a:solidFill>
                          <a:latin typeface="Calibri"/>
                        </a:rPr>
                        <a:t>Πρόοδος υλοποίησης: </a:t>
                      </a:r>
                      <a:endParaRPr lang="el-GR" sz="1600" b="1" i="0" u="none" strike="noStrike" noProof="0" dirty="0">
                        <a:solidFill>
                          <a:srgbClr val="000000"/>
                        </a:solidFill>
                        <a:latin typeface="Calibri"/>
                      </a:endParaRPr>
                    </a:p>
                    <a:p>
                      <a:pPr marL="0" marR="0" lvl="0" indent="0" algn="just">
                        <a:spcBef>
                          <a:spcPts val="0"/>
                        </a:spcBef>
                        <a:spcAft>
                          <a:spcPts val="0"/>
                        </a:spcAft>
                        <a:buNone/>
                      </a:pPr>
                      <a:r>
                        <a:rPr lang="el-GR" sz="1200" b="0" i="0" u="none" strike="noStrike" noProof="0" dirty="0">
                          <a:solidFill>
                            <a:schemeClr val="tx1"/>
                          </a:solidFill>
                          <a:latin typeface="Calibri"/>
                        </a:rPr>
                        <a:t>Σε εξέλιξη οι μελέτες</a:t>
                      </a:r>
                    </a:p>
                    <a:p>
                      <a:pPr marL="0" marR="0" lvl="0" indent="0" algn="just">
                        <a:spcBef>
                          <a:spcPts val="0"/>
                        </a:spcBef>
                        <a:spcAft>
                          <a:spcPts val="0"/>
                        </a:spcAft>
                        <a:buNone/>
                      </a:pPr>
                      <a:r>
                        <a:rPr lang="el-GR" sz="1200" b="1" i="0" u="none" strike="noStrike" noProof="0" dirty="0">
                          <a:solidFill>
                            <a:srgbClr val="000000"/>
                          </a:solidFill>
                          <a:latin typeface="Calibri"/>
                        </a:rPr>
                        <a:t>Εκτιμώμενη ολοκλήρωση</a:t>
                      </a:r>
                      <a:r>
                        <a:rPr lang="el-GR" sz="1200" b="0" i="0" u="none" strike="noStrike" noProof="0" dirty="0">
                          <a:solidFill>
                            <a:srgbClr val="000000"/>
                          </a:solidFill>
                          <a:latin typeface="Calibri"/>
                        </a:rPr>
                        <a:t>: Δεκέμβριος 2025</a:t>
                      </a:r>
                      <a:endParaRPr lang="en-US" sz="1200" b="0" i="0" u="none" strike="noStrike" noProof="0" dirty="0">
                        <a:solidFill>
                          <a:srgbClr val="000000"/>
                        </a:solidFill>
                        <a:latin typeface="Calibri"/>
                      </a:endParaRPr>
                    </a:p>
                    <a:p>
                      <a:pPr marL="0" marR="0" lvl="0" indent="0" algn="just">
                        <a:spcBef>
                          <a:spcPts val="0"/>
                        </a:spcBef>
                        <a:spcAft>
                          <a:spcPts val="0"/>
                        </a:spcAft>
                        <a:buNone/>
                      </a:pPr>
                      <a:endParaRPr lang="el-GR" sz="1200" b="0" i="0" u="none" strike="noStrike" noProof="0" dirty="0">
                        <a:solidFill>
                          <a:schemeClr val="tx1"/>
                        </a:solidFill>
                        <a:latin typeface="Calibri"/>
                      </a:endParaRPr>
                    </a:p>
                    <a:p>
                      <a:pPr marL="0" marR="0" lvl="0" indent="0" algn="just">
                        <a:lnSpc>
                          <a:spcPct val="100000"/>
                        </a:lnSpc>
                        <a:spcBef>
                          <a:spcPts val="0"/>
                        </a:spcBef>
                        <a:spcAft>
                          <a:spcPts val="0"/>
                        </a:spcAft>
                        <a:buNone/>
                      </a:pPr>
                      <a:endParaRPr lang="el-GR" sz="1200" b="0" i="0" u="none" strike="noStrike" noProof="0" dirty="0">
                        <a:solidFill>
                          <a:srgbClr val="000000"/>
                        </a:solidFill>
                        <a:latin typeface="Calibri"/>
                      </a:endParaRPr>
                    </a:p>
                    <a:p>
                      <a:pPr marL="0" marR="0" lvl="0" indent="0" algn="just">
                        <a:spcBef>
                          <a:spcPts val="0"/>
                        </a:spcBef>
                        <a:spcAft>
                          <a:spcPts val="0"/>
                        </a:spcAft>
                        <a:buNone/>
                      </a:pPr>
                      <a:endParaRPr lang="el-GR" sz="1200" b="0" i="0" u="none" strike="noStrike" noProof="0" dirty="0">
                        <a:solidFill>
                          <a:srgbClr val="000000"/>
                        </a:solidFill>
                        <a:latin typeface="Calibri"/>
                      </a:endParaRPr>
                    </a:p>
                    <a:p>
                      <a:pPr marL="0" marR="0" lvl="0" indent="0" algn="just">
                        <a:spcBef>
                          <a:spcPts val="0"/>
                        </a:spcBef>
                        <a:spcAft>
                          <a:spcPts val="0"/>
                        </a:spcAft>
                        <a:buNone/>
                      </a:pPr>
                      <a:endParaRPr lang="el-GR" sz="1200" b="0" i="0" u="none" strike="noStrike" noProof="0" dirty="0">
                        <a:solidFill>
                          <a:srgbClr val="000000"/>
                        </a:solidFill>
                        <a:latin typeface="Calibri"/>
                      </a:endParaRPr>
                    </a:p>
                    <a:p>
                      <a:pPr marL="0" marR="0" lvl="0" indent="0" algn="just">
                        <a:spcBef>
                          <a:spcPts val="0"/>
                        </a:spcBef>
                        <a:spcAft>
                          <a:spcPts val="0"/>
                        </a:spcAft>
                        <a:buNone/>
                      </a:pPr>
                      <a:endParaRPr lang="el-GR" sz="1200" b="0" i="0" u="none" strike="noStrike" noProof="0" dirty="0">
                        <a:solidFill>
                          <a:srgbClr val="000000"/>
                        </a:solidFill>
                        <a:latin typeface="Calibri"/>
                      </a:endParaRPr>
                    </a:p>
                    <a:p>
                      <a:pPr marL="0" marR="0" lvl="0" indent="0" algn="just">
                        <a:spcBef>
                          <a:spcPts val="0"/>
                        </a:spcBef>
                        <a:spcAft>
                          <a:spcPts val="0"/>
                        </a:spcAft>
                        <a:buNone/>
                      </a:pPr>
                      <a:endParaRPr lang="el-GR" sz="1200" b="0" i="0" u="none" strike="noStrike" noProof="0" dirty="0">
                        <a:solidFill>
                          <a:srgbClr val="000000"/>
                        </a:solidFill>
                        <a:latin typeface="Calibri"/>
                      </a:endParaRPr>
                    </a:p>
                  </a:txBody>
                  <a:tcPr/>
                </a:tc>
                <a:extLst>
                  <a:ext uri="{0D108BD9-81ED-4DB2-BD59-A6C34878D82A}">
                    <a16:rowId xmlns:a16="http://schemas.microsoft.com/office/drawing/2014/main" val="4195823581"/>
                  </a:ext>
                </a:extLst>
              </a:tr>
            </a:tbl>
          </a:graphicData>
        </a:graphic>
      </p:graphicFrame>
      <p:sp>
        <p:nvSpPr>
          <p:cNvPr id="11" name="Οβάλ 10">
            <a:extLst>
              <a:ext uri="{FF2B5EF4-FFF2-40B4-BE49-F238E27FC236}">
                <a16:creationId xmlns:a16="http://schemas.microsoft.com/office/drawing/2014/main" id="{71CBDAB3-FA51-078D-394B-7F57C6E81D71}"/>
              </a:ext>
            </a:extLst>
          </p:cNvPr>
          <p:cNvSpPr/>
          <p:nvPr/>
        </p:nvSpPr>
        <p:spPr>
          <a:xfrm>
            <a:off x="2982686" y="5295900"/>
            <a:ext cx="2976858" cy="1459547"/>
          </a:xfrm>
          <a:prstGeom prst="ellipse">
            <a:avLst/>
          </a:prstGeom>
          <a:solidFill>
            <a:schemeClr val="accent2">
              <a:lumMod val="20000"/>
              <a:lumOff val="80000"/>
            </a:schemeClr>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l-GR" sz="1200" b="1" dirty="0">
                <a:solidFill>
                  <a:srgbClr val="002060"/>
                </a:solidFill>
                <a:ea typeface="+mn-lt"/>
                <a:cs typeface="+mn-lt"/>
              </a:rPr>
              <a:t>Ειδικό Πολεοδομικό Σχέδιο (ΕΠΣ) πυρήνων Ζωνών </a:t>
            </a:r>
            <a:r>
              <a:rPr lang="el-GR" sz="1200" b="1" dirty="0" err="1">
                <a:solidFill>
                  <a:srgbClr val="002060"/>
                </a:solidFill>
                <a:ea typeface="+mn-lt"/>
                <a:cs typeface="+mn-lt"/>
              </a:rPr>
              <a:t>Απολιγνιτοποίησης</a:t>
            </a:r>
            <a:r>
              <a:rPr lang="el-GR" sz="1200" b="1" dirty="0">
                <a:solidFill>
                  <a:srgbClr val="002060"/>
                </a:solidFill>
                <a:ea typeface="+mn-lt"/>
                <a:cs typeface="+mn-lt"/>
              </a:rPr>
              <a:t> Ζ.ΑΠ. Αμυνταίου- Κλειδιού- Αχλάδας</a:t>
            </a:r>
            <a:endParaRPr lang="en-US" sz="1200" dirty="0">
              <a:solidFill>
                <a:srgbClr val="002060"/>
              </a:solidFill>
              <a:ea typeface="+mn-lt"/>
              <a:cs typeface="+mn-lt"/>
            </a:endParaRPr>
          </a:p>
        </p:txBody>
      </p:sp>
      <p:sp>
        <p:nvSpPr>
          <p:cNvPr id="3" name="Google Shape;414;p13">
            <a:extLst>
              <a:ext uri="{FF2B5EF4-FFF2-40B4-BE49-F238E27FC236}">
                <a16:creationId xmlns:a16="http://schemas.microsoft.com/office/drawing/2014/main" id="{5DEE26E6-6FE6-B4E0-72DE-157C6762AE82}"/>
              </a:ext>
            </a:extLst>
          </p:cNvPr>
          <p:cNvSpPr/>
          <p:nvPr/>
        </p:nvSpPr>
        <p:spPr>
          <a:xfrm>
            <a:off x="4168330" y="98734"/>
            <a:ext cx="4157027" cy="371184"/>
          </a:xfrm>
          <a:prstGeom prst="rect">
            <a:avLst/>
          </a:prstGeom>
          <a:noFill/>
          <a:ln>
            <a:noFill/>
          </a:ln>
        </p:spPr>
        <p:txBody>
          <a:bodyPr spcFirstLastPara="1" wrap="square" lIns="0" tIns="0" rIns="0" bIns="0" anchor="t" anchorCtr="0">
            <a:noAutofit/>
          </a:bodyPr>
          <a:lstStyle/>
          <a:p>
            <a:pPr defTabSz="609630">
              <a:lnSpc>
                <a:spcPct val="117222"/>
              </a:lnSpc>
              <a:defRPr/>
            </a:pPr>
            <a:r>
              <a:rPr lang="el-GR" sz="2000" kern="0">
                <a:solidFill>
                  <a:srgbClr val="002060"/>
                </a:solidFill>
                <a:latin typeface="Arial Black"/>
                <a:sym typeface="Arial Black"/>
              </a:rPr>
              <a:t>Τοπικά Πολεοδομικά Σχέδια </a:t>
            </a:r>
            <a:endParaRPr lang="el-GR" sz="2000">
              <a:cs typeface="Arial"/>
            </a:endParaRPr>
          </a:p>
        </p:txBody>
      </p:sp>
    </p:spTree>
    <p:extLst>
      <p:ext uri="{BB962C8B-B14F-4D97-AF65-F5344CB8AC3E}">
        <p14:creationId xmlns:p14="http://schemas.microsoft.com/office/powerpoint/2010/main" val="31494607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748A02-F794-621C-39D7-D75958D918B0}"/>
            </a:ext>
          </a:extLst>
        </p:cNvPr>
        <p:cNvGrpSpPr/>
        <p:nvPr/>
      </p:nvGrpSpPr>
      <p:grpSpPr>
        <a:xfrm>
          <a:off x="0" y="0"/>
          <a:ext cx="0" cy="0"/>
          <a:chOff x="0" y="0"/>
          <a:chExt cx="0" cy="0"/>
        </a:xfrm>
      </p:grpSpPr>
      <p:sp>
        <p:nvSpPr>
          <p:cNvPr id="4" name="Google Shape;1275;p29">
            <a:extLst>
              <a:ext uri="{FF2B5EF4-FFF2-40B4-BE49-F238E27FC236}">
                <a16:creationId xmlns:a16="http://schemas.microsoft.com/office/drawing/2014/main" id="{6BA5BD45-796B-7F17-83BB-8638724311DD}"/>
              </a:ext>
            </a:extLst>
          </p:cNvPr>
          <p:cNvSpPr/>
          <p:nvPr/>
        </p:nvSpPr>
        <p:spPr>
          <a:xfrm>
            <a:off x="436169" y="1766061"/>
            <a:ext cx="2948958" cy="2073394"/>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5" name="Google Shape;1282;p29">
            <a:extLst>
              <a:ext uri="{FF2B5EF4-FFF2-40B4-BE49-F238E27FC236}">
                <a16:creationId xmlns:a16="http://schemas.microsoft.com/office/drawing/2014/main" id="{9CDB47DF-8622-1B12-CE3C-476343B4A23B}"/>
              </a:ext>
            </a:extLst>
          </p:cNvPr>
          <p:cNvSpPr/>
          <p:nvPr/>
        </p:nvSpPr>
        <p:spPr>
          <a:xfrm>
            <a:off x="364631" y="985694"/>
            <a:ext cx="3082738" cy="1058736"/>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200" b="1" kern="0">
                <a:solidFill>
                  <a:srgbClr val="002060"/>
                </a:solidFill>
                <a:latin typeface="Arial"/>
                <a:ea typeface="+mn-lt"/>
                <a:cs typeface="+mn-lt"/>
                <a:sym typeface="Arial"/>
              </a:rPr>
              <a:t>Εκπόνηση Ειδικής Περιβαλλοντικής Μελέτης και Σχεδίου Διαχείρισης για τις περιοχές του δικτύου </a:t>
            </a:r>
            <a:r>
              <a:rPr lang="el-GR" sz="1200" b="1" kern="0" err="1">
                <a:solidFill>
                  <a:srgbClr val="002060"/>
                </a:solidFill>
                <a:latin typeface="Arial"/>
                <a:ea typeface="+mn-lt"/>
                <a:cs typeface="+mn-lt"/>
                <a:sym typeface="Arial"/>
              </a:rPr>
              <a:t>Natura</a:t>
            </a:r>
            <a:r>
              <a:rPr lang="el-GR" sz="1200" b="1" kern="0">
                <a:solidFill>
                  <a:srgbClr val="002060"/>
                </a:solidFill>
                <a:latin typeface="Arial"/>
                <a:ea typeface="+mn-lt"/>
                <a:cs typeface="+mn-lt"/>
                <a:sym typeface="Arial"/>
              </a:rPr>
              <a:t> 2000</a:t>
            </a:r>
            <a:endParaRPr lang="el-GR" sz="1200" b="1" kern="0">
              <a:solidFill>
                <a:srgbClr val="002060"/>
              </a:solidFill>
              <a:latin typeface="Arial"/>
              <a:ea typeface="+mn-lt"/>
              <a:cs typeface="+mn-lt"/>
            </a:endParaRPr>
          </a:p>
        </p:txBody>
      </p:sp>
      <p:sp>
        <p:nvSpPr>
          <p:cNvPr id="9" name="Ορθογώνιο 8">
            <a:extLst>
              <a:ext uri="{FF2B5EF4-FFF2-40B4-BE49-F238E27FC236}">
                <a16:creationId xmlns:a16="http://schemas.microsoft.com/office/drawing/2014/main" id="{2F3676D9-2A48-0EDA-4106-4FB89C4E4BEF}"/>
              </a:ext>
            </a:extLst>
          </p:cNvPr>
          <p:cNvSpPr/>
          <p:nvPr/>
        </p:nvSpPr>
        <p:spPr>
          <a:xfrm>
            <a:off x="549882" y="2038797"/>
            <a:ext cx="2713887" cy="954107"/>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Υ:</a:t>
            </a:r>
            <a:r>
              <a:rPr lang="el-GR" sz="1400" b="1" i="1" kern="0">
                <a:solidFill>
                  <a:srgbClr val="002060"/>
                </a:solidFill>
                <a:ea typeface="+mn-lt"/>
                <a:cs typeface="+mn-lt"/>
                <a:sym typeface="Arial"/>
              </a:rPr>
              <a:t> 1,17 εκ € (σύνολο Π.Ε. Θεσπρωτίας, Ιωαννίνων, </a:t>
            </a:r>
            <a:r>
              <a:rPr lang="el-GR" sz="1400" b="1" i="1" kern="0">
                <a:solidFill>
                  <a:srgbClr val="00B0F0"/>
                </a:solidFill>
                <a:ea typeface="+mn-lt"/>
                <a:cs typeface="+mn-lt"/>
                <a:sym typeface="Arial"/>
              </a:rPr>
              <a:t>Γρεβενών</a:t>
            </a:r>
            <a:r>
              <a:rPr lang="el-GR" sz="1400" b="1" i="1" kern="0">
                <a:solidFill>
                  <a:srgbClr val="002060"/>
                </a:solidFill>
                <a:ea typeface="+mn-lt"/>
                <a:cs typeface="+mn-lt"/>
                <a:sym typeface="Arial"/>
              </a:rPr>
              <a:t>, Πρέβεζας και Άρτας)</a:t>
            </a:r>
          </a:p>
          <a:p>
            <a:r>
              <a:rPr lang="el-GR" sz="1400" kern="0">
                <a:solidFill>
                  <a:srgbClr val="002060"/>
                </a:solidFill>
                <a:ea typeface="+mn-lt"/>
                <a:cs typeface="+mn-lt"/>
              </a:rPr>
              <a:t>Εκτιμώμενη ολοκλήρωση: 2025</a:t>
            </a:r>
          </a:p>
        </p:txBody>
      </p:sp>
      <p:sp>
        <p:nvSpPr>
          <p:cNvPr id="8" name="Google Shape;1275;p29">
            <a:extLst>
              <a:ext uri="{FF2B5EF4-FFF2-40B4-BE49-F238E27FC236}">
                <a16:creationId xmlns:a16="http://schemas.microsoft.com/office/drawing/2014/main" id="{422474F7-E6A8-987B-7FA0-2CE821847155}"/>
              </a:ext>
            </a:extLst>
          </p:cNvPr>
          <p:cNvSpPr/>
          <p:nvPr/>
        </p:nvSpPr>
        <p:spPr>
          <a:xfrm>
            <a:off x="4473432" y="1338462"/>
            <a:ext cx="2957079" cy="207101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lang="el-GR">
              <a:solidFill>
                <a:srgbClr val="000000"/>
              </a:solidFill>
              <a:ea typeface="Calibri"/>
              <a:cs typeface="Calibri"/>
            </a:endParaRPr>
          </a:p>
        </p:txBody>
      </p:sp>
      <p:sp>
        <p:nvSpPr>
          <p:cNvPr id="12" name="Google Shape;1282;p29">
            <a:extLst>
              <a:ext uri="{FF2B5EF4-FFF2-40B4-BE49-F238E27FC236}">
                <a16:creationId xmlns:a16="http://schemas.microsoft.com/office/drawing/2014/main" id="{9328B0E7-8EB7-4AB1-B675-D2E3AF3F0D21}"/>
              </a:ext>
            </a:extLst>
          </p:cNvPr>
          <p:cNvSpPr/>
          <p:nvPr/>
        </p:nvSpPr>
        <p:spPr>
          <a:xfrm>
            <a:off x="4319774" y="545685"/>
            <a:ext cx="3073186" cy="106446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l-GR" sz="1200" b="1" kern="0">
                <a:solidFill>
                  <a:srgbClr val="002060"/>
                </a:solidFill>
                <a:latin typeface="Arial"/>
                <a:ea typeface="+mn-lt"/>
                <a:cs typeface="+mn-lt"/>
                <a:sym typeface="Arial"/>
              </a:rPr>
              <a:t>Εκπόνηση Ειδικής Περιβαλλοντικής Μελέτης και </a:t>
            </a:r>
            <a:r>
              <a:rPr lang="el-GR" sz="1200" b="1" kern="0">
                <a:solidFill>
                  <a:srgbClr val="002060"/>
                </a:solidFill>
                <a:latin typeface="Arial"/>
                <a:ea typeface="+mn-lt"/>
                <a:cs typeface="+mn-lt"/>
              </a:rPr>
              <a:t>Σχεδίου Διαχείρισης για τις περιοχές του δικτύου </a:t>
            </a:r>
            <a:r>
              <a:rPr lang="el-GR" sz="1200" b="1" kern="0" err="1">
                <a:solidFill>
                  <a:srgbClr val="002060"/>
                </a:solidFill>
                <a:latin typeface="Arial"/>
                <a:ea typeface="+mn-lt"/>
                <a:cs typeface="+mn-lt"/>
              </a:rPr>
              <a:t>Natura</a:t>
            </a:r>
            <a:r>
              <a:rPr lang="el-GR" sz="1200" b="1" kern="0">
                <a:solidFill>
                  <a:srgbClr val="002060"/>
                </a:solidFill>
                <a:latin typeface="Arial"/>
                <a:ea typeface="+mn-lt"/>
                <a:cs typeface="+mn-lt"/>
              </a:rPr>
              <a:t> 2000 </a:t>
            </a:r>
            <a:endParaRPr lang="el-GR" sz="1200" b="1">
              <a:latin typeface="Arial"/>
              <a:ea typeface="+mn-lt"/>
              <a:cs typeface="+mn-lt"/>
            </a:endParaRPr>
          </a:p>
        </p:txBody>
      </p:sp>
      <p:sp>
        <p:nvSpPr>
          <p:cNvPr id="16" name="Ορθογώνιο 15">
            <a:extLst>
              <a:ext uri="{FF2B5EF4-FFF2-40B4-BE49-F238E27FC236}">
                <a16:creationId xmlns:a16="http://schemas.microsoft.com/office/drawing/2014/main" id="{92ED134D-3F76-9A90-DB09-F26A745737BA}"/>
              </a:ext>
            </a:extLst>
          </p:cNvPr>
          <p:cNvSpPr/>
          <p:nvPr/>
        </p:nvSpPr>
        <p:spPr>
          <a:xfrm>
            <a:off x="4471129" y="1604033"/>
            <a:ext cx="2628899" cy="1169551"/>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Υ: </a:t>
            </a:r>
            <a:r>
              <a:rPr lang="el-GR" sz="1400" b="1" i="1" kern="0">
                <a:solidFill>
                  <a:srgbClr val="002060"/>
                </a:solidFill>
                <a:ea typeface="+mn-lt"/>
                <a:cs typeface="+mn-lt"/>
                <a:sym typeface="Arial"/>
              </a:rPr>
              <a:t>1,25 εκ € (σύνολο Π.Ε. </a:t>
            </a:r>
            <a:r>
              <a:rPr lang="el-GR" sz="1400" b="1" i="1" kern="0">
                <a:solidFill>
                  <a:srgbClr val="00B0F0"/>
                </a:solidFill>
                <a:ea typeface="+mn-lt"/>
                <a:cs typeface="+mn-lt"/>
                <a:sym typeface="Arial"/>
              </a:rPr>
              <a:t>Φλώρινας</a:t>
            </a:r>
            <a:r>
              <a:rPr lang="el-GR" sz="1400" b="1" i="1" kern="0">
                <a:solidFill>
                  <a:srgbClr val="002060"/>
                </a:solidFill>
                <a:ea typeface="+mn-lt"/>
                <a:cs typeface="+mn-lt"/>
                <a:sym typeface="Arial"/>
              </a:rPr>
              <a:t>, </a:t>
            </a:r>
            <a:r>
              <a:rPr lang="el-GR" sz="1400" b="1" i="1" kern="0">
                <a:solidFill>
                  <a:srgbClr val="00B0F0"/>
                </a:solidFill>
                <a:ea typeface="+mn-lt"/>
                <a:cs typeface="+mn-lt"/>
                <a:sym typeface="Arial"/>
              </a:rPr>
              <a:t>Καστοριάς</a:t>
            </a:r>
            <a:r>
              <a:rPr lang="el-GR" sz="1400" b="1" i="1" kern="0">
                <a:solidFill>
                  <a:srgbClr val="002060"/>
                </a:solidFill>
                <a:ea typeface="+mn-lt"/>
                <a:cs typeface="+mn-lt"/>
                <a:sym typeface="Arial"/>
              </a:rPr>
              <a:t>, </a:t>
            </a:r>
            <a:r>
              <a:rPr lang="el-GR" sz="1400" b="1" i="1" kern="0">
                <a:solidFill>
                  <a:srgbClr val="00B0F0"/>
                </a:solidFill>
                <a:ea typeface="+mn-lt"/>
                <a:cs typeface="+mn-lt"/>
                <a:sym typeface="Arial"/>
              </a:rPr>
              <a:t>Κοζάνης</a:t>
            </a:r>
            <a:r>
              <a:rPr lang="el-GR" sz="1400" b="1" i="1" kern="0">
                <a:solidFill>
                  <a:srgbClr val="002060"/>
                </a:solidFill>
                <a:ea typeface="+mn-lt"/>
                <a:cs typeface="+mn-lt"/>
                <a:sym typeface="Arial"/>
              </a:rPr>
              <a:t>, </a:t>
            </a:r>
            <a:r>
              <a:rPr lang="el-GR" sz="1400" b="1" i="1" kern="0">
                <a:solidFill>
                  <a:srgbClr val="002060"/>
                </a:solidFill>
                <a:ea typeface="+mn-lt"/>
                <a:cs typeface="+mn-lt"/>
              </a:rPr>
              <a:t>Ημαθίας &amp; Πιερίας)</a:t>
            </a:r>
          </a:p>
          <a:p>
            <a:r>
              <a:rPr lang="el-GR" sz="1400" kern="0">
                <a:solidFill>
                  <a:srgbClr val="002060"/>
                </a:solidFill>
                <a:ea typeface="+mn-lt"/>
                <a:cs typeface="+mn-lt"/>
              </a:rPr>
              <a:t>Εκτιμώμενη ολοκλήρωση: 2025</a:t>
            </a:r>
            <a:endParaRPr lang="en-US" sz="1400" kern="0">
              <a:solidFill>
                <a:srgbClr val="002060"/>
              </a:solidFill>
              <a:ea typeface="+mn-lt"/>
              <a:cs typeface="+mn-lt"/>
            </a:endParaRPr>
          </a:p>
          <a:p>
            <a:endParaRPr lang="el-GR" sz="1400" b="1" i="1" kern="0">
              <a:solidFill>
                <a:srgbClr val="002060"/>
              </a:solidFill>
              <a:ea typeface="+mn-lt"/>
              <a:cs typeface="+mn-lt"/>
            </a:endParaRPr>
          </a:p>
        </p:txBody>
      </p:sp>
      <p:sp>
        <p:nvSpPr>
          <p:cNvPr id="19" name="Ορθογώνιο 18">
            <a:extLst>
              <a:ext uri="{FF2B5EF4-FFF2-40B4-BE49-F238E27FC236}">
                <a16:creationId xmlns:a16="http://schemas.microsoft.com/office/drawing/2014/main" id="{F9D0286D-1048-A76C-A8C7-AC5CA24F797F}"/>
              </a:ext>
            </a:extLst>
          </p:cNvPr>
          <p:cNvSpPr/>
          <p:nvPr/>
        </p:nvSpPr>
        <p:spPr>
          <a:xfrm>
            <a:off x="4542777" y="2556848"/>
            <a:ext cx="2625460" cy="738664"/>
          </a:xfrm>
          <a:prstGeom prst="rect">
            <a:avLst/>
          </a:prstGeom>
        </p:spPr>
        <p:txBody>
          <a:bodyPr wrap="square" lIns="91440" tIns="45720" rIns="91440" bIns="45720" anchor="t">
            <a:spAutoFit/>
          </a:bodyPr>
          <a:lstStyle/>
          <a:p>
            <a:pPr algn="just">
              <a:buClr>
                <a:srgbClr val="000000"/>
              </a:buClr>
            </a:pPr>
            <a:r>
              <a:rPr lang="el-GR" sz="1400" b="1" kern="0">
                <a:solidFill>
                  <a:srgbClr val="002060"/>
                </a:solidFill>
                <a:cs typeface="Arial"/>
                <a:sym typeface="Arial"/>
              </a:rPr>
              <a:t>Πρόοδος υλοποίησης:</a:t>
            </a:r>
            <a:endParaRPr lang="en-US" sz="1400" kern="0">
              <a:solidFill>
                <a:srgbClr val="002060"/>
              </a:solidFill>
              <a:cs typeface="Calibri"/>
              <a:sym typeface="Arial"/>
            </a:endParaRPr>
          </a:p>
          <a:p>
            <a:pPr algn="just"/>
            <a:r>
              <a:rPr lang="el-GR" sz="1400" kern="0">
                <a:solidFill>
                  <a:srgbClr val="002060"/>
                </a:solidFill>
                <a:ea typeface="+mn-lt"/>
                <a:cs typeface="+mn-lt"/>
                <a:sym typeface="Arial"/>
              </a:rPr>
              <a:t>Ολοκληρώθηκε η διαβούλευση - στάδιο επεξεργασίας σχολίων</a:t>
            </a:r>
            <a:endParaRPr lang="en-US" sz="1400" kern="0">
              <a:solidFill>
                <a:srgbClr val="002060"/>
              </a:solidFill>
              <a:ea typeface="+mn-lt"/>
              <a:cs typeface="+mn-lt"/>
            </a:endParaRPr>
          </a:p>
        </p:txBody>
      </p:sp>
      <p:sp>
        <p:nvSpPr>
          <p:cNvPr id="2" name="Ορθογώνιο 1">
            <a:extLst>
              <a:ext uri="{FF2B5EF4-FFF2-40B4-BE49-F238E27FC236}">
                <a16:creationId xmlns:a16="http://schemas.microsoft.com/office/drawing/2014/main" id="{484E6B38-1984-0E6D-488D-5716B1F6020D}"/>
              </a:ext>
            </a:extLst>
          </p:cNvPr>
          <p:cNvSpPr/>
          <p:nvPr/>
        </p:nvSpPr>
        <p:spPr>
          <a:xfrm>
            <a:off x="550392" y="2989698"/>
            <a:ext cx="2469337" cy="738664"/>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ρόοδος υλοποίησης:</a:t>
            </a:r>
            <a:r>
              <a:rPr lang="el-GR" sz="1400" b="1" kern="0">
                <a:solidFill>
                  <a:srgbClr val="002060"/>
                </a:solidFill>
                <a:ea typeface="+mn-lt"/>
                <a:cs typeface="Arial"/>
                <a:sym typeface="Arial"/>
              </a:rPr>
              <a:t> </a:t>
            </a:r>
            <a:r>
              <a:rPr lang="el-GR" sz="1400" kern="0">
                <a:solidFill>
                  <a:srgbClr val="002060"/>
                </a:solidFill>
                <a:ea typeface="+mn-lt"/>
                <a:cs typeface="+mn-lt"/>
                <a:sym typeface="Arial"/>
              </a:rPr>
              <a:t>Ολοκληρώθηκε η διαβούλευση - στάδιο επεξεργασίας σχολίων </a:t>
            </a:r>
            <a:endParaRPr lang="el-GR" sz="1400" kern="0">
              <a:solidFill>
                <a:srgbClr val="002060"/>
              </a:solidFill>
              <a:ea typeface="+mn-lt"/>
              <a:cs typeface="+mn-lt"/>
            </a:endParaRPr>
          </a:p>
        </p:txBody>
      </p:sp>
      <p:sp>
        <p:nvSpPr>
          <p:cNvPr id="14" name="Google Shape;1275;p29">
            <a:extLst>
              <a:ext uri="{FF2B5EF4-FFF2-40B4-BE49-F238E27FC236}">
                <a16:creationId xmlns:a16="http://schemas.microsoft.com/office/drawing/2014/main" id="{81D0224B-2DDD-4D1D-F1D0-5E02CDEE20EC}"/>
              </a:ext>
            </a:extLst>
          </p:cNvPr>
          <p:cNvSpPr/>
          <p:nvPr/>
        </p:nvSpPr>
        <p:spPr>
          <a:xfrm>
            <a:off x="8630535" y="1695877"/>
            <a:ext cx="2498730" cy="2135943"/>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lang="el-GR">
              <a:solidFill>
                <a:srgbClr val="000000"/>
              </a:solidFill>
              <a:ea typeface="Calibri"/>
              <a:cs typeface="Calibri"/>
            </a:endParaRPr>
          </a:p>
        </p:txBody>
      </p:sp>
      <p:sp>
        <p:nvSpPr>
          <p:cNvPr id="17" name="Google Shape;1282;p29">
            <a:extLst>
              <a:ext uri="{FF2B5EF4-FFF2-40B4-BE49-F238E27FC236}">
                <a16:creationId xmlns:a16="http://schemas.microsoft.com/office/drawing/2014/main" id="{F3FE9E5D-DFA3-2946-649A-767B800F41E4}"/>
              </a:ext>
            </a:extLst>
          </p:cNvPr>
          <p:cNvSpPr/>
          <p:nvPr/>
        </p:nvSpPr>
        <p:spPr>
          <a:xfrm>
            <a:off x="8447368" y="1043563"/>
            <a:ext cx="2792928" cy="93125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l-GR" sz="1200" b="1" kern="0">
                <a:solidFill>
                  <a:srgbClr val="002060"/>
                </a:solidFill>
                <a:latin typeface="Arial"/>
                <a:ea typeface="+mn-lt"/>
                <a:cs typeface="+mn-lt"/>
                <a:sym typeface="Arial"/>
              </a:rPr>
              <a:t>Υποδομές</a:t>
            </a:r>
            <a:r>
              <a:rPr lang="el-GR" sz="1200" b="1" kern="0">
                <a:solidFill>
                  <a:srgbClr val="002060"/>
                </a:solidFill>
                <a:latin typeface="Arial"/>
                <a:ea typeface="+mn-lt"/>
                <a:cs typeface="+mn-lt"/>
              </a:rPr>
              <a:t> και έργα εξοικονόμησης</a:t>
            </a:r>
            <a:r>
              <a:rPr lang="el-GR" sz="1200" b="1" kern="0">
                <a:solidFill>
                  <a:srgbClr val="002060"/>
                </a:solidFill>
                <a:latin typeface="Arial"/>
                <a:ea typeface="+mn-lt"/>
                <a:cs typeface="+mn-lt"/>
                <a:sym typeface="Arial"/>
              </a:rPr>
              <a:t> </a:t>
            </a:r>
            <a:r>
              <a:rPr lang="el-GR" sz="1200" b="1" kern="0">
                <a:solidFill>
                  <a:srgbClr val="002060"/>
                </a:solidFill>
                <a:latin typeface="Arial"/>
                <a:ea typeface="+mn-lt"/>
                <a:cs typeface="+mn-lt"/>
              </a:rPr>
              <a:t>πόσιμου νερού </a:t>
            </a:r>
            <a:r>
              <a:rPr lang="el-GR" sz="1200" b="1" kern="0">
                <a:solidFill>
                  <a:srgbClr val="00B0F0"/>
                </a:solidFill>
                <a:latin typeface="Arial"/>
                <a:ea typeface="+mn-lt"/>
                <a:cs typeface="+mn-lt"/>
              </a:rPr>
              <a:t>Περιφερειακής Ενότητας Κοζάνης</a:t>
            </a:r>
            <a:endParaRPr lang="x-none" sz="1200" b="1" kern="0">
              <a:solidFill>
                <a:srgbClr val="00B0F0"/>
              </a:solidFill>
              <a:latin typeface="Arial"/>
              <a:ea typeface="+mn-lt"/>
              <a:cs typeface="+mn-lt"/>
            </a:endParaRPr>
          </a:p>
        </p:txBody>
      </p:sp>
      <p:sp>
        <p:nvSpPr>
          <p:cNvPr id="26" name="Ορθογώνιο 25">
            <a:extLst>
              <a:ext uri="{FF2B5EF4-FFF2-40B4-BE49-F238E27FC236}">
                <a16:creationId xmlns:a16="http://schemas.microsoft.com/office/drawing/2014/main" id="{DF4EABBA-CB66-3731-1CBF-880AB2E3DF68}"/>
              </a:ext>
            </a:extLst>
          </p:cNvPr>
          <p:cNvSpPr/>
          <p:nvPr/>
        </p:nvSpPr>
        <p:spPr>
          <a:xfrm>
            <a:off x="8695070" y="2034976"/>
            <a:ext cx="2137611" cy="738664"/>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Υ: </a:t>
            </a:r>
            <a:r>
              <a:rPr lang="el-GR" sz="1400" b="1" kern="0">
                <a:solidFill>
                  <a:srgbClr val="002060"/>
                </a:solidFill>
                <a:ea typeface="+mn-lt"/>
                <a:cs typeface="+mn-lt"/>
                <a:sym typeface="Arial"/>
              </a:rPr>
              <a:t>2,95 εκ € από το ΤΑΑ</a:t>
            </a:r>
          </a:p>
          <a:p>
            <a:r>
              <a:rPr lang="el-GR" sz="1400" kern="0">
                <a:solidFill>
                  <a:srgbClr val="002060"/>
                </a:solidFill>
                <a:ea typeface="Calibri"/>
                <a:cs typeface="Calibri"/>
              </a:rPr>
              <a:t>Εκτιμώμενη ολοκλήρωση: 2025</a:t>
            </a:r>
            <a:endParaRPr lang="en-US" sz="1400" kern="0">
              <a:solidFill>
                <a:srgbClr val="002060"/>
              </a:solidFill>
              <a:ea typeface="Calibri"/>
              <a:cs typeface="Calibri"/>
            </a:endParaRPr>
          </a:p>
        </p:txBody>
      </p:sp>
      <p:sp>
        <p:nvSpPr>
          <p:cNvPr id="30" name="Ορθογώνιο 29">
            <a:extLst>
              <a:ext uri="{FF2B5EF4-FFF2-40B4-BE49-F238E27FC236}">
                <a16:creationId xmlns:a16="http://schemas.microsoft.com/office/drawing/2014/main" id="{53D95602-F088-A1AA-3B7F-399C6A7D33FF}"/>
              </a:ext>
            </a:extLst>
          </p:cNvPr>
          <p:cNvSpPr/>
          <p:nvPr/>
        </p:nvSpPr>
        <p:spPr>
          <a:xfrm>
            <a:off x="8690806" y="2835009"/>
            <a:ext cx="2429231" cy="523220"/>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ρόοδος υλοποίησης:</a:t>
            </a:r>
            <a:r>
              <a:rPr lang="el-GR" sz="1400" b="1" kern="0">
                <a:solidFill>
                  <a:srgbClr val="002060"/>
                </a:solidFill>
                <a:ea typeface="+mn-lt"/>
                <a:cs typeface="Arial"/>
                <a:sym typeface="Arial"/>
              </a:rPr>
              <a:t> </a:t>
            </a:r>
            <a:r>
              <a:rPr lang="el-GR" sz="1400" kern="0">
                <a:solidFill>
                  <a:srgbClr val="002060"/>
                </a:solidFill>
                <a:ea typeface="+mn-lt"/>
                <a:cs typeface="+mn-lt"/>
                <a:sym typeface="Arial"/>
              </a:rPr>
              <a:t> Το έργο βρίσκεται υπό εκτέλεση.</a:t>
            </a:r>
            <a:endParaRPr lang="el-GR" sz="1400" kern="0">
              <a:solidFill>
                <a:srgbClr val="002060"/>
              </a:solidFill>
              <a:ea typeface="+mn-lt"/>
              <a:cs typeface="+mn-lt"/>
            </a:endParaRPr>
          </a:p>
        </p:txBody>
      </p:sp>
      <p:sp>
        <p:nvSpPr>
          <p:cNvPr id="3" name="Google Shape;1275;p29">
            <a:extLst>
              <a:ext uri="{FF2B5EF4-FFF2-40B4-BE49-F238E27FC236}">
                <a16:creationId xmlns:a16="http://schemas.microsoft.com/office/drawing/2014/main" id="{739C72F9-8081-C800-E235-41527E1244B6}"/>
              </a:ext>
            </a:extLst>
          </p:cNvPr>
          <p:cNvSpPr/>
          <p:nvPr/>
        </p:nvSpPr>
        <p:spPr>
          <a:xfrm>
            <a:off x="2431405" y="4618116"/>
            <a:ext cx="3841297" cy="2143578"/>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chemeClr val="accent1">
              <a:lumMod val="75000"/>
            </a:scheme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37" name="Google Shape;1275;p29">
            <a:extLst>
              <a:ext uri="{FF2B5EF4-FFF2-40B4-BE49-F238E27FC236}">
                <a16:creationId xmlns:a16="http://schemas.microsoft.com/office/drawing/2014/main" id="{DF102C52-1AD3-284D-3C76-C42563790FD6}"/>
              </a:ext>
            </a:extLst>
          </p:cNvPr>
          <p:cNvSpPr/>
          <p:nvPr/>
        </p:nvSpPr>
        <p:spPr>
          <a:xfrm>
            <a:off x="6381773" y="4618117"/>
            <a:ext cx="3771114" cy="2143578"/>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chemeClr val="accent1">
              <a:lumMod val="75000"/>
            </a:schemeClr>
          </a:solidFill>
          <a:ln>
            <a:noFill/>
          </a:ln>
        </p:spPr>
        <p:txBody>
          <a:bodyPr spcFirstLastPara="1" wrap="square" lIns="91425" tIns="91425" rIns="91425" bIns="91425" anchor="ctr" anchorCtr="0">
            <a:noAutofit/>
          </a:bodyPr>
          <a:lstStyle/>
          <a:p>
            <a:pPr>
              <a:buClr>
                <a:srgbClr val="000000"/>
              </a:buClr>
              <a:buFont typeface="Arial"/>
              <a:buNone/>
            </a:pPr>
            <a:endParaRPr lang="el-GR" sz="1400" kern="0">
              <a:solidFill>
                <a:srgbClr val="000000"/>
              </a:solidFill>
              <a:cs typeface="Arial"/>
              <a:sym typeface="Arial"/>
            </a:endParaRPr>
          </a:p>
        </p:txBody>
      </p:sp>
      <p:sp>
        <p:nvSpPr>
          <p:cNvPr id="6" name="Google Shape;1282;p29">
            <a:extLst>
              <a:ext uri="{FF2B5EF4-FFF2-40B4-BE49-F238E27FC236}">
                <a16:creationId xmlns:a16="http://schemas.microsoft.com/office/drawing/2014/main" id="{1E41031B-4EE5-9472-1C10-3A6DD51D4184}"/>
              </a:ext>
            </a:extLst>
          </p:cNvPr>
          <p:cNvSpPr/>
          <p:nvPr/>
        </p:nvSpPr>
        <p:spPr>
          <a:xfrm>
            <a:off x="4094421" y="3426670"/>
            <a:ext cx="3995132" cy="1319420"/>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400" b="1" kern="0" dirty="0">
                <a:solidFill>
                  <a:srgbClr val="002060"/>
                </a:solidFill>
                <a:ea typeface="+mn-lt"/>
                <a:cs typeface="+mn-lt"/>
                <a:sym typeface="Arial"/>
              </a:rPr>
              <a:t>Εκ νέου ενεργοποίηση της υλοποίησης της Τετραμερούς Διεθνούς Συμφωνίας για την Προστασία και Βιώσιμη Ανάπτυξη της Περιοχής του Πάρκου Πρεσπών του 2010</a:t>
            </a:r>
            <a:endParaRPr lang="el-GR" sz="1400" kern="0" dirty="0">
              <a:solidFill>
                <a:srgbClr val="002060"/>
              </a:solidFill>
              <a:ea typeface="+mn-lt"/>
              <a:cs typeface="+mn-lt"/>
            </a:endParaRPr>
          </a:p>
        </p:txBody>
      </p:sp>
      <p:sp>
        <p:nvSpPr>
          <p:cNvPr id="10" name="Ορθογώνιο 9">
            <a:extLst>
              <a:ext uri="{FF2B5EF4-FFF2-40B4-BE49-F238E27FC236}">
                <a16:creationId xmlns:a16="http://schemas.microsoft.com/office/drawing/2014/main" id="{25C4C927-FCAB-C28B-2D32-1152112F196E}"/>
              </a:ext>
            </a:extLst>
          </p:cNvPr>
          <p:cNvSpPr/>
          <p:nvPr/>
        </p:nvSpPr>
        <p:spPr>
          <a:xfrm>
            <a:off x="2665944" y="4738858"/>
            <a:ext cx="3291494" cy="1815882"/>
          </a:xfrm>
          <a:prstGeom prst="rect">
            <a:avLst/>
          </a:prstGeom>
        </p:spPr>
        <p:txBody>
          <a:bodyPr wrap="square" lIns="91440" tIns="45720" rIns="91440" bIns="45720" anchor="t">
            <a:spAutoFit/>
          </a:bodyPr>
          <a:lstStyle/>
          <a:p>
            <a:pPr>
              <a:buClr>
                <a:srgbClr val="000000"/>
              </a:buClr>
            </a:pPr>
            <a:r>
              <a:rPr lang="el-GR" sz="1400" b="1" kern="0">
                <a:solidFill>
                  <a:schemeClr val="bg1"/>
                </a:solidFill>
                <a:cs typeface="Arial"/>
                <a:sym typeface="Arial"/>
              </a:rPr>
              <a:t>Πρόοδος υλοποίησης:</a:t>
            </a:r>
            <a:endParaRPr lang="el-GR" sz="1400" kern="0">
              <a:solidFill>
                <a:schemeClr val="bg1"/>
              </a:solidFill>
              <a:ea typeface="+mn-lt"/>
              <a:cs typeface="+mn-lt"/>
            </a:endParaRPr>
          </a:p>
          <a:p>
            <a:r>
              <a:rPr lang="el-GR" sz="1400" kern="0" err="1">
                <a:solidFill>
                  <a:schemeClr val="bg1"/>
                </a:solidFill>
                <a:ea typeface="+mn-lt"/>
                <a:cs typeface="+mn-lt"/>
                <a:sym typeface="Arial"/>
              </a:rPr>
              <a:t>Επικαιροποίηση</a:t>
            </a:r>
            <a:r>
              <a:rPr lang="el-GR" sz="1400" kern="0">
                <a:solidFill>
                  <a:schemeClr val="bg1"/>
                </a:solidFill>
                <a:ea typeface="+mn-lt"/>
                <a:cs typeface="+mn-lt"/>
                <a:sym typeface="Arial"/>
              </a:rPr>
              <a:t> του καταλόγου των Ελλήνων εκπροσώπων στα Κοινά Όργανα της Διεθνούς Συμφωνίας για την Προστασία και Βιώσιμη Διαχείριση της Περιοχής του Πάρκου Πρεσπών, καθώς έχουν παρέλθει 2 έτη από την τελευταία συνεδρίαση των Οργάνων της Συμφωνίας.</a:t>
            </a:r>
            <a:endParaRPr lang="el-GR" sz="1400" kern="0">
              <a:solidFill>
                <a:schemeClr val="bg1"/>
              </a:solidFill>
              <a:ea typeface="+mn-lt"/>
              <a:cs typeface="+mn-lt"/>
            </a:endParaRPr>
          </a:p>
        </p:txBody>
      </p:sp>
      <p:sp>
        <p:nvSpPr>
          <p:cNvPr id="38" name="Ορθογώνιο 37">
            <a:extLst>
              <a:ext uri="{FF2B5EF4-FFF2-40B4-BE49-F238E27FC236}">
                <a16:creationId xmlns:a16="http://schemas.microsoft.com/office/drawing/2014/main" id="{52FB57C9-1AC9-7DCC-4AA6-63E9085B2470}"/>
              </a:ext>
            </a:extLst>
          </p:cNvPr>
          <p:cNvSpPr/>
          <p:nvPr/>
        </p:nvSpPr>
        <p:spPr>
          <a:xfrm>
            <a:off x="6556154" y="4738858"/>
            <a:ext cx="3431863" cy="2031325"/>
          </a:xfrm>
          <a:prstGeom prst="rect">
            <a:avLst/>
          </a:prstGeom>
        </p:spPr>
        <p:txBody>
          <a:bodyPr wrap="square" lIns="91440" tIns="45720" rIns="91440" bIns="45720" anchor="t">
            <a:spAutoFit/>
          </a:bodyPr>
          <a:lstStyle/>
          <a:p>
            <a:pPr algn="just"/>
            <a:r>
              <a:rPr lang="el-GR" sz="1400" b="1" kern="0">
                <a:solidFill>
                  <a:schemeClr val="bg1"/>
                </a:solidFill>
                <a:ea typeface="+mn-lt"/>
                <a:cs typeface="+mn-lt"/>
                <a:sym typeface="Arial"/>
              </a:rPr>
              <a:t>Επόμενα Βήματα</a:t>
            </a:r>
            <a:r>
              <a:rPr lang="el-GR" sz="1400" kern="0">
                <a:solidFill>
                  <a:schemeClr val="bg1"/>
                </a:solidFill>
                <a:ea typeface="+mn-lt"/>
                <a:cs typeface="+mn-lt"/>
                <a:sym typeface="Arial"/>
              </a:rPr>
              <a:t>:</a:t>
            </a:r>
            <a:endParaRPr lang="en-US" sz="1400" kern="0">
              <a:solidFill>
                <a:schemeClr val="bg1"/>
              </a:solidFill>
              <a:ea typeface="+mn-lt"/>
              <a:cs typeface="+mn-lt"/>
              <a:sym typeface="Arial"/>
            </a:endParaRPr>
          </a:p>
          <a:p>
            <a:pPr algn="just"/>
            <a:r>
              <a:rPr lang="el-GR" sz="1400" kern="0">
                <a:solidFill>
                  <a:schemeClr val="bg1"/>
                </a:solidFill>
                <a:ea typeface="+mn-lt"/>
                <a:cs typeface="+mn-lt"/>
                <a:sym typeface="Arial"/>
              </a:rPr>
              <a:t>Έναρξη συνεδριάσεων Κοινών Οργάνων και ανάληψη από κοινού δράσεων και σχεδιασμού προς την κατεύθυνση της προστασίας του τοπικού οικοσυστήματος των Πρεσπών και της ολοκληρωμένης διαχείρισης των υδατικών πόρων,  με σκοπό την εκπόνηση ενός κοινού διαχειριστικού σχεδίου σε διασυνοριακό επίπεδο.</a:t>
            </a:r>
            <a:endParaRPr lang="el-GR" sz="1400" kern="0">
              <a:solidFill>
                <a:schemeClr val="bg1"/>
              </a:solidFill>
              <a:ea typeface="+mn-lt"/>
              <a:cs typeface="+mn-lt"/>
            </a:endParaRPr>
          </a:p>
        </p:txBody>
      </p:sp>
      <p:sp>
        <p:nvSpPr>
          <p:cNvPr id="7" name="Google Shape;414;p13">
            <a:extLst>
              <a:ext uri="{FF2B5EF4-FFF2-40B4-BE49-F238E27FC236}">
                <a16:creationId xmlns:a16="http://schemas.microsoft.com/office/drawing/2014/main" id="{63C5DA48-CBF2-3B93-F486-E4B1F481D436}"/>
              </a:ext>
            </a:extLst>
          </p:cNvPr>
          <p:cNvSpPr/>
          <p:nvPr/>
        </p:nvSpPr>
        <p:spPr>
          <a:xfrm>
            <a:off x="646590" y="51537"/>
            <a:ext cx="6783921"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buFont typeface="Arial"/>
              <a:buNone/>
              <a:defRPr/>
            </a:pPr>
            <a:r>
              <a:rPr lang="el-GR" sz="2400" kern="0" dirty="0">
                <a:solidFill>
                  <a:srgbClr val="002060"/>
                </a:solidFill>
                <a:latin typeface="Arial Black"/>
                <a:ea typeface="Arial Black"/>
                <a:cs typeface="Arial Black"/>
                <a:sym typeface="Arial Black"/>
              </a:rPr>
              <a:t>Περιβάλλον</a:t>
            </a:r>
          </a:p>
        </p:txBody>
      </p:sp>
      <p:cxnSp>
        <p:nvCxnSpPr>
          <p:cNvPr id="11" name="Ευθεία γραμμή σύνδεσης 10">
            <a:extLst>
              <a:ext uri="{FF2B5EF4-FFF2-40B4-BE49-F238E27FC236}">
                <a16:creationId xmlns:a16="http://schemas.microsoft.com/office/drawing/2014/main" id="{3254CF63-C3AE-3A1B-CEDB-89FF1556C22D}"/>
              </a:ext>
            </a:extLst>
          </p:cNvPr>
          <p:cNvCxnSpPr>
            <a:cxnSpLocks/>
          </p:cNvCxnSpPr>
          <p:nvPr/>
        </p:nvCxnSpPr>
        <p:spPr>
          <a:xfrm>
            <a:off x="202779" y="481518"/>
            <a:ext cx="3891642" cy="15397"/>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645052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275;p29">
            <a:extLst>
              <a:ext uri="{FF2B5EF4-FFF2-40B4-BE49-F238E27FC236}">
                <a16:creationId xmlns:a16="http://schemas.microsoft.com/office/drawing/2014/main" id="{5CCF1E06-8CDF-45FE-30D9-E951DF8E670C}"/>
              </a:ext>
            </a:extLst>
          </p:cNvPr>
          <p:cNvSpPr/>
          <p:nvPr/>
        </p:nvSpPr>
        <p:spPr>
          <a:xfrm>
            <a:off x="877749" y="2983802"/>
            <a:ext cx="4697320" cy="2613542"/>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7" name="Google Shape;1282;p29">
            <a:extLst>
              <a:ext uri="{FF2B5EF4-FFF2-40B4-BE49-F238E27FC236}">
                <a16:creationId xmlns:a16="http://schemas.microsoft.com/office/drawing/2014/main" id="{7DAA1D55-1870-F495-0545-E0B84E32A7A2}"/>
              </a:ext>
            </a:extLst>
          </p:cNvPr>
          <p:cNvSpPr/>
          <p:nvPr/>
        </p:nvSpPr>
        <p:spPr>
          <a:xfrm>
            <a:off x="1294978" y="1072743"/>
            <a:ext cx="4032364" cy="2092851"/>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400" b="1" kern="0" dirty="0">
                <a:solidFill>
                  <a:srgbClr val="002060"/>
                </a:solidFill>
                <a:ea typeface="+mn-lt"/>
                <a:cs typeface="+mn-lt"/>
                <a:sym typeface="Arial"/>
              </a:rPr>
              <a:t>Αναβάθμιση Μονάδας Επεξεργασίας Αποβλήτων (ΜΕΑ) Περιφέρειας Δυτικής Μακεδονίας (Κοζάνη) σε Μονάδα Ανάκτησης-Ανακύκλωσης (ΜΑΑ)</a:t>
            </a:r>
            <a:endParaRPr lang="x-none" sz="1400" kern="0" dirty="0">
              <a:solidFill>
                <a:srgbClr val="002060"/>
              </a:solidFill>
              <a:ea typeface="+mn-lt"/>
              <a:cs typeface="+mn-lt"/>
            </a:endParaRPr>
          </a:p>
        </p:txBody>
      </p:sp>
      <p:sp>
        <p:nvSpPr>
          <p:cNvPr id="9" name="Ορθογώνιο 8">
            <a:extLst>
              <a:ext uri="{FF2B5EF4-FFF2-40B4-BE49-F238E27FC236}">
                <a16:creationId xmlns:a16="http://schemas.microsoft.com/office/drawing/2014/main" id="{BDD1ADA9-BE1F-E0C0-498F-0DA24445E568}"/>
              </a:ext>
            </a:extLst>
          </p:cNvPr>
          <p:cNvSpPr/>
          <p:nvPr/>
        </p:nvSpPr>
        <p:spPr>
          <a:xfrm>
            <a:off x="1593042" y="3276591"/>
            <a:ext cx="2949176" cy="523220"/>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Υ:</a:t>
            </a:r>
            <a:r>
              <a:rPr lang="el-GR" sz="1400" b="1" i="1" kern="0" dirty="0">
                <a:solidFill>
                  <a:srgbClr val="002060"/>
                </a:solidFill>
                <a:ea typeface="+mn-lt"/>
                <a:cs typeface="+mn-lt"/>
                <a:sym typeface="Arial"/>
              </a:rPr>
              <a:t> 12 εκ € </a:t>
            </a:r>
          </a:p>
          <a:p>
            <a:r>
              <a:rPr lang="el-GR" sz="1400" kern="0" dirty="0">
                <a:solidFill>
                  <a:srgbClr val="002060"/>
                </a:solidFill>
                <a:ea typeface="+mn-lt"/>
                <a:cs typeface="+mn-lt"/>
              </a:rPr>
              <a:t>Εκτιμώμενη ολοκλήρωση: 2028</a:t>
            </a:r>
            <a:endParaRPr lang="el-GR" sz="1400" b="1" kern="0" dirty="0">
              <a:solidFill>
                <a:srgbClr val="002060"/>
              </a:solidFill>
              <a:ea typeface="+mn-lt"/>
              <a:cs typeface="+mn-lt"/>
            </a:endParaRPr>
          </a:p>
        </p:txBody>
      </p:sp>
      <p:sp>
        <p:nvSpPr>
          <p:cNvPr id="11" name="Ορθογώνιο 10">
            <a:extLst>
              <a:ext uri="{FF2B5EF4-FFF2-40B4-BE49-F238E27FC236}">
                <a16:creationId xmlns:a16="http://schemas.microsoft.com/office/drawing/2014/main" id="{E30BEDB1-BDDC-26D3-C7D4-D29DC264A8A9}"/>
              </a:ext>
            </a:extLst>
          </p:cNvPr>
          <p:cNvSpPr/>
          <p:nvPr/>
        </p:nvSpPr>
        <p:spPr>
          <a:xfrm>
            <a:off x="1593551" y="4016940"/>
            <a:ext cx="3435218" cy="738664"/>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ρόοδος υλοποίησης:</a:t>
            </a:r>
            <a:r>
              <a:rPr lang="el-GR" sz="1400" b="1" kern="0" dirty="0">
                <a:solidFill>
                  <a:srgbClr val="002060"/>
                </a:solidFill>
                <a:ea typeface="+mn-lt"/>
                <a:cs typeface="Arial"/>
                <a:sym typeface="Arial"/>
              </a:rPr>
              <a:t> </a:t>
            </a:r>
            <a:endParaRPr lang="el-GR" sz="1400" kern="0" dirty="0">
              <a:solidFill>
                <a:srgbClr val="002060"/>
              </a:solidFill>
              <a:ea typeface="+mn-lt"/>
              <a:cs typeface="+mn-lt"/>
              <a:sym typeface="Arial"/>
            </a:endParaRPr>
          </a:p>
          <a:p>
            <a:r>
              <a:rPr lang="el-GR" sz="1400" kern="0" dirty="0">
                <a:solidFill>
                  <a:srgbClr val="002060"/>
                </a:solidFill>
                <a:ea typeface="+mn-lt"/>
                <a:cs typeface="+mn-lt"/>
                <a:sym typeface="Arial"/>
              </a:rPr>
              <a:t>Το έργο βρίσκεται στο στάδιο της </a:t>
            </a:r>
            <a:endParaRPr lang="el-GR" sz="1400" kern="0" dirty="0">
              <a:solidFill>
                <a:srgbClr val="002060"/>
              </a:solidFill>
              <a:ea typeface="+mn-lt"/>
              <a:cs typeface="+mn-lt"/>
            </a:endParaRPr>
          </a:p>
          <a:p>
            <a:r>
              <a:rPr lang="el-GR" sz="1400" kern="0" dirty="0">
                <a:solidFill>
                  <a:srgbClr val="002060"/>
                </a:solidFill>
                <a:ea typeface="+mn-lt"/>
                <a:cs typeface="+mn-lt"/>
                <a:sym typeface="Arial"/>
              </a:rPr>
              <a:t>εκπόνησης μελετών</a:t>
            </a:r>
            <a:endParaRPr lang="el-GR" sz="1400" kern="0" dirty="0">
              <a:solidFill>
                <a:srgbClr val="002060"/>
              </a:solidFill>
              <a:ea typeface="+mn-lt"/>
              <a:cs typeface="+mn-lt"/>
            </a:endParaRPr>
          </a:p>
        </p:txBody>
      </p:sp>
      <p:sp>
        <p:nvSpPr>
          <p:cNvPr id="15" name="Google Shape;414;p13">
            <a:extLst>
              <a:ext uri="{FF2B5EF4-FFF2-40B4-BE49-F238E27FC236}">
                <a16:creationId xmlns:a16="http://schemas.microsoft.com/office/drawing/2014/main" id="{922BE963-A695-F663-FCCE-6F5EF697BEC6}"/>
              </a:ext>
            </a:extLst>
          </p:cNvPr>
          <p:cNvSpPr/>
          <p:nvPr/>
        </p:nvSpPr>
        <p:spPr>
          <a:xfrm>
            <a:off x="779435" y="158892"/>
            <a:ext cx="6783921"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buFont typeface="Arial"/>
              <a:buNone/>
              <a:defRPr/>
            </a:pPr>
            <a:r>
              <a:rPr lang="el-GR" sz="3334" kern="0" dirty="0">
                <a:solidFill>
                  <a:srgbClr val="002060"/>
                </a:solidFill>
                <a:latin typeface="Arial Black"/>
                <a:ea typeface="Arial Black"/>
                <a:cs typeface="Arial Black"/>
                <a:sym typeface="Arial Black"/>
              </a:rPr>
              <a:t>Διαχείριση απορριμμάτων</a:t>
            </a:r>
          </a:p>
        </p:txBody>
      </p:sp>
      <p:cxnSp>
        <p:nvCxnSpPr>
          <p:cNvPr id="17" name="Ευθεία γραμμή σύνδεσης 16">
            <a:extLst>
              <a:ext uri="{FF2B5EF4-FFF2-40B4-BE49-F238E27FC236}">
                <a16:creationId xmlns:a16="http://schemas.microsoft.com/office/drawing/2014/main" id="{A6DBC330-AABF-4EF0-E5C5-6C43FE0FD634}"/>
              </a:ext>
            </a:extLst>
          </p:cNvPr>
          <p:cNvCxnSpPr/>
          <p:nvPr/>
        </p:nvCxnSpPr>
        <p:spPr>
          <a:xfrm>
            <a:off x="261643" y="779953"/>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2" name="Google Shape;1275;p29">
            <a:extLst>
              <a:ext uri="{FF2B5EF4-FFF2-40B4-BE49-F238E27FC236}">
                <a16:creationId xmlns:a16="http://schemas.microsoft.com/office/drawing/2014/main" id="{E16C50CE-C339-D7DD-40B6-C2EF0B81185B}"/>
              </a:ext>
            </a:extLst>
          </p:cNvPr>
          <p:cNvSpPr/>
          <p:nvPr/>
        </p:nvSpPr>
        <p:spPr>
          <a:xfrm>
            <a:off x="6803438" y="3054402"/>
            <a:ext cx="4622194" cy="2542942"/>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3" name="Google Shape;1282;p29">
            <a:extLst>
              <a:ext uri="{FF2B5EF4-FFF2-40B4-BE49-F238E27FC236}">
                <a16:creationId xmlns:a16="http://schemas.microsoft.com/office/drawing/2014/main" id="{1E3D5378-98DF-5042-2553-A3BB7A5AF45D}"/>
              </a:ext>
            </a:extLst>
          </p:cNvPr>
          <p:cNvSpPr/>
          <p:nvPr/>
        </p:nvSpPr>
        <p:spPr>
          <a:xfrm>
            <a:off x="7042923" y="1032797"/>
            <a:ext cx="3990036" cy="2155124"/>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400" b="1" kern="0" dirty="0">
                <a:solidFill>
                  <a:srgbClr val="002060"/>
                </a:solidFill>
                <a:ea typeface="+mn-lt"/>
                <a:cs typeface="+mn-lt"/>
                <a:sym typeface="Arial"/>
              </a:rPr>
              <a:t>Κατασκευή υποδομών αστικών αποβλήτων Δ.Ε. Φιλώτα Δήμου Αμυνταίου </a:t>
            </a:r>
            <a:endParaRPr lang="x-none" sz="1400" kern="0" dirty="0">
              <a:solidFill>
                <a:srgbClr val="002060"/>
              </a:solidFill>
              <a:ea typeface="+mn-lt"/>
              <a:cs typeface="+mn-lt"/>
            </a:endParaRPr>
          </a:p>
        </p:txBody>
      </p:sp>
      <p:sp>
        <p:nvSpPr>
          <p:cNvPr id="4" name="Ορθογώνιο 3">
            <a:extLst>
              <a:ext uri="{FF2B5EF4-FFF2-40B4-BE49-F238E27FC236}">
                <a16:creationId xmlns:a16="http://schemas.microsoft.com/office/drawing/2014/main" id="{2F114564-0801-56F4-8C42-8A3D244B7C57}"/>
              </a:ext>
            </a:extLst>
          </p:cNvPr>
          <p:cNvSpPr/>
          <p:nvPr/>
        </p:nvSpPr>
        <p:spPr>
          <a:xfrm>
            <a:off x="7042923" y="3538201"/>
            <a:ext cx="3556135" cy="523220"/>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Υ:</a:t>
            </a:r>
            <a:r>
              <a:rPr lang="el-GR" sz="1400" b="1" i="1" kern="0" dirty="0">
                <a:solidFill>
                  <a:srgbClr val="002060"/>
                </a:solidFill>
                <a:ea typeface="+mn-lt"/>
                <a:cs typeface="+mn-lt"/>
                <a:sym typeface="Arial"/>
              </a:rPr>
              <a:t> 10 εκ € </a:t>
            </a:r>
          </a:p>
          <a:p>
            <a:r>
              <a:rPr lang="el-GR" sz="1400" kern="0" dirty="0">
                <a:solidFill>
                  <a:srgbClr val="002060"/>
                </a:solidFill>
                <a:ea typeface="+mn-lt"/>
                <a:cs typeface="+mn-lt"/>
              </a:rPr>
              <a:t>Ολοκλήρωση: 2023</a:t>
            </a:r>
            <a:endParaRPr lang="el-GR" sz="1400" b="1" kern="0" dirty="0">
              <a:solidFill>
                <a:srgbClr val="002060"/>
              </a:solidFill>
              <a:ea typeface="+mn-lt"/>
              <a:cs typeface="+mn-lt"/>
            </a:endParaRPr>
          </a:p>
        </p:txBody>
      </p:sp>
      <p:sp>
        <p:nvSpPr>
          <p:cNvPr id="6" name="Ορθογώνιο 5">
            <a:extLst>
              <a:ext uri="{FF2B5EF4-FFF2-40B4-BE49-F238E27FC236}">
                <a16:creationId xmlns:a16="http://schemas.microsoft.com/office/drawing/2014/main" id="{528046B0-3474-062B-11FA-9626F60FE373}"/>
              </a:ext>
            </a:extLst>
          </p:cNvPr>
          <p:cNvSpPr/>
          <p:nvPr/>
        </p:nvSpPr>
        <p:spPr>
          <a:xfrm>
            <a:off x="7042923" y="4325873"/>
            <a:ext cx="4142207" cy="523220"/>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ρόοδος υλοποίησης:</a:t>
            </a:r>
            <a:r>
              <a:rPr lang="el-GR" sz="1400" b="1" kern="0" dirty="0">
                <a:solidFill>
                  <a:srgbClr val="002060"/>
                </a:solidFill>
                <a:ea typeface="+mn-lt"/>
                <a:cs typeface="Arial"/>
                <a:sym typeface="Arial"/>
              </a:rPr>
              <a:t> </a:t>
            </a:r>
            <a:endParaRPr lang="el-GR" sz="1400" kern="0" dirty="0">
              <a:solidFill>
                <a:srgbClr val="002060"/>
              </a:solidFill>
              <a:ea typeface="+mn-lt"/>
              <a:cs typeface="+mn-lt"/>
              <a:sym typeface="Arial"/>
            </a:endParaRPr>
          </a:p>
          <a:p>
            <a:r>
              <a:rPr lang="el-GR" sz="1400" kern="0" dirty="0">
                <a:solidFill>
                  <a:srgbClr val="002060"/>
                </a:solidFill>
                <a:ea typeface="+mn-lt"/>
                <a:cs typeface="+mn-lt"/>
                <a:sym typeface="Arial"/>
              </a:rPr>
              <a:t>Ολοκληρωμένο</a:t>
            </a:r>
            <a:endParaRPr lang="el-GR" sz="1400" kern="0" dirty="0">
              <a:solidFill>
                <a:srgbClr val="002060"/>
              </a:solidFill>
              <a:ea typeface="+mn-lt"/>
              <a:cs typeface="+mn-lt"/>
            </a:endParaRPr>
          </a:p>
        </p:txBody>
      </p:sp>
    </p:spTree>
    <p:extLst>
      <p:ext uri="{BB962C8B-B14F-4D97-AF65-F5344CB8AC3E}">
        <p14:creationId xmlns:p14="http://schemas.microsoft.com/office/powerpoint/2010/main" val="20844287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EDFBC3-0472-1F6F-5650-532A2D593A52}"/>
            </a:ext>
          </a:extLst>
        </p:cNvPr>
        <p:cNvGrpSpPr/>
        <p:nvPr/>
      </p:nvGrpSpPr>
      <p:grpSpPr>
        <a:xfrm>
          <a:off x="0" y="0"/>
          <a:ext cx="0" cy="0"/>
          <a:chOff x="0" y="0"/>
          <a:chExt cx="0" cy="0"/>
        </a:xfrm>
      </p:grpSpPr>
      <p:sp>
        <p:nvSpPr>
          <p:cNvPr id="5" name="Google Shape;1275;p29">
            <a:extLst>
              <a:ext uri="{FF2B5EF4-FFF2-40B4-BE49-F238E27FC236}">
                <a16:creationId xmlns:a16="http://schemas.microsoft.com/office/drawing/2014/main" id="{D74737C9-9BB9-1051-88B5-655EE8AA0BCA}"/>
              </a:ext>
            </a:extLst>
          </p:cNvPr>
          <p:cNvSpPr/>
          <p:nvPr/>
        </p:nvSpPr>
        <p:spPr>
          <a:xfrm>
            <a:off x="1123937" y="3056730"/>
            <a:ext cx="3152300" cy="2613542"/>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 name="Google Shape;1282;p29">
            <a:extLst>
              <a:ext uri="{FF2B5EF4-FFF2-40B4-BE49-F238E27FC236}">
                <a16:creationId xmlns:a16="http://schemas.microsoft.com/office/drawing/2014/main" id="{B9E604F4-EDCB-D228-793F-D3596F7B2152}"/>
              </a:ext>
            </a:extLst>
          </p:cNvPr>
          <p:cNvSpPr/>
          <p:nvPr/>
        </p:nvSpPr>
        <p:spPr>
          <a:xfrm>
            <a:off x="1294977" y="1072743"/>
            <a:ext cx="9416565" cy="1937157"/>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0" cap="none" spc="0" normalizeH="0" baseline="0" noProof="0" dirty="0">
                <a:ln>
                  <a:noFill/>
                </a:ln>
                <a:solidFill>
                  <a:srgbClr val="002060"/>
                </a:solidFill>
                <a:effectLst/>
                <a:uLnTx/>
                <a:uFillTx/>
                <a:latin typeface="Arial"/>
                <a:ea typeface="+mn-lt"/>
                <a:cs typeface="Arial"/>
                <a:sym typeface="Arial"/>
              </a:rPr>
              <a:t>Ολοκληρωμένο πρόγραμμα για την κάλυψη των αναγκών της περιοχής</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1400" b="1" i="0" u="none" strike="noStrike" kern="0" cap="none" spc="0" normalizeH="0" baseline="0" noProof="0" dirty="0">
              <a:ln>
                <a:noFill/>
              </a:ln>
              <a:solidFill>
                <a:srgbClr val="002060"/>
              </a:solidFill>
              <a:effectLst/>
              <a:uLnTx/>
              <a:uFillTx/>
              <a:latin typeface="Arial"/>
              <a:ea typeface="+mn-lt"/>
              <a:cs typeface="Arial"/>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l-GR" sz="1400" b="1" kern="0" dirty="0">
                <a:solidFill>
                  <a:srgbClr val="002060"/>
                </a:solidFill>
                <a:latin typeface="Arial"/>
                <a:ea typeface="+mn-lt"/>
                <a:cs typeface="Arial"/>
                <a:sym typeface="Arial"/>
              </a:rPr>
              <a:t>Κ</a:t>
            </a:r>
            <a:r>
              <a:rPr kumimoji="0" lang="el-GR" sz="1400" b="1" i="0" u="none" strike="noStrike" kern="0" cap="none" spc="0" normalizeH="0" baseline="0" noProof="0" dirty="0" err="1">
                <a:ln>
                  <a:noFill/>
                </a:ln>
                <a:solidFill>
                  <a:srgbClr val="002060"/>
                </a:solidFill>
                <a:effectLst/>
                <a:uLnTx/>
                <a:uFillTx/>
                <a:latin typeface="Arial"/>
                <a:ea typeface="+mn-lt"/>
                <a:cs typeface="Arial"/>
                <a:sym typeface="Arial"/>
              </a:rPr>
              <a:t>άλυψη</a:t>
            </a:r>
            <a:r>
              <a:rPr kumimoji="0" lang="el-GR" sz="1400" b="1" i="0" u="none" strike="noStrike" kern="0" cap="none" spc="0" normalizeH="0" baseline="0" noProof="0" dirty="0">
                <a:ln>
                  <a:noFill/>
                </a:ln>
                <a:solidFill>
                  <a:srgbClr val="002060"/>
                </a:solidFill>
                <a:effectLst/>
                <a:uLnTx/>
                <a:uFillTx/>
                <a:latin typeface="Arial"/>
                <a:ea typeface="+mn-lt"/>
                <a:cs typeface="Arial"/>
                <a:sym typeface="Arial"/>
              </a:rPr>
              <a:t> παλαιών χρεών προς της ΔΕΗ | Επενδύσεις σε δίκτυα και υποδομές | Αντιστάθμιση του επιπλέον κόστους από την μεταβατική λύση | Επιδότηση της θερμικής ενέργειας σε βάθος χρόνου</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l-GR" sz="1400" b="1" kern="0" dirty="0">
              <a:solidFill>
                <a:srgbClr val="002060"/>
              </a:solidFill>
              <a:latin typeface="Arial"/>
              <a:ea typeface="+mn-lt"/>
              <a:cs typeface="Arial"/>
              <a:sym typeface="Arial"/>
            </a:endParaRPr>
          </a:p>
        </p:txBody>
      </p:sp>
      <p:sp>
        <p:nvSpPr>
          <p:cNvPr id="11" name="Ορθογώνιο 10">
            <a:extLst>
              <a:ext uri="{FF2B5EF4-FFF2-40B4-BE49-F238E27FC236}">
                <a16:creationId xmlns:a16="http://schemas.microsoft.com/office/drawing/2014/main" id="{20A6D69B-3415-DEBC-C49B-4B87DF5B3E16}"/>
              </a:ext>
            </a:extLst>
          </p:cNvPr>
          <p:cNvSpPr/>
          <p:nvPr/>
        </p:nvSpPr>
        <p:spPr>
          <a:xfrm>
            <a:off x="1294977" y="3334832"/>
            <a:ext cx="2981260" cy="1600438"/>
          </a:xfrm>
          <a:prstGeom prst="rect">
            <a:avLst/>
          </a:prstGeom>
        </p:spPr>
        <p:txBody>
          <a:bodyPr wrap="square" lIns="91440" tIns="45720" rIns="91440" bIns="45720" anchor="t">
            <a:spAutoFit/>
          </a:bodyPr>
          <a:lstStyle/>
          <a:p>
            <a:pPr lvl="0">
              <a:buClr>
                <a:srgbClr val="000000"/>
              </a:buClr>
            </a:pPr>
            <a:r>
              <a:rPr lang="el-GR" sz="1400" b="1" kern="0" dirty="0">
                <a:solidFill>
                  <a:srgbClr val="002060"/>
                </a:solidFill>
                <a:ea typeface="+mn-lt"/>
                <a:cs typeface="Arial"/>
                <a:sym typeface="Arial"/>
              </a:rPr>
              <a:t>Διασύνδεση της τηλεθέρμανσης Κοζάνης με το ενιαίο διασυνδεδεμένο σύστημα τηλεθερμάνσεων Κοζάνης- Πτολεμαΐδας- Αμυνταίου</a:t>
            </a:r>
          </a:p>
          <a:p>
            <a:pPr lvl="0">
              <a:buClr>
                <a:srgbClr val="000000"/>
              </a:buClr>
            </a:pPr>
            <a:endParaRPr kumimoji="0" lang="el-GR" sz="1400" b="1" i="0" u="none" strike="noStrike" kern="0" cap="none" spc="0" normalizeH="0" baseline="0" noProof="0" dirty="0">
              <a:ln>
                <a:noFill/>
              </a:ln>
              <a:solidFill>
                <a:srgbClr val="002060"/>
              </a:solidFill>
              <a:effectLst/>
              <a:uLnTx/>
              <a:uFillTx/>
              <a:latin typeface="Arial"/>
              <a:ea typeface="+mn-lt"/>
              <a:cs typeface="Arial"/>
              <a:sym typeface="Arial"/>
            </a:endParaRPr>
          </a:p>
          <a:p>
            <a:pPr lvl="0">
              <a:buClr>
                <a:srgbClr val="000000"/>
              </a:buClr>
            </a:pPr>
            <a:r>
              <a:rPr lang="el-GR" sz="1400" kern="0" dirty="0">
                <a:solidFill>
                  <a:srgbClr val="002060"/>
                </a:solidFill>
                <a:latin typeface="Arial"/>
                <a:ea typeface="+mn-lt"/>
                <a:cs typeface="Arial"/>
                <a:sym typeface="Arial"/>
              </a:rPr>
              <a:t>π/υ </a:t>
            </a:r>
            <a:r>
              <a:rPr lang="el-GR" sz="1400" b="1" kern="0" dirty="0">
                <a:solidFill>
                  <a:srgbClr val="002060"/>
                </a:solidFill>
                <a:latin typeface="Arial"/>
                <a:ea typeface="+mn-lt"/>
                <a:cs typeface="Arial"/>
                <a:sym typeface="Arial"/>
              </a:rPr>
              <a:t>49,5 εκατ. €</a:t>
            </a:r>
            <a:endParaRPr kumimoji="0" lang="el-GR" sz="1400" b="0" i="0" u="none" strike="noStrike" kern="0" cap="none" spc="0" normalizeH="0" baseline="0" noProof="0" dirty="0">
              <a:ln>
                <a:noFill/>
              </a:ln>
              <a:solidFill>
                <a:srgbClr val="002060"/>
              </a:solidFill>
              <a:effectLst/>
              <a:uLnTx/>
              <a:uFillTx/>
              <a:latin typeface="Arial"/>
              <a:ea typeface="+mn-lt"/>
              <a:cs typeface="Arial"/>
            </a:endParaRPr>
          </a:p>
        </p:txBody>
      </p:sp>
      <p:sp>
        <p:nvSpPr>
          <p:cNvPr id="15" name="Google Shape;414;p13">
            <a:extLst>
              <a:ext uri="{FF2B5EF4-FFF2-40B4-BE49-F238E27FC236}">
                <a16:creationId xmlns:a16="http://schemas.microsoft.com/office/drawing/2014/main" id="{A4C11A50-1977-3AD7-E82F-9486D41B213A}"/>
              </a:ext>
            </a:extLst>
          </p:cNvPr>
          <p:cNvSpPr/>
          <p:nvPr/>
        </p:nvSpPr>
        <p:spPr>
          <a:xfrm>
            <a:off x="779435" y="158892"/>
            <a:ext cx="6783921" cy="371184"/>
          </a:xfrm>
          <a:prstGeom prst="rect">
            <a:avLst/>
          </a:prstGeom>
          <a:noFill/>
          <a:ln>
            <a:noFill/>
          </a:ln>
        </p:spPr>
        <p:txBody>
          <a:bodyPr spcFirstLastPara="1" wrap="square" lIns="0" tIns="0" rIns="0" bIns="0" anchor="t" anchorCtr="0">
            <a:noAutofit/>
          </a:bodyPr>
          <a:lstStyle/>
          <a:p>
            <a:pPr marL="0" marR="0" lvl="0" indent="0" algn="l" defTabSz="609630" rtl="0" eaLnBrk="1" fontAlgn="auto" latinLnBrk="0" hangingPunct="1">
              <a:lnSpc>
                <a:spcPct val="117222"/>
              </a:lnSpc>
              <a:spcBef>
                <a:spcPts val="0"/>
              </a:spcBef>
              <a:spcAft>
                <a:spcPts val="0"/>
              </a:spcAft>
              <a:buClr>
                <a:srgbClr val="203A73"/>
              </a:buClr>
              <a:buSzPts val="22500"/>
              <a:buFont typeface="Arial"/>
              <a:buNone/>
              <a:tabLst/>
              <a:defRPr/>
            </a:pPr>
            <a:r>
              <a:rPr kumimoji="0" lang="el-GR" sz="3334" b="0" i="0" u="none" strike="noStrike" kern="0" cap="none" spc="0" normalizeH="0" baseline="0" noProof="0" dirty="0">
                <a:ln>
                  <a:noFill/>
                </a:ln>
                <a:solidFill>
                  <a:srgbClr val="002060"/>
                </a:solidFill>
                <a:effectLst/>
                <a:uLnTx/>
                <a:uFillTx/>
                <a:latin typeface="Arial Black"/>
                <a:ea typeface="Arial Black"/>
                <a:cs typeface="Arial Black"/>
                <a:sym typeface="Arial Black"/>
              </a:rPr>
              <a:t>Τηλεθέρμανση</a:t>
            </a:r>
          </a:p>
        </p:txBody>
      </p:sp>
      <p:cxnSp>
        <p:nvCxnSpPr>
          <p:cNvPr id="17" name="Ευθεία γραμμή σύνδεσης 16">
            <a:extLst>
              <a:ext uri="{FF2B5EF4-FFF2-40B4-BE49-F238E27FC236}">
                <a16:creationId xmlns:a16="http://schemas.microsoft.com/office/drawing/2014/main" id="{0B21C4C4-D0FC-FD3A-2F78-22036AB31E04}"/>
              </a:ext>
            </a:extLst>
          </p:cNvPr>
          <p:cNvCxnSpPr/>
          <p:nvPr/>
        </p:nvCxnSpPr>
        <p:spPr>
          <a:xfrm>
            <a:off x="261643" y="779953"/>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14" name="Google Shape;1275;p29">
            <a:extLst>
              <a:ext uri="{FF2B5EF4-FFF2-40B4-BE49-F238E27FC236}">
                <a16:creationId xmlns:a16="http://schemas.microsoft.com/office/drawing/2014/main" id="{8DF245D7-61F9-CF04-47EC-80DA74B2E3BE}"/>
              </a:ext>
            </a:extLst>
          </p:cNvPr>
          <p:cNvSpPr/>
          <p:nvPr/>
        </p:nvSpPr>
        <p:spPr>
          <a:xfrm>
            <a:off x="4519850" y="3078504"/>
            <a:ext cx="3152300" cy="2613542"/>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 name="Ορθογώνιο 15">
            <a:extLst>
              <a:ext uri="{FF2B5EF4-FFF2-40B4-BE49-F238E27FC236}">
                <a16:creationId xmlns:a16="http://schemas.microsoft.com/office/drawing/2014/main" id="{57A44AE7-592E-FA86-CEC4-08F1D2F4133A}"/>
              </a:ext>
            </a:extLst>
          </p:cNvPr>
          <p:cNvSpPr/>
          <p:nvPr/>
        </p:nvSpPr>
        <p:spPr>
          <a:xfrm>
            <a:off x="4690890" y="3389264"/>
            <a:ext cx="2981260" cy="1600438"/>
          </a:xfrm>
          <a:prstGeom prst="rect">
            <a:avLst/>
          </a:prstGeom>
        </p:spPr>
        <p:txBody>
          <a:bodyPr wrap="square" lIns="91440" tIns="45720" rIns="91440" bIns="45720" anchor="t">
            <a:spAutoFit/>
          </a:bodyPr>
          <a:lstStyle/>
          <a:p>
            <a:pPr lvl="0">
              <a:buClr>
                <a:srgbClr val="000000"/>
              </a:buClr>
            </a:pPr>
            <a:r>
              <a:rPr lang="el-GR" sz="1400" b="1" kern="0" dirty="0">
                <a:solidFill>
                  <a:srgbClr val="002060"/>
                </a:solidFill>
                <a:ea typeface="+mn-lt"/>
                <a:cs typeface="Arial"/>
                <a:sym typeface="Arial"/>
              </a:rPr>
              <a:t>Τροφοδότηση της τηλεθέρμανσης Πτολεμαΐδας – Β Φάση</a:t>
            </a:r>
          </a:p>
          <a:p>
            <a:pPr lvl="0">
              <a:buClr>
                <a:srgbClr val="000000"/>
              </a:buClr>
            </a:pPr>
            <a:endParaRPr kumimoji="0" lang="el-GR" sz="1400" b="1" i="0" u="none" strike="noStrike" kern="0" cap="none" spc="0" normalizeH="0" baseline="0" noProof="0" dirty="0">
              <a:ln>
                <a:noFill/>
              </a:ln>
              <a:solidFill>
                <a:srgbClr val="002060"/>
              </a:solidFill>
              <a:effectLst/>
              <a:uLnTx/>
              <a:uFillTx/>
              <a:latin typeface="Arial"/>
              <a:ea typeface="+mn-lt"/>
              <a:cs typeface="Arial"/>
              <a:sym typeface="Arial"/>
            </a:endParaRPr>
          </a:p>
          <a:p>
            <a:pPr lvl="0">
              <a:buClr>
                <a:srgbClr val="000000"/>
              </a:buClr>
            </a:pPr>
            <a:endParaRPr lang="el-GR" sz="1400" b="1" kern="0" dirty="0">
              <a:solidFill>
                <a:srgbClr val="002060"/>
              </a:solidFill>
              <a:latin typeface="Arial"/>
              <a:ea typeface="+mn-lt"/>
              <a:cs typeface="Arial"/>
              <a:sym typeface="Arial"/>
            </a:endParaRPr>
          </a:p>
          <a:p>
            <a:pPr lvl="0">
              <a:buClr>
                <a:srgbClr val="000000"/>
              </a:buClr>
            </a:pPr>
            <a:endParaRPr kumimoji="0" lang="el-GR" sz="1400" b="1" i="0" u="none" strike="noStrike" kern="0" cap="none" spc="0" normalizeH="0" baseline="0" noProof="0" dirty="0">
              <a:ln>
                <a:noFill/>
              </a:ln>
              <a:solidFill>
                <a:srgbClr val="002060"/>
              </a:solidFill>
              <a:effectLst/>
              <a:uLnTx/>
              <a:uFillTx/>
              <a:latin typeface="Arial"/>
              <a:ea typeface="+mn-lt"/>
              <a:cs typeface="Arial"/>
              <a:sym typeface="Arial"/>
            </a:endParaRPr>
          </a:p>
          <a:p>
            <a:pPr lvl="0">
              <a:buClr>
                <a:srgbClr val="000000"/>
              </a:buClr>
            </a:pPr>
            <a:r>
              <a:rPr lang="el-GR" sz="1400" kern="0" dirty="0">
                <a:solidFill>
                  <a:srgbClr val="002060"/>
                </a:solidFill>
                <a:latin typeface="Arial"/>
                <a:ea typeface="+mn-lt"/>
                <a:cs typeface="Arial"/>
                <a:sym typeface="Arial"/>
              </a:rPr>
              <a:t>π/υ </a:t>
            </a:r>
            <a:r>
              <a:rPr lang="el-GR" sz="1400" b="1" kern="0" dirty="0">
                <a:solidFill>
                  <a:srgbClr val="002060"/>
                </a:solidFill>
                <a:latin typeface="Arial"/>
                <a:ea typeface="+mn-lt"/>
                <a:cs typeface="Arial"/>
                <a:sym typeface="Arial"/>
              </a:rPr>
              <a:t>9,1 εκατ. €</a:t>
            </a:r>
            <a:endParaRPr kumimoji="0" lang="el-GR" sz="1400" b="0" i="0" u="none" strike="noStrike" kern="0" cap="none" spc="0" normalizeH="0" baseline="0" noProof="0" dirty="0">
              <a:ln>
                <a:noFill/>
              </a:ln>
              <a:solidFill>
                <a:srgbClr val="002060"/>
              </a:solidFill>
              <a:effectLst/>
              <a:uLnTx/>
              <a:uFillTx/>
              <a:latin typeface="Arial"/>
              <a:ea typeface="+mn-lt"/>
              <a:cs typeface="Arial"/>
            </a:endParaRPr>
          </a:p>
        </p:txBody>
      </p:sp>
      <p:sp>
        <p:nvSpPr>
          <p:cNvPr id="18" name="Google Shape;1275;p29">
            <a:extLst>
              <a:ext uri="{FF2B5EF4-FFF2-40B4-BE49-F238E27FC236}">
                <a16:creationId xmlns:a16="http://schemas.microsoft.com/office/drawing/2014/main" id="{C5CBB0E1-B04B-491E-DAE8-096D1DF56551}"/>
              </a:ext>
            </a:extLst>
          </p:cNvPr>
          <p:cNvSpPr/>
          <p:nvPr/>
        </p:nvSpPr>
        <p:spPr>
          <a:xfrm>
            <a:off x="7915763" y="3067619"/>
            <a:ext cx="3152300" cy="2613542"/>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 name="Ορθογώνιο 18">
            <a:extLst>
              <a:ext uri="{FF2B5EF4-FFF2-40B4-BE49-F238E27FC236}">
                <a16:creationId xmlns:a16="http://schemas.microsoft.com/office/drawing/2014/main" id="{973BF2F3-815C-2121-7769-F9C5F4DF0AB5}"/>
              </a:ext>
            </a:extLst>
          </p:cNvPr>
          <p:cNvSpPr/>
          <p:nvPr/>
        </p:nvSpPr>
        <p:spPr>
          <a:xfrm>
            <a:off x="8086803" y="3416480"/>
            <a:ext cx="2981260" cy="1600438"/>
          </a:xfrm>
          <a:prstGeom prst="rect">
            <a:avLst/>
          </a:prstGeom>
        </p:spPr>
        <p:txBody>
          <a:bodyPr wrap="square" lIns="91440" tIns="45720" rIns="91440" bIns="45720" anchor="t">
            <a:spAutoFit/>
          </a:bodyPr>
          <a:lstStyle/>
          <a:p>
            <a:pPr lvl="0">
              <a:buClr>
                <a:srgbClr val="000000"/>
              </a:buClr>
            </a:pPr>
            <a:r>
              <a:rPr lang="el-GR" sz="1400" b="1" kern="0" dirty="0">
                <a:solidFill>
                  <a:srgbClr val="002060"/>
                </a:solidFill>
                <a:ea typeface="+mn-lt"/>
                <a:cs typeface="Arial"/>
                <a:sym typeface="Arial"/>
              </a:rPr>
              <a:t>Διασύνδεση της τηλεθέρμανσης Αμυνταίου με το Ενιαίο Δίκτυο Τηλεθερμάνσεων Δυτικής Μακεδονίας </a:t>
            </a:r>
          </a:p>
          <a:p>
            <a:pPr lvl="0">
              <a:buClr>
                <a:srgbClr val="000000"/>
              </a:buClr>
            </a:pPr>
            <a:endParaRPr kumimoji="0" lang="el-GR" sz="1400" b="1" i="0" u="none" strike="noStrike" kern="0" cap="none" spc="0" normalizeH="0" baseline="0" noProof="0" dirty="0">
              <a:ln>
                <a:noFill/>
              </a:ln>
              <a:solidFill>
                <a:srgbClr val="002060"/>
              </a:solidFill>
              <a:effectLst/>
              <a:uLnTx/>
              <a:uFillTx/>
              <a:latin typeface="Arial"/>
              <a:ea typeface="+mn-lt"/>
              <a:cs typeface="Arial"/>
              <a:sym typeface="Arial"/>
            </a:endParaRPr>
          </a:p>
          <a:p>
            <a:pPr lvl="0">
              <a:buClr>
                <a:srgbClr val="000000"/>
              </a:buClr>
            </a:pPr>
            <a:endParaRPr kumimoji="0" lang="el-GR" sz="1400" b="1" i="0" u="none" strike="noStrike" kern="0" cap="none" spc="0" normalizeH="0" baseline="0" noProof="0" dirty="0">
              <a:ln>
                <a:noFill/>
              </a:ln>
              <a:solidFill>
                <a:srgbClr val="002060"/>
              </a:solidFill>
              <a:effectLst/>
              <a:uLnTx/>
              <a:uFillTx/>
              <a:latin typeface="Arial"/>
              <a:ea typeface="+mn-lt"/>
              <a:cs typeface="Arial"/>
              <a:sym typeface="Arial"/>
            </a:endParaRPr>
          </a:p>
          <a:p>
            <a:pPr lvl="0">
              <a:buClr>
                <a:srgbClr val="000000"/>
              </a:buClr>
            </a:pPr>
            <a:r>
              <a:rPr lang="el-GR" sz="1400" kern="0" dirty="0">
                <a:solidFill>
                  <a:srgbClr val="002060"/>
                </a:solidFill>
                <a:latin typeface="Arial"/>
                <a:ea typeface="+mn-lt"/>
                <a:cs typeface="Arial"/>
                <a:sym typeface="Arial"/>
              </a:rPr>
              <a:t>π/υ </a:t>
            </a:r>
            <a:r>
              <a:rPr lang="el-GR" sz="1400" b="1" kern="0" dirty="0">
                <a:solidFill>
                  <a:srgbClr val="002060"/>
                </a:solidFill>
                <a:latin typeface="Arial"/>
                <a:ea typeface="+mn-lt"/>
                <a:cs typeface="Arial"/>
                <a:sym typeface="Arial"/>
              </a:rPr>
              <a:t>20 εκατ. €</a:t>
            </a:r>
            <a:endParaRPr kumimoji="0" lang="el-GR" sz="1400" b="0" i="0" u="none" strike="noStrike" kern="0" cap="none" spc="0" normalizeH="0" baseline="0" noProof="0" dirty="0">
              <a:ln>
                <a:noFill/>
              </a:ln>
              <a:solidFill>
                <a:srgbClr val="002060"/>
              </a:solidFill>
              <a:effectLst/>
              <a:uLnTx/>
              <a:uFillTx/>
              <a:latin typeface="Arial"/>
              <a:ea typeface="+mn-lt"/>
              <a:cs typeface="Arial"/>
            </a:endParaRPr>
          </a:p>
        </p:txBody>
      </p:sp>
    </p:spTree>
    <p:extLst>
      <p:ext uri="{BB962C8B-B14F-4D97-AF65-F5344CB8AC3E}">
        <p14:creationId xmlns:p14="http://schemas.microsoft.com/office/powerpoint/2010/main" val="2933660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155541-C4B9-505F-958F-97F9AC1B9B55}"/>
            </a:ext>
          </a:extLst>
        </p:cNvPr>
        <p:cNvGrpSpPr/>
        <p:nvPr/>
      </p:nvGrpSpPr>
      <p:grpSpPr>
        <a:xfrm>
          <a:off x="0" y="0"/>
          <a:ext cx="0" cy="0"/>
          <a:chOff x="0" y="0"/>
          <a:chExt cx="0" cy="0"/>
        </a:xfrm>
      </p:grpSpPr>
      <p:sp>
        <p:nvSpPr>
          <p:cNvPr id="4" name="Google Shape;1275;p29">
            <a:extLst>
              <a:ext uri="{FF2B5EF4-FFF2-40B4-BE49-F238E27FC236}">
                <a16:creationId xmlns:a16="http://schemas.microsoft.com/office/drawing/2014/main" id="{4B3B268A-4B9B-FCD7-F73D-68FA81553B51}"/>
              </a:ext>
            </a:extLst>
          </p:cNvPr>
          <p:cNvSpPr/>
          <p:nvPr/>
        </p:nvSpPr>
        <p:spPr>
          <a:xfrm>
            <a:off x="481527" y="1299791"/>
            <a:ext cx="2948958" cy="2073394"/>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5" name="Google Shape;1282;p29">
            <a:extLst>
              <a:ext uri="{FF2B5EF4-FFF2-40B4-BE49-F238E27FC236}">
                <a16:creationId xmlns:a16="http://schemas.microsoft.com/office/drawing/2014/main" id="{85923877-07AF-C0AC-0003-B38470DFD200}"/>
              </a:ext>
            </a:extLst>
          </p:cNvPr>
          <p:cNvSpPr/>
          <p:nvPr/>
        </p:nvSpPr>
        <p:spPr>
          <a:xfrm>
            <a:off x="391846" y="528974"/>
            <a:ext cx="3137164" cy="931736"/>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20000"/>
              </a:lnSpc>
            </a:pPr>
            <a:r>
              <a:rPr lang="el-GR" sz="1400" b="1" kern="0">
                <a:solidFill>
                  <a:srgbClr val="002060"/>
                </a:solidFill>
                <a:latin typeface="Arial"/>
                <a:ea typeface="+mn-lt"/>
                <a:cs typeface="+mn-lt"/>
                <a:sym typeface="Arial"/>
              </a:rPr>
              <a:t>Αγωγός φυσικού αερίου υψηλής πίεσης προς τη </a:t>
            </a:r>
            <a:endParaRPr lang="el-GR">
              <a:solidFill>
                <a:srgbClr val="000000"/>
              </a:solidFill>
              <a:latin typeface="Calibri"/>
              <a:ea typeface="+mn-lt"/>
              <a:cs typeface="+mn-lt"/>
              <a:sym typeface="Arial"/>
            </a:endParaRPr>
          </a:p>
          <a:p>
            <a:pPr algn="ctr">
              <a:lnSpc>
                <a:spcPct val="120000"/>
              </a:lnSpc>
            </a:pPr>
            <a:r>
              <a:rPr lang="el-GR" sz="1400" b="1" kern="0">
                <a:solidFill>
                  <a:srgbClr val="00B0F0"/>
                </a:solidFill>
                <a:latin typeface="Arial"/>
                <a:ea typeface="+mn-lt"/>
                <a:cs typeface="+mn-lt"/>
                <a:sym typeface="Arial"/>
              </a:rPr>
              <a:t>Δυτική Μακεδονία</a:t>
            </a:r>
            <a:r>
              <a:rPr lang="el-GR" sz="1400" b="1" kern="0">
                <a:solidFill>
                  <a:srgbClr val="002060"/>
                </a:solidFill>
                <a:latin typeface="Arial"/>
                <a:ea typeface="+mn-lt"/>
                <a:cs typeface="+mn-lt"/>
                <a:sym typeface="Arial"/>
              </a:rPr>
              <a:t> </a:t>
            </a:r>
            <a:endParaRPr lang="el-GR">
              <a:solidFill>
                <a:srgbClr val="000000"/>
              </a:solidFill>
              <a:latin typeface="Calibri"/>
              <a:ea typeface="+mn-lt"/>
              <a:cs typeface="+mn-lt"/>
              <a:sym typeface="Arial"/>
            </a:endParaRPr>
          </a:p>
          <a:p>
            <a:pPr algn="ctr">
              <a:lnSpc>
                <a:spcPct val="120000"/>
              </a:lnSpc>
            </a:pPr>
            <a:r>
              <a:rPr lang="el-GR" sz="1400" b="1" kern="0">
                <a:solidFill>
                  <a:srgbClr val="002060"/>
                </a:solidFill>
                <a:latin typeface="Arial"/>
                <a:ea typeface="+mn-lt"/>
                <a:cs typeface="+mn-lt"/>
                <a:sym typeface="Arial"/>
              </a:rPr>
              <a:t>(έργο ΔΕΣΦΑ)</a:t>
            </a:r>
            <a:endParaRPr lang="el-GR">
              <a:ea typeface="Calibri"/>
              <a:cs typeface="Calibri"/>
            </a:endParaRPr>
          </a:p>
        </p:txBody>
      </p:sp>
      <p:sp>
        <p:nvSpPr>
          <p:cNvPr id="9" name="Ορθογώνιο 8">
            <a:extLst>
              <a:ext uri="{FF2B5EF4-FFF2-40B4-BE49-F238E27FC236}">
                <a16:creationId xmlns:a16="http://schemas.microsoft.com/office/drawing/2014/main" id="{60F72028-D220-7CA6-0159-10FCA89BF33D}"/>
              </a:ext>
            </a:extLst>
          </p:cNvPr>
          <p:cNvSpPr/>
          <p:nvPr/>
        </p:nvSpPr>
        <p:spPr>
          <a:xfrm>
            <a:off x="631526" y="1599740"/>
            <a:ext cx="2568745" cy="523220"/>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Υ: 184,6 εκ.€ στο ΤΑΑ</a:t>
            </a:r>
          </a:p>
          <a:p>
            <a:r>
              <a:rPr lang="el-GR" sz="1400" kern="0">
                <a:solidFill>
                  <a:srgbClr val="002060"/>
                </a:solidFill>
                <a:ea typeface="Calibri"/>
                <a:cs typeface="Arial"/>
              </a:rPr>
              <a:t>Εκτιμώμενη ολοκλήρωση: 2025</a:t>
            </a:r>
          </a:p>
        </p:txBody>
      </p:sp>
      <p:sp>
        <p:nvSpPr>
          <p:cNvPr id="8" name="Google Shape;1275;p29">
            <a:extLst>
              <a:ext uri="{FF2B5EF4-FFF2-40B4-BE49-F238E27FC236}">
                <a16:creationId xmlns:a16="http://schemas.microsoft.com/office/drawing/2014/main" id="{3A1E4D8F-AC33-3170-F147-2F607AE29E9C}"/>
              </a:ext>
            </a:extLst>
          </p:cNvPr>
          <p:cNvSpPr/>
          <p:nvPr/>
        </p:nvSpPr>
        <p:spPr>
          <a:xfrm>
            <a:off x="4443354" y="1440638"/>
            <a:ext cx="3084077" cy="1998914"/>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lang="el-GR">
              <a:solidFill>
                <a:srgbClr val="000000"/>
              </a:solidFill>
              <a:ea typeface="Calibri"/>
              <a:cs typeface="Calibri"/>
            </a:endParaRPr>
          </a:p>
        </p:txBody>
      </p:sp>
      <p:sp>
        <p:nvSpPr>
          <p:cNvPr id="12" name="Google Shape;1282;p29">
            <a:extLst>
              <a:ext uri="{FF2B5EF4-FFF2-40B4-BE49-F238E27FC236}">
                <a16:creationId xmlns:a16="http://schemas.microsoft.com/office/drawing/2014/main" id="{BE2A5284-7BA5-610F-90A0-4B74D18565EC}"/>
              </a:ext>
            </a:extLst>
          </p:cNvPr>
          <p:cNvSpPr/>
          <p:nvPr/>
        </p:nvSpPr>
        <p:spPr>
          <a:xfrm>
            <a:off x="4442477" y="392903"/>
            <a:ext cx="3083212" cy="1202447"/>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l-GR" sz="1400" b="1" kern="0">
                <a:solidFill>
                  <a:srgbClr val="002060"/>
                </a:solidFill>
                <a:latin typeface="Arial"/>
                <a:ea typeface="+mn-lt"/>
                <a:cs typeface="Calibri"/>
              </a:rPr>
              <a:t>Αγωγός Αμύνταιο- </a:t>
            </a:r>
            <a:r>
              <a:rPr lang="el-GR" sz="1400" b="1" kern="0" err="1">
                <a:solidFill>
                  <a:srgbClr val="002060"/>
                </a:solidFill>
                <a:latin typeface="Arial"/>
                <a:ea typeface="+mn-lt"/>
                <a:cs typeface="Calibri"/>
              </a:rPr>
              <a:t>Κομνηνά</a:t>
            </a:r>
          </a:p>
          <a:p>
            <a:pPr algn="ctr">
              <a:lnSpc>
                <a:spcPct val="120000"/>
              </a:lnSpc>
            </a:pPr>
            <a:r>
              <a:rPr lang="el-GR" sz="1400" b="1" kern="0">
                <a:solidFill>
                  <a:srgbClr val="002060"/>
                </a:solidFill>
                <a:latin typeface="Arial"/>
                <a:ea typeface="+mn-lt"/>
                <a:cs typeface="Calibri"/>
              </a:rPr>
              <a:t>(έργο ΔΕΣΦΑ)</a:t>
            </a:r>
          </a:p>
        </p:txBody>
      </p:sp>
      <p:sp>
        <p:nvSpPr>
          <p:cNvPr id="16" name="Ορθογώνιο 15">
            <a:extLst>
              <a:ext uri="{FF2B5EF4-FFF2-40B4-BE49-F238E27FC236}">
                <a16:creationId xmlns:a16="http://schemas.microsoft.com/office/drawing/2014/main" id="{8CB13C29-7D54-8021-9A37-E589A2FE3AE1}"/>
              </a:ext>
            </a:extLst>
          </p:cNvPr>
          <p:cNvSpPr/>
          <p:nvPr/>
        </p:nvSpPr>
        <p:spPr>
          <a:xfrm>
            <a:off x="4506936" y="1598783"/>
            <a:ext cx="2568742" cy="738664"/>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Υ: 13 εκ.€ </a:t>
            </a:r>
          </a:p>
          <a:p>
            <a:r>
              <a:rPr lang="el-GR" sz="1400" kern="0" dirty="0">
                <a:solidFill>
                  <a:srgbClr val="002060"/>
                </a:solidFill>
                <a:ea typeface="Calibri"/>
                <a:cs typeface="Calibri"/>
              </a:rPr>
              <a:t>Εκτιμώμενη ολοκλήρωση: 2025</a:t>
            </a:r>
            <a:endParaRPr lang="en-US" sz="1400" kern="0" dirty="0">
              <a:solidFill>
                <a:srgbClr val="002060"/>
              </a:solidFill>
              <a:ea typeface="Calibri"/>
              <a:cs typeface="Calibri"/>
            </a:endParaRPr>
          </a:p>
          <a:p>
            <a:endParaRPr lang="el-GR" sz="1400" b="1" kern="0" dirty="0">
              <a:solidFill>
                <a:srgbClr val="002060"/>
              </a:solidFill>
              <a:ea typeface="Calibri"/>
              <a:cs typeface="Arial"/>
            </a:endParaRPr>
          </a:p>
        </p:txBody>
      </p:sp>
      <p:sp>
        <p:nvSpPr>
          <p:cNvPr id="19" name="Ορθογώνιο 18">
            <a:extLst>
              <a:ext uri="{FF2B5EF4-FFF2-40B4-BE49-F238E27FC236}">
                <a16:creationId xmlns:a16="http://schemas.microsoft.com/office/drawing/2014/main" id="{84AAE112-F133-7A94-7752-5E9C7A2AD0E5}"/>
              </a:ext>
            </a:extLst>
          </p:cNvPr>
          <p:cNvSpPr/>
          <p:nvPr/>
        </p:nvSpPr>
        <p:spPr>
          <a:xfrm>
            <a:off x="4502672" y="2105188"/>
            <a:ext cx="2669862" cy="954107"/>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ρόοδος υλοποίησης:</a:t>
            </a:r>
            <a:r>
              <a:rPr lang="el-GR" sz="1400" kern="0" dirty="0">
                <a:solidFill>
                  <a:srgbClr val="002060"/>
                </a:solidFill>
                <a:cs typeface="Arial"/>
                <a:sym typeface="Arial"/>
              </a:rPr>
              <a:t> Προετοιμασία για την υποβολή αιτήματος χρηματοδότησης στο ΕΣΠΑ 2021-2027</a:t>
            </a:r>
            <a:endParaRPr lang="el-GR" sz="1400" kern="0" dirty="0">
              <a:solidFill>
                <a:srgbClr val="002060"/>
              </a:solidFill>
              <a:ea typeface="Calibri"/>
              <a:cs typeface="Arial"/>
            </a:endParaRPr>
          </a:p>
        </p:txBody>
      </p:sp>
      <p:sp>
        <p:nvSpPr>
          <p:cNvPr id="2" name="Ορθογώνιο 1">
            <a:extLst>
              <a:ext uri="{FF2B5EF4-FFF2-40B4-BE49-F238E27FC236}">
                <a16:creationId xmlns:a16="http://schemas.microsoft.com/office/drawing/2014/main" id="{C8002EC8-AD1A-B073-BCA4-2B60960D478F}"/>
              </a:ext>
            </a:extLst>
          </p:cNvPr>
          <p:cNvSpPr/>
          <p:nvPr/>
        </p:nvSpPr>
        <p:spPr>
          <a:xfrm>
            <a:off x="632034" y="2118079"/>
            <a:ext cx="2469337" cy="1169551"/>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ρόοδος υλοποίησης:</a:t>
            </a:r>
            <a:r>
              <a:rPr lang="el-GR" sz="1400" kern="0" dirty="0">
                <a:solidFill>
                  <a:srgbClr val="002060"/>
                </a:solidFill>
                <a:cs typeface="Arial"/>
                <a:sym typeface="Arial"/>
              </a:rPr>
              <a:t> </a:t>
            </a:r>
          </a:p>
          <a:p>
            <a:r>
              <a:rPr lang="el-GR" sz="1400" kern="0" dirty="0">
                <a:solidFill>
                  <a:srgbClr val="002060"/>
                </a:solidFill>
                <a:cs typeface="Arial"/>
                <a:sym typeface="Arial"/>
              </a:rPr>
              <a:t>Το έργο εκτελείται. Βρίσκεται υπό ένταξη στο Πρόγραμμα "Περιβάλλον και Κλιματική Αλλαγή (ΠΕΚΑ) 2021-2027" </a:t>
            </a:r>
            <a:endParaRPr lang="el-GR" sz="1400" kern="0" dirty="0">
              <a:solidFill>
                <a:srgbClr val="002060"/>
              </a:solidFill>
              <a:ea typeface="Calibri"/>
              <a:cs typeface="Arial"/>
            </a:endParaRPr>
          </a:p>
        </p:txBody>
      </p:sp>
      <p:sp>
        <p:nvSpPr>
          <p:cNvPr id="14" name="Google Shape;1275;p29">
            <a:extLst>
              <a:ext uri="{FF2B5EF4-FFF2-40B4-BE49-F238E27FC236}">
                <a16:creationId xmlns:a16="http://schemas.microsoft.com/office/drawing/2014/main" id="{5CE8A57A-2C44-889F-A085-E50E02711824}"/>
              </a:ext>
            </a:extLst>
          </p:cNvPr>
          <p:cNvSpPr/>
          <p:nvPr/>
        </p:nvSpPr>
        <p:spPr>
          <a:xfrm>
            <a:off x="8231163" y="1379315"/>
            <a:ext cx="3550059" cy="2147809"/>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lang="el-GR">
              <a:solidFill>
                <a:srgbClr val="000000"/>
              </a:solidFill>
              <a:ea typeface="Calibri"/>
              <a:cs typeface="Calibri"/>
            </a:endParaRPr>
          </a:p>
        </p:txBody>
      </p:sp>
      <p:sp>
        <p:nvSpPr>
          <p:cNvPr id="17" name="Google Shape;1282;p29">
            <a:extLst>
              <a:ext uri="{FF2B5EF4-FFF2-40B4-BE49-F238E27FC236}">
                <a16:creationId xmlns:a16="http://schemas.microsoft.com/office/drawing/2014/main" id="{775E389D-601F-6921-5E3C-EF9F8F0C956A}"/>
              </a:ext>
            </a:extLst>
          </p:cNvPr>
          <p:cNvSpPr/>
          <p:nvPr/>
        </p:nvSpPr>
        <p:spPr>
          <a:xfrm>
            <a:off x="8337079" y="390135"/>
            <a:ext cx="3173927" cy="109358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l-GR" sz="1400" b="1" kern="0" dirty="0">
                <a:solidFill>
                  <a:srgbClr val="002060"/>
                </a:solidFill>
                <a:latin typeface="Arial"/>
                <a:ea typeface="+mn-lt"/>
                <a:cs typeface="+mn-lt"/>
                <a:sym typeface="Arial"/>
              </a:rPr>
              <a:t>Επέκταση Δικτύου Πολυαιθυλενίου και Συνδέσεις Οικιακών και Εμπορικών Πελατών στα Δίκτυα Χαμηλής Πίεσης στη </a:t>
            </a:r>
            <a:r>
              <a:rPr lang="el-GR" sz="1400" b="1" kern="0" dirty="0">
                <a:solidFill>
                  <a:srgbClr val="00B0F0"/>
                </a:solidFill>
                <a:latin typeface="Arial"/>
                <a:ea typeface="+mn-lt"/>
                <a:cs typeface="+mn-lt"/>
                <a:sym typeface="Arial"/>
              </a:rPr>
              <a:t>Φλώρινα </a:t>
            </a:r>
            <a:endParaRPr lang="el-GR" dirty="0">
              <a:solidFill>
                <a:srgbClr val="00B0F0"/>
              </a:solidFill>
            </a:endParaRPr>
          </a:p>
        </p:txBody>
      </p:sp>
      <p:sp>
        <p:nvSpPr>
          <p:cNvPr id="26" name="Ορθογώνιο 25">
            <a:extLst>
              <a:ext uri="{FF2B5EF4-FFF2-40B4-BE49-F238E27FC236}">
                <a16:creationId xmlns:a16="http://schemas.microsoft.com/office/drawing/2014/main" id="{1B65B015-3EFA-F07D-9679-666E83A574F0}"/>
              </a:ext>
            </a:extLst>
          </p:cNvPr>
          <p:cNvSpPr/>
          <p:nvPr/>
        </p:nvSpPr>
        <p:spPr>
          <a:xfrm>
            <a:off x="8238619" y="1574530"/>
            <a:ext cx="3370846" cy="523220"/>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Υ: 20,27 εκ.€</a:t>
            </a:r>
          </a:p>
          <a:p>
            <a:r>
              <a:rPr lang="el-GR" sz="1400" kern="0" dirty="0">
                <a:solidFill>
                  <a:srgbClr val="002060"/>
                </a:solidFill>
                <a:ea typeface="Calibri"/>
                <a:cs typeface="Calibri"/>
              </a:rPr>
              <a:t>Εκτιμώμενη ολοκλήρωση: 2029</a:t>
            </a:r>
            <a:endParaRPr lang="en-US" sz="1400" kern="0" dirty="0">
              <a:solidFill>
                <a:srgbClr val="002060"/>
              </a:solidFill>
              <a:ea typeface="Calibri"/>
              <a:cs typeface="Calibri"/>
            </a:endParaRPr>
          </a:p>
        </p:txBody>
      </p:sp>
      <p:sp>
        <p:nvSpPr>
          <p:cNvPr id="30" name="Ορθογώνιο 29">
            <a:extLst>
              <a:ext uri="{FF2B5EF4-FFF2-40B4-BE49-F238E27FC236}">
                <a16:creationId xmlns:a16="http://schemas.microsoft.com/office/drawing/2014/main" id="{75D80854-E7DE-88AA-88DF-A1054FFFF788}"/>
              </a:ext>
            </a:extLst>
          </p:cNvPr>
          <p:cNvSpPr/>
          <p:nvPr/>
        </p:nvSpPr>
        <p:spPr>
          <a:xfrm>
            <a:off x="8231163" y="2105188"/>
            <a:ext cx="3364542" cy="954107"/>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ρόοδος υλοποίησης:</a:t>
            </a:r>
            <a:r>
              <a:rPr lang="el-GR" sz="1400" b="1" kern="0" dirty="0">
                <a:solidFill>
                  <a:srgbClr val="002060"/>
                </a:solidFill>
                <a:ea typeface="+mn-lt"/>
                <a:cs typeface="Arial"/>
                <a:sym typeface="Arial"/>
              </a:rPr>
              <a:t> </a:t>
            </a:r>
            <a:r>
              <a:rPr lang="el-GR" sz="1400" kern="0" dirty="0">
                <a:solidFill>
                  <a:srgbClr val="002060"/>
                </a:solidFill>
                <a:ea typeface="+mn-lt"/>
                <a:cs typeface="+mn-lt"/>
                <a:sym typeface="Arial"/>
              </a:rPr>
              <a:t> Έχει κατασκευασθεί το 99% του δικτύου και το 100% των προβλεπόμενων συνδέσεων βάσει της αρχικής περιγραφής. </a:t>
            </a:r>
            <a:endParaRPr lang="el-GR" sz="1400" kern="0" dirty="0">
              <a:solidFill>
                <a:srgbClr val="002060"/>
              </a:solidFill>
              <a:ea typeface="+mn-lt"/>
              <a:cs typeface="+mn-lt"/>
            </a:endParaRPr>
          </a:p>
        </p:txBody>
      </p:sp>
      <p:sp>
        <p:nvSpPr>
          <p:cNvPr id="11" name="Google Shape;1275;p29">
            <a:extLst>
              <a:ext uri="{FF2B5EF4-FFF2-40B4-BE49-F238E27FC236}">
                <a16:creationId xmlns:a16="http://schemas.microsoft.com/office/drawing/2014/main" id="{0D509911-1E2F-C940-D08D-CBB082C514DD}"/>
              </a:ext>
            </a:extLst>
          </p:cNvPr>
          <p:cNvSpPr/>
          <p:nvPr/>
        </p:nvSpPr>
        <p:spPr>
          <a:xfrm>
            <a:off x="275748" y="4453018"/>
            <a:ext cx="2928906" cy="2235725"/>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buFont typeface="Arial"/>
              <a:buNone/>
            </a:pPr>
            <a:endParaRPr sz="1400" kern="0">
              <a:solidFill>
                <a:srgbClr val="000000"/>
              </a:solidFill>
              <a:cs typeface="Arial"/>
              <a:sym typeface="Arial"/>
            </a:endParaRPr>
          </a:p>
        </p:txBody>
      </p:sp>
      <p:sp>
        <p:nvSpPr>
          <p:cNvPr id="13" name="Google Shape;1282;p29">
            <a:extLst>
              <a:ext uri="{FF2B5EF4-FFF2-40B4-BE49-F238E27FC236}">
                <a16:creationId xmlns:a16="http://schemas.microsoft.com/office/drawing/2014/main" id="{3AC02F13-EC30-1A43-613A-B4B1B62125B5}"/>
              </a:ext>
            </a:extLst>
          </p:cNvPr>
          <p:cNvSpPr/>
          <p:nvPr/>
        </p:nvSpPr>
        <p:spPr>
          <a:xfrm>
            <a:off x="253606" y="3684831"/>
            <a:ext cx="2946665" cy="1008208"/>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l-GR" sz="1400" b="1" kern="0" dirty="0">
                <a:solidFill>
                  <a:srgbClr val="002060"/>
                </a:solidFill>
                <a:latin typeface="Arial"/>
                <a:ea typeface="+mn-lt"/>
                <a:cs typeface="+mn-lt"/>
                <a:sym typeface="Arial"/>
              </a:rPr>
              <a:t>Αντικατάσταση συστημάτων θέρμανσης με συστήματα φυσικού αερίου</a:t>
            </a:r>
            <a:endParaRPr lang="x-none" sz="1400" kern="0" dirty="0">
              <a:solidFill>
                <a:srgbClr val="002060"/>
              </a:solidFill>
              <a:latin typeface="Arial"/>
              <a:ea typeface="+mn-lt"/>
              <a:cs typeface="+mn-lt"/>
              <a:sym typeface="Arial"/>
            </a:endParaRPr>
          </a:p>
          <a:p>
            <a:pPr algn="ctr">
              <a:lnSpc>
                <a:spcPct val="120000"/>
              </a:lnSpc>
            </a:pPr>
            <a:r>
              <a:rPr lang="el-GR" sz="1400" b="1" kern="0" dirty="0">
                <a:solidFill>
                  <a:srgbClr val="00B0F0"/>
                </a:solidFill>
                <a:latin typeface="Arial"/>
                <a:ea typeface="+mn-lt"/>
                <a:cs typeface="+mn-lt"/>
                <a:sym typeface="Arial"/>
              </a:rPr>
              <a:t>Δήμος  Φλώρινας</a:t>
            </a:r>
            <a:endParaRPr lang="x-none" sz="1400" kern="0" dirty="0">
              <a:solidFill>
                <a:srgbClr val="002060"/>
              </a:solidFill>
              <a:latin typeface="Arial"/>
              <a:ea typeface="+mn-lt"/>
              <a:cs typeface="+mn-lt"/>
            </a:endParaRPr>
          </a:p>
        </p:txBody>
      </p:sp>
      <p:sp>
        <p:nvSpPr>
          <p:cNvPr id="15" name="Ορθογώνιο 14">
            <a:extLst>
              <a:ext uri="{FF2B5EF4-FFF2-40B4-BE49-F238E27FC236}">
                <a16:creationId xmlns:a16="http://schemas.microsoft.com/office/drawing/2014/main" id="{FD748708-FF91-C880-F0C5-7DABCA807794}"/>
              </a:ext>
            </a:extLst>
          </p:cNvPr>
          <p:cNvSpPr/>
          <p:nvPr/>
        </p:nvSpPr>
        <p:spPr>
          <a:xfrm>
            <a:off x="267700" y="4701051"/>
            <a:ext cx="2779297" cy="758716"/>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dirty="0">
                <a:solidFill>
                  <a:srgbClr val="002060"/>
                </a:solidFill>
                <a:cs typeface="Arial"/>
                <a:sym typeface="Arial"/>
              </a:rPr>
              <a:t>Π/Υ: 20 εκ.€</a:t>
            </a:r>
            <a:endParaRPr lang="el-GR" dirty="0">
              <a:solidFill>
                <a:srgbClr val="000000"/>
              </a:solidFill>
              <a:ea typeface="Calibri"/>
              <a:cs typeface="Calibri"/>
            </a:endParaRPr>
          </a:p>
          <a:p>
            <a:r>
              <a:rPr lang="el-GR" sz="1400" kern="0" dirty="0">
                <a:solidFill>
                  <a:srgbClr val="002060"/>
                </a:solidFill>
                <a:ea typeface="Calibri"/>
                <a:cs typeface="Calibri"/>
              </a:rPr>
              <a:t>Εκτιμώμενη ολοκλήρωση: 2026</a:t>
            </a:r>
            <a:endParaRPr lang="en-US" sz="1400" kern="0" dirty="0">
              <a:solidFill>
                <a:srgbClr val="002060"/>
              </a:solidFill>
              <a:ea typeface="Calibri"/>
              <a:cs typeface="Calibri"/>
            </a:endParaRPr>
          </a:p>
          <a:p>
            <a:endParaRPr lang="el-GR" sz="1400" b="1" kern="0" dirty="0">
              <a:solidFill>
                <a:srgbClr val="002060"/>
              </a:solidFill>
              <a:ea typeface="Calibri"/>
              <a:cs typeface="Arial"/>
            </a:endParaRPr>
          </a:p>
        </p:txBody>
      </p:sp>
      <p:sp>
        <p:nvSpPr>
          <p:cNvPr id="18" name="Ορθογώνιο 17">
            <a:extLst>
              <a:ext uri="{FF2B5EF4-FFF2-40B4-BE49-F238E27FC236}">
                <a16:creationId xmlns:a16="http://schemas.microsoft.com/office/drawing/2014/main" id="{91073706-0992-9FC2-667C-B6986D979F82}"/>
              </a:ext>
            </a:extLst>
          </p:cNvPr>
          <p:cNvSpPr/>
          <p:nvPr/>
        </p:nvSpPr>
        <p:spPr>
          <a:xfrm>
            <a:off x="269915" y="5306436"/>
            <a:ext cx="2940572" cy="1169551"/>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dirty="0">
                <a:solidFill>
                  <a:srgbClr val="002060"/>
                </a:solidFill>
                <a:cs typeface="Arial"/>
                <a:sym typeface="Arial"/>
              </a:rPr>
              <a:t>Πρόοδος υλοποίησης:</a:t>
            </a:r>
            <a:r>
              <a:rPr lang="el-GR" sz="1400" kern="0" dirty="0">
                <a:solidFill>
                  <a:srgbClr val="002060"/>
                </a:solidFill>
                <a:cs typeface="Arial"/>
                <a:sym typeface="Arial"/>
              </a:rPr>
              <a:t> Έχουν εγκριθεί 3.896 αιτήσεις. Έχουν κατασκευαστεί περίπου 1.200 συνδέσεις, από τις οποίες οι πρώτες 173 έχουν ενεργοποιηθεί. </a:t>
            </a:r>
            <a:endParaRPr lang="el-GR" sz="1400" kern="0" dirty="0">
              <a:solidFill>
                <a:srgbClr val="002060"/>
              </a:solidFill>
              <a:ea typeface="+mn-lt"/>
              <a:cs typeface="+mn-lt"/>
            </a:endParaRPr>
          </a:p>
        </p:txBody>
      </p:sp>
      <p:sp>
        <p:nvSpPr>
          <p:cNvPr id="20" name="Google Shape;1275;p29">
            <a:extLst>
              <a:ext uri="{FF2B5EF4-FFF2-40B4-BE49-F238E27FC236}">
                <a16:creationId xmlns:a16="http://schemas.microsoft.com/office/drawing/2014/main" id="{10B5FEA4-C96D-9D19-DD84-EB0CEE63F0E3}"/>
              </a:ext>
            </a:extLst>
          </p:cNvPr>
          <p:cNvSpPr/>
          <p:nvPr/>
        </p:nvSpPr>
        <p:spPr>
          <a:xfrm>
            <a:off x="9572530" y="4560920"/>
            <a:ext cx="2360273" cy="2058591"/>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l-GR" sz="1400" b="1">
              <a:solidFill>
                <a:srgbClr val="002060"/>
              </a:solidFill>
              <a:ea typeface="Calibri"/>
              <a:cs typeface="Calibri"/>
            </a:endParaRPr>
          </a:p>
        </p:txBody>
      </p:sp>
      <p:sp>
        <p:nvSpPr>
          <p:cNvPr id="21" name="Google Shape;1282;p29">
            <a:extLst>
              <a:ext uri="{FF2B5EF4-FFF2-40B4-BE49-F238E27FC236}">
                <a16:creationId xmlns:a16="http://schemas.microsoft.com/office/drawing/2014/main" id="{33BA025F-DF39-24A1-2BDB-EDD5ADF0DED9}"/>
              </a:ext>
            </a:extLst>
          </p:cNvPr>
          <p:cNvSpPr/>
          <p:nvPr/>
        </p:nvSpPr>
        <p:spPr>
          <a:xfrm>
            <a:off x="9570224" y="3729470"/>
            <a:ext cx="2360364" cy="993324"/>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l-GR" sz="1400" b="1" kern="0">
                <a:solidFill>
                  <a:srgbClr val="002060"/>
                </a:solidFill>
                <a:latin typeface="Arial"/>
                <a:ea typeface="+mn-lt"/>
                <a:cs typeface="+mn-lt"/>
                <a:sym typeface="Arial"/>
              </a:rPr>
              <a:t>Ανακατασκευή του υποσταθμού Πτολεμαΐδας Ι (ΑΗΣ)</a:t>
            </a:r>
            <a:endParaRPr lang="el-GR" sz="1400" b="1" kern="0">
              <a:solidFill>
                <a:srgbClr val="002060"/>
              </a:solidFill>
              <a:latin typeface="Arial"/>
              <a:ea typeface="Calibri"/>
              <a:cs typeface="Calibri"/>
            </a:endParaRPr>
          </a:p>
        </p:txBody>
      </p:sp>
      <p:sp>
        <p:nvSpPr>
          <p:cNvPr id="22" name="Ορθογώνιο 21">
            <a:extLst>
              <a:ext uri="{FF2B5EF4-FFF2-40B4-BE49-F238E27FC236}">
                <a16:creationId xmlns:a16="http://schemas.microsoft.com/office/drawing/2014/main" id="{619C129F-1DC0-C5A0-F28F-44DC08BD57D3}"/>
              </a:ext>
            </a:extLst>
          </p:cNvPr>
          <p:cNvSpPr/>
          <p:nvPr/>
        </p:nvSpPr>
        <p:spPr>
          <a:xfrm>
            <a:off x="9685765" y="4721453"/>
            <a:ext cx="2130931" cy="738664"/>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dirty="0">
                <a:solidFill>
                  <a:srgbClr val="002060"/>
                </a:solidFill>
                <a:cs typeface="Arial"/>
                <a:sym typeface="Arial"/>
              </a:rPr>
              <a:t>Π/Υ: 12 εκ.€ </a:t>
            </a:r>
          </a:p>
          <a:p>
            <a:r>
              <a:rPr lang="el-GR" sz="1400" kern="0" dirty="0">
                <a:solidFill>
                  <a:srgbClr val="002060"/>
                </a:solidFill>
                <a:ea typeface="Calibri"/>
                <a:cs typeface="Calibri"/>
              </a:rPr>
              <a:t>Εκτιμώμενη ολοκλήρωση: 2028</a:t>
            </a:r>
            <a:endParaRPr lang="en-US" sz="1400" kern="0" dirty="0">
              <a:solidFill>
                <a:srgbClr val="002060"/>
              </a:solidFill>
              <a:ea typeface="Calibri"/>
              <a:cs typeface="Calibri"/>
            </a:endParaRPr>
          </a:p>
        </p:txBody>
      </p:sp>
      <p:sp>
        <p:nvSpPr>
          <p:cNvPr id="23" name="Ορθογώνιο 22">
            <a:extLst>
              <a:ext uri="{FF2B5EF4-FFF2-40B4-BE49-F238E27FC236}">
                <a16:creationId xmlns:a16="http://schemas.microsoft.com/office/drawing/2014/main" id="{3B924B98-D727-497F-B01F-DFC5047303AF}"/>
              </a:ext>
            </a:extLst>
          </p:cNvPr>
          <p:cNvSpPr/>
          <p:nvPr/>
        </p:nvSpPr>
        <p:spPr>
          <a:xfrm>
            <a:off x="9690093" y="5437456"/>
            <a:ext cx="2017199" cy="974159"/>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dirty="0">
                <a:solidFill>
                  <a:srgbClr val="002060"/>
                </a:solidFill>
                <a:cs typeface="Arial"/>
                <a:sym typeface="Arial"/>
              </a:rPr>
              <a:t>Πρόοδος υλοποίησης:</a:t>
            </a:r>
            <a:r>
              <a:rPr lang="el-GR" sz="1400" kern="0" dirty="0">
                <a:solidFill>
                  <a:srgbClr val="002060"/>
                </a:solidFill>
                <a:cs typeface="Arial"/>
                <a:sym typeface="Arial"/>
              </a:rPr>
              <a:t> Σε στάδιο εκπόνησης μελετών και </a:t>
            </a:r>
            <a:r>
              <a:rPr lang="el-GR" sz="1400" kern="0" dirty="0" err="1">
                <a:solidFill>
                  <a:srgbClr val="002060"/>
                </a:solidFill>
                <a:cs typeface="Arial"/>
                <a:sym typeface="Arial"/>
              </a:rPr>
              <a:t>αδειοδότησης</a:t>
            </a:r>
            <a:r>
              <a:rPr lang="el-GR" sz="1400" kern="0" dirty="0">
                <a:solidFill>
                  <a:srgbClr val="002060"/>
                </a:solidFill>
                <a:cs typeface="Arial"/>
                <a:sym typeface="Arial"/>
              </a:rPr>
              <a:t> </a:t>
            </a:r>
            <a:endParaRPr lang="el-GR" sz="1400" kern="0" dirty="0">
              <a:solidFill>
                <a:srgbClr val="002060"/>
              </a:solidFill>
              <a:ea typeface="Calibri"/>
              <a:cs typeface="Arial"/>
            </a:endParaRPr>
          </a:p>
        </p:txBody>
      </p:sp>
      <p:sp>
        <p:nvSpPr>
          <p:cNvPr id="24" name="Google Shape;1275;p29">
            <a:extLst>
              <a:ext uri="{FF2B5EF4-FFF2-40B4-BE49-F238E27FC236}">
                <a16:creationId xmlns:a16="http://schemas.microsoft.com/office/drawing/2014/main" id="{E89D150B-1489-61D2-5D3F-92D95D719554}"/>
              </a:ext>
            </a:extLst>
          </p:cNvPr>
          <p:cNvSpPr/>
          <p:nvPr/>
        </p:nvSpPr>
        <p:spPr>
          <a:xfrm>
            <a:off x="3524753" y="4336044"/>
            <a:ext cx="2918881" cy="2373987"/>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l-GR" sz="1400" b="1">
              <a:solidFill>
                <a:srgbClr val="002060"/>
              </a:solidFill>
              <a:ea typeface="Calibri"/>
              <a:cs typeface="Calibri"/>
            </a:endParaRPr>
          </a:p>
        </p:txBody>
      </p:sp>
      <p:sp>
        <p:nvSpPr>
          <p:cNvPr id="25" name="Google Shape;1282;p29">
            <a:extLst>
              <a:ext uri="{FF2B5EF4-FFF2-40B4-BE49-F238E27FC236}">
                <a16:creationId xmlns:a16="http://schemas.microsoft.com/office/drawing/2014/main" id="{D009C0EC-7BD8-5EDD-1F1E-77435225179B}"/>
              </a:ext>
            </a:extLst>
          </p:cNvPr>
          <p:cNvSpPr/>
          <p:nvPr/>
        </p:nvSpPr>
        <p:spPr>
          <a:xfrm>
            <a:off x="3529010" y="3598649"/>
            <a:ext cx="2920402" cy="1002396"/>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l-GR" sz="1400" b="1" kern="0">
                <a:solidFill>
                  <a:srgbClr val="002060"/>
                </a:solidFill>
                <a:latin typeface="Arial"/>
                <a:ea typeface="+mn-lt"/>
                <a:cs typeface="+mn-lt"/>
                <a:sym typeface="Arial"/>
              </a:rPr>
              <a:t>Ενίσχυση της σύνδεσης του ΚΥΤ Μελίτης με το Σύστημα 150kV στον </a:t>
            </a:r>
            <a:r>
              <a:rPr lang="el-GR" sz="1400" b="1" kern="0">
                <a:solidFill>
                  <a:srgbClr val="00B0F0"/>
                </a:solidFill>
                <a:latin typeface="Arial"/>
                <a:ea typeface="+mn-lt"/>
                <a:cs typeface="+mn-lt"/>
                <a:sym typeface="Arial"/>
              </a:rPr>
              <a:t>Δήμο Φλώρινας</a:t>
            </a:r>
            <a:endParaRPr lang="el-GR">
              <a:solidFill>
                <a:srgbClr val="00B0F0"/>
              </a:solidFill>
              <a:latin typeface="Arial"/>
              <a:ea typeface="Calibri"/>
              <a:cs typeface="Calibri"/>
            </a:endParaRPr>
          </a:p>
        </p:txBody>
      </p:sp>
      <p:sp>
        <p:nvSpPr>
          <p:cNvPr id="27" name="Ορθογώνιο 26">
            <a:extLst>
              <a:ext uri="{FF2B5EF4-FFF2-40B4-BE49-F238E27FC236}">
                <a16:creationId xmlns:a16="http://schemas.microsoft.com/office/drawing/2014/main" id="{9E496B55-AA45-A2C3-A2F1-26B8017D300C}"/>
              </a:ext>
            </a:extLst>
          </p:cNvPr>
          <p:cNvSpPr/>
          <p:nvPr/>
        </p:nvSpPr>
        <p:spPr>
          <a:xfrm>
            <a:off x="3722114" y="4601045"/>
            <a:ext cx="2568745" cy="523220"/>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dirty="0">
                <a:solidFill>
                  <a:srgbClr val="002060"/>
                </a:solidFill>
                <a:cs typeface="Arial"/>
                <a:sym typeface="Arial"/>
              </a:rPr>
              <a:t>Π/Υ: 21,6 εκ.€ </a:t>
            </a:r>
          </a:p>
          <a:p>
            <a:r>
              <a:rPr lang="el-GR" sz="1400" kern="0" dirty="0">
                <a:solidFill>
                  <a:srgbClr val="002060"/>
                </a:solidFill>
                <a:ea typeface="Calibri"/>
                <a:cs typeface="Calibri"/>
              </a:rPr>
              <a:t>Εκτιμώμενη ολοκλήρωση: 2030</a:t>
            </a:r>
            <a:endParaRPr lang="en-US" sz="1400" kern="0" dirty="0">
              <a:solidFill>
                <a:srgbClr val="002060"/>
              </a:solidFill>
              <a:ea typeface="Calibri"/>
              <a:cs typeface="Calibri"/>
            </a:endParaRPr>
          </a:p>
        </p:txBody>
      </p:sp>
      <p:sp>
        <p:nvSpPr>
          <p:cNvPr id="28" name="Ορθογώνιο 27">
            <a:extLst>
              <a:ext uri="{FF2B5EF4-FFF2-40B4-BE49-F238E27FC236}">
                <a16:creationId xmlns:a16="http://schemas.microsoft.com/office/drawing/2014/main" id="{6EA80C1A-1C82-5639-9F31-8D3C10B5F867}"/>
              </a:ext>
            </a:extLst>
          </p:cNvPr>
          <p:cNvSpPr/>
          <p:nvPr/>
        </p:nvSpPr>
        <p:spPr>
          <a:xfrm>
            <a:off x="3724913" y="5158633"/>
            <a:ext cx="2469337" cy="1384995"/>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dirty="0">
                <a:solidFill>
                  <a:srgbClr val="002060"/>
                </a:solidFill>
                <a:cs typeface="Arial"/>
                <a:sym typeface="Arial"/>
              </a:rPr>
              <a:t>Πρόοδος υλοποίησης:</a:t>
            </a:r>
            <a:r>
              <a:rPr lang="el-GR" sz="1400" kern="0" dirty="0">
                <a:solidFill>
                  <a:srgbClr val="002060"/>
                </a:solidFill>
                <a:cs typeface="Arial"/>
                <a:sym typeface="Arial"/>
              </a:rPr>
              <a:t> Ολοκληρώθηκε η γραμμή μεταφοράς 150 </a:t>
            </a:r>
            <a:r>
              <a:rPr lang="el-GR" sz="1400" kern="0" dirty="0" err="1">
                <a:solidFill>
                  <a:srgbClr val="002060"/>
                </a:solidFill>
                <a:cs typeface="Arial"/>
                <a:sym typeface="Arial"/>
              </a:rPr>
              <a:t>kV</a:t>
            </a:r>
            <a:r>
              <a:rPr lang="el-GR" sz="1400" kern="0" dirty="0">
                <a:solidFill>
                  <a:srgbClr val="002060"/>
                </a:solidFill>
                <a:cs typeface="Arial"/>
                <a:sym typeface="Arial"/>
              </a:rPr>
              <a:t> ΚΥΤ Μελίτης- Φλώρινα το 2024. Τα υπόλοιπα τμήματα είναι σε φάση προγραμματισμού.  </a:t>
            </a:r>
            <a:endParaRPr lang="el-GR" sz="1400" kern="0" dirty="0">
              <a:solidFill>
                <a:srgbClr val="002060"/>
              </a:solidFill>
              <a:ea typeface="Calibri"/>
              <a:cs typeface="Arial"/>
            </a:endParaRPr>
          </a:p>
        </p:txBody>
      </p:sp>
      <p:sp>
        <p:nvSpPr>
          <p:cNvPr id="29" name="Google Shape;1275;p29">
            <a:extLst>
              <a:ext uri="{FF2B5EF4-FFF2-40B4-BE49-F238E27FC236}">
                <a16:creationId xmlns:a16="http://schemas.microsoft.com/office/drawing/2014/main" id="{F144DDC7-8B11-A2CA-B6B9-AC2831D7C8D0}"/>
              </a:ext>
            </a:extLst>
          </p:cNvPr>
          <p:cNvSpPr/>
          <p:nvPr/>
        </p:nvSpPr>
        <p:spPr>
          <a:xfrm>
            <a:off x="6715030" y="4455405"/>
            <a:ext cx="2649602" cy="2227411"/>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Calibri"/>
              <a:cs typeface="Arial"/>
            </a:endParaRPr>
          </a:p>
        </p:txBody>
      </p:sp>
      <p:sp>
        <p:nvSpPr>
          <p:cNvPr id="31" name="Google Shape;1282;p29">
            <a:extLst>
              <a:ext uri="{FF2B5EF4-FFF2-40B4-BE49-F238E27FC236}">
                <a16:creationId xmlns:a16="http://schemas.microsoft.com/office/drawing/2014/main" id="{FE2F91BE-4DF3-AFFB-9AEE-793537B691AF}"/>
              </a:ext>
            </a:extLst>
          </p:cNvPr>
          <p:cNvSpPr/>
          <p:nvPr/>
        </p:nvSpPr>
        <p:spPr>
          <a:xfrm>
            <a:off x="6613417" y="3784374"/>
            <a:ext cx="2849741" cy="918367"/>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l-GR" sz="1400" b="1" kern="0">
                <a:solidFill>
                  <a:srgbClr val="002060"/>
                </a:solidFill>
                <a:latin typeface="Arial"/>
                <a:ea typeface="+mn-lt"/>
                <a:cs typeface="+mn-lt"/>
                <a:sym typeface="Arial"/>
              </a:rPr>
              <a:t>Νέοι</a:t>
            </a:r>
            <a:r>
              <a:rPr lang="el-GR" sz="1400" b="1" kern="0">
                <a:solidFill>
                  <a:srgbClr val="002060"/>
                </a:solidFill>
                <a:latin typeface="Arial"/>
                <a:ea typeface="+mn-lt"/>
                <a:cs typeface="Calibri"/>
                <a:sym typeface="Arial"/>
              </a:rPr>
              <a:t> </a:t>
            </a:r>
            <a:r>
              <a:rPr lang="el-GR" sz="1400" b="1" kern="0" err="1">
                <a:solidFill>
                  <a:srgbClr val="002060"/>
                </a:solidFill>
                <a:latin typeface="Arial"/>
                <a:ea typeface="+mn-lt"/>
                <a:cs typeface="Calibri"/>
                <a:sym typeface="Arial"/>
              </a:rPr>
              <a:t>αυτομετασχηματιστές</a:t>
            </a:r>
            <a:r>
              <a:rPr lang="el-GR" sz="1400" b="1" kern="0">
                <a:solidFill>
                  <a:srgbClr val="002060"/>
                </a:solidFill>
                <a:latin typeface="Arial"/>
                <a:ea typeface="+mn-lt"/>
                <a:cs typeface="Calibri"/>
                <a:sym typeface="Arial"/>
              </a:rPr>
              <a:t> (ΑΜΣ) για την Ενίσχυση του Συστήματος Μεταφοράς </a:t>
            </a:r>
            <a:endParaRPr lang="el-GR" sz="1400" b="1" kern="0">
              <a:solidFill>
                <a:srgbClr val="00B0F0"/>
              </a:solidFill>
              <a:latin typeface="Arial"/>
              <a:ea typeface="Calibri"/>
              <a:cs typeface="Arial"/>
            </a:endParaRPr>
          </a:p>
        </p:txBody>
      </p:sp>
      <p:sp>
        <p:nvSpPr>
          <p:cNvPr id="32" name="Ορθογώνιο 31">
            <a:extLst>
              <a:ext uri="{FF2B5EF4-FFF2-40B4-BE49-F238E27FC236}">
                <a16:creationId xmlns:a16="http://schemas.microsoft.com/office/drawing/2014/main" id="{A36314B3-AF04-13CF-E20C-B557ACE83F78}"/>
              </a:ext>
            </a:extLst>
          </p:cNvPr>
          <p:cNvSpPr/>
          <p:nvPr/>
        </p:nvSpPr>
        <p:spPr>
          <a:xfrm>
            <a:off x="6834505" y="4937104"/>
            <a:ext cx="2457977" cy="738664"/>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dirty="0">
                <a:solidFill>
                  <a:srgbClr val="002060"/>
                </a:solidFill>
                <a:cs typeface="Arial"/>
                <a:sym typeface="Arial"/>
              </a:rPr>
              <a:t>Π/Υ: 24 εκ.€ </a:t>
            </a:r>
          </a:p>
          <a:p>
            <a:r>
              <a:rPr lang="el-GR" sz="1400" kern="0" dirty="0">
                <a:solidFill>
                  <a:srgbClr val="002060"/>
                </a:solidFill>
                <a:ea typeface="Calibri"/>
                <a:cs typeface="Calibri"/>
              </a:rPr>
              <a:t>Εκτιμώμενη ολοκλήρωση: 2026</a:t>
            </a:r>
            <a:endParaRPr lang="en-US" sz="1400" kern="0" dirty="0">
              <a:solidFill>
                <a:srgbClr val="002060"/>
              </a:solidFill>
              <a:ea typeface="Calibri"/>
              <a:cs typeface="Calibri"/>
            </a:endParaRPr>
          </a:p>
        </p:txBody>
      </p:sp>
      <p:sp>
        <p:nvSpPr>
          <p:cNvPr id="33" name="Ορθογώνιο 32">
            <a:extLst>
              <a:ext uri="{FF2B5EF4-FFF2-40B4-BE49-F238E27FC236}">
                <a16:creationId xmlns:a16="http://schemas.microsoft.com/office/drawing/2014/main" id="{B96DFF8E-5E94-1581-8458-2B91210F5475}"/>
              </a:ext>
            </a:extLst>
          </p:cNvPr>
          <p:cNvSpPr/>
          <p:nvPr/>
        </p:nvSpPr>
        <p:spPr>
          <a:xfrm>
            <a:off x="6834505" y="5824757"/>
            <a:ext cx="1903566" cy="523220"/>
          </a:xfrm>
          <a:prstGeom prst="rect">
            <a:avLst/>
          </a:prstGeom>
        </p:spPr>
        <p:txBody>
          <a:bodyPr wrap="square" lIns="91440" tIns="45720" rIns="91440" bIns="45720" anchor="t">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l-GR" sz="1400" b="1" kern="0" dirty="0">
                <a:solidFill>
                  <a:srgbClr val="002060"/>
                </a:solidFill>
                <a:cs typeface="Arial"/>
                <a:sym typeface="Arial"/>
              </a:rPr>
              <a:t>Πρόοδος υλοποίησης:</a:t>
            </a:r>
            <a:r>
              <a:rPr lang="el-GR" sz="1400" kern="0" dirty="0">
                <a:solidFill>
                  <a:srgbClr val="002060"/>
                </a:solidFill>
                <a:cs typeface="Arial"/>
                <a:sym typeface="Arial"/>
              </a:rPr>
              <a:t> </a:t>
            </a:r>
            <a:endParaRPr lang="el-GR" sz="1400" kern="0" dirty="0">
              <a:solidFill>
                <a:srgbClr val="002060"/>
              </a:solidFill>
              <a:cs typeface="Calibri"/>
              <a:sym typeface="Arial"/>
            </a:endParaRPr>
          </a:p>
          <a:p>
            <a:r>
              <a:rPr lang="el-GR" sz="1400" kern="0" dirty="0">
                <a:solidFill>
                  <a:srgbClr val="002060"/>
                </a:solidFill>
                <a:cs typeface="Arial"/>
                <a:sym typeface="Arial"/>
              </a:rPr>
              <a:t>Σε εξέλιξη</a:t>
            </a:r>
            <a:endParaRPr lang="el-GR" sz="1400" kern="0" dirty="0">
              <a:solidFill>
                <a:srgbClr val="002060"/>
              </a:solidFill>
              <a:ea typeface="+mn-lt"/>
              <a:cs typeface="+mn-lt"/>
            </a:endParaRPr>
          </a:p>
        </p:txBody>
      </p:sp>
      <p:sp>
        <p:nvSpPr>
          <p:cNvPr id="3" name="Google Shape;414;p13">
            <a:extLst>
              <a:ext uri="{FF2B5EF4-FFF2-40B4-BE49-F238E27FC236}">
                <a16:creationId xmlns:a16="http://schemas.microsoft.com/office/drawing/2014/main" id="{C9294E1E-4A73-6A49-46D4-31F0EF214CD2}"/>
              </a:ext>
            </a:extLst>
          </p:cNvPr>
          <p:cNvSpPr/>
          <p:nvPr/>
        </p:nvSpPr>
        <p:spPr>
          <a:xfrm>
            <a:off x="631526" y="-10408"/>
            <a:ext cx="6783921"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buFont typeface="Arial"/>
              <a:buNone/>
              <a:defRPr/>
            </a:pPr>
            <a:r>
              <a:rPr lang="el-GR" sz="2400" kern="0" dirty="0">
                <a:solidFill>
                  <a:srgbClr val="002060"/>
                </a:solidFill>
                <a:latin typeface="Arial Black"/>
                <a:ea typeface="Arial Black"/>
                <a:cs typeface="Arial Black"/>
                <a:sym typeface="Arial Black"/>
              </a:rPr>
              <a:t>Ενέργεια</a:t>
            </a:r>
          </a:p>
        </p:txBody>
      </p:sp>
      <p:cxnSp>
        <p:nvCxnSpPr>
          <p:cNvPr id="6" name="Ευθεία γραμμή σύνδεσης 5">
            <a:extLst>
              <a:ext uri="{FF2B5EF4-FFF2-40B4-BE49-F238E27FC236}">
                <a16:creationId xmlns:a16="http://schemas.microsoft.com/office/drawing/2014/main" id="{FD781DE7-E1A4-08C2-3E5C-D0BB95E728B9}"/>
              </a:ext>
            </a:extLst>
          </p:cNvPr>
          <p:cNvCxnSpPr>
            <a:cxnSpLocks/>
          </p:cNvCxnSpPr>
          <p:nvPr/>
        </p:nvCxnSpPr>
        <p:spPr>
          <a:xfrm>
            <a:off x="130629" y="400030"/>
            <a:ext cx="3891642" cy="15397"/>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0383620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473">
          <a:extLst>
            <a:ext uri="{FF2B5EF4-FFF2-40B4-BE49-F238E27FC236}">
              <a16:creationId xmlns:a16="http://schemas.microsoft.com/office/drawing/2014/main" id="{48DEC5F3-37DD-E561-354C-3A6F62110653}"/>
            </a:ext>
          </a:extLst>
        </p:cNvPr>
        <p:cNvGrpSpPr/>
        <p:nvPr/>
      </p:nvGrpSpPr>
      <p:grpSpPr>
        <a:xfrm>
          <a:off x="0" y="0"/>
          <a:ext cx="0" cy="0"/>
          <a:chOff x="0" y="0"/>
          <a:chExt cx="0" cy="0"/>
        </a:xfrm>
      </p:grpSpPr>
      <p:grpSp>
        <p:nvGrpSpPr>
          <p:cNvPr id="1475" name="Google Shape;1475;p38">
            <a:extLst>
              <a:ext uri="{FF2B5EF4-FFF2-40B4-BE49-F238E27FC236}">
                <a16:creationId xmlns:a16="http://schemas.microsoft.com/office/drawing/2014/main" id="{DB92CF9B-77EF-4182-98AF-DDA701052C0B}"/>
              </a:ext>
            </a:extLst>
          </p:cNvPr>
          <p:cNvGrpSpPr/>
          <p:nvPr/>
        </p:nvGrpSpPr>
        <p:grpSpPr>
          <a:xfrm>
            <a:off x="1438470" y="1102186"/>
            <a:ext cx="4523848" cy="1678764"/>
            <a:chOff x="1078853" y="834803"/>
            <a:chExt cx="3392885" cy="1259072"/>
          </a:xfrm>
        </p:grpSpPr>
        <p:sp>
          <p:nvSpPr>
            <p:cNvPr id="1476" name="Google Shape;1476;p38">
              <a:extLst>
                <a:ext uri="{FF2B5EF4-FFF2-40B4-BE49-F238E27FC236}">
                  <a16:creationId xmlns:a16="http://schemas.microsoft.com/office/drawing/2014/main" id="{1C7D5DC2-75F9-6EAB-1FFE-064525874C87}"/>
                </a:ext>
              </a:extLst>
            </p:cNvPr>
            <p:cNvSpPr/>
            <p:nvPr/>
          </p:nvSpPr>
          <p:spPr>
            <a:xfrm>
              <a:off x="3755838" y="1279575"/>
              <a:ext cx="528350" cy="571000"/>
            </a:xfrm>
            <a:custGeom>
              <a:avLst/>
              <a:gdLst/>
              <a:ahLst/>
              <a:cxnLst/>
              <a:rect l="l" t="t" r="r" b="b"/>
              <a:pathLst>
                <a:path w="21134" h="22840" extrusionOk="0">
                  <a:moveTo>
                    <a:pt x="10576" y="1528"/>
                  </a:moveTo>
                  <a:cubicBezTo>
                    <a:pt x="11644" y="1528"/>
                    <a:pt x="12729" y="1750"/>
                    <a:pt x="13764" y="2218"/>
                  </a:cubicBezTo>
                  <a:cubicBezTo>
                    <a:pt x="17669" y="3992"/>
                    <a:pt x="19395" y="8576"/>
                    <a:pt x="17633" y="12481"/>
                  </a:cubicBezTo>
                  <a:cubicBezTo>
                    <a:pt x="16331" y="15339"/>
                    <a:pt x="13515" y="17030"/>
                    <a:pt x="10564" y="17030"/>
                  </a:cubicBezTo>
                  <a:cubicBezTo>
                    <a:pt x="9495" y="17030"/>
                    <a:pt x="8409" y="16808"/>
                    <a:pt x="7370" y="16339"/>
                  </a:cubicBezTo>
                  <a:cubicBezTo>
                    <a:pt x="3477" y="14577"/>
                    <a:pt x="1750" y="9981"/>
                    <a:pt x="3512" y="6088"/>
                  </a:cubicBezTo>
                  <a:cubicBezTo>
                    <a:pt x="4806" y="3221"/>
                    <a:pt x="7627" y="1528"/>
                    <a:pt x="10576" y="1528"/>
                  </a:cubicBezTo>
                  <a:close/>
                  <a:moveTo>
                    <a:pt x="10580" y="1"/>
                  </a:moveTo>
                  <a:cubicBezTo>
                    <a:pt x="7046" y="1"/>
                    <a:pt x="3667" y="2029"/>
                    <a:pt x="2119" y="5457"/>
                  </a:cubicBezTo>
                  <a:cubicBezTo>
                    <a:pt x="0" y="10124"/>
                    <a:pt x="2072" y="15613"/>
                    <a:pt x="6739" y="17732"/>
                  </a:cubicBezTo>
                  <a:cubicBezTo>
                    <a:pt x="7972" y="18295"/>
                    <a:pt x="9261" y="18558"/>
                    <a:pt x="10534" y="18558"/>
                  </a:cubicBezTo>
                  <a:cubicBezTo>
                    <a:pt x="10822" y="18558"/>
                    <a:pt x="11109" y="18544"/>
                    <a:pt x="11394" y="18518"/>
                  </a:cubicBezTo>
                  <a:lnTo>
                    <a:pt x="15669" y="22840"/>
                  </a:lnTo>
                  <a:lnTo>
                    <a:pt x="16050" y="16768"/>
                  </a:lnTo>
                  <a:cubicBezTo>
                    <a:pt x="17300" y="15851"/>
                    <a:pt x="18336" y="14625"/>
                    <a:pt x="19026" y="13112"/>
                  </a:cubicBezTo>
                  <a:cubicBezTo>
                    <a:pt x="21134" y="8445"/>
                    <a:pt x="19062" y="2944"/>
                    <a:pt x="14395" y="825"/>
                  </a:cubicBezTo>
                  <a:cubicBezTo>
                    <a:pt x="13156" y="266"/>
                    <a:pt x="11858" y="1"/>
                    <a:pt x="10580" y="1"/>
                  </a:cubicBezTo>
                  <a:close/>
                </a:path>
              </a:pathLst>
            </a:custGeom>
            <a:solidFill>
              <a:srgbClr val="69E78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477" name="Google Shape;1477;p38">
              <a:extLst>
                <a:ext uri="{FF2B5EF4-FFF2-40B4-BE49-F238E27FC236}">
                  <a16:creationId xmlns:a16="http://schemas.microsoft.com/office/drawing/2014/main" id="{BC734262-6FFE-082F-B70F-FA43F5B709B4}"/>
                </a:ext>
              </a:extLst>
            </p:cNvPr>
            <p:cNvSpPr/>
            <p:nvPr/>
          </p:nvSpPr>
          <p:spPr>
            <a:xfrm>
              <a:off x="3854963" y="1694700"/>
              <a:ext cx="616775" cy="399175"/>
            </a:xfrm>
            <a:custGeom>
              <a:avLst/>
              <a:gdLst/>
              <a:ahLst/>
              <a:cxnLst/>
              <a:rect l="l" t="t" r="r" b="b"/>
              <a:pathLst>
                <a:path w="24671" h="15967" extrusionOk="0">
                  <a:moveTo>
                    <a:pt x="24670" y="0"/>
                  </a:moveTo>
                  <a:cubicBezTo>
                    <a:pt x="15252" y="715"/>
                    <a:pt x="6692" y="4501"/>
                    <a:pt x="1" y="10383"/>
                  </a:cubicBezTo>
                  <a:lnTo>
                    <a:pt x="5585" y="15967"/>
                  </a:lnTo>
                  <a:cubicBezTo>
                    <a:pt x="10823" y="11502"/>
                    <a:pt x="17419" y="8573"/>
                    <a:pt x="24670" y="7906"/>
                  </a:cubicBezTo>
                  <a:lnTo>
                    <a:pt x="24670" y="0"/>
                  </a:lnTo>
                  <a:close/>
                </a:path>
              </a:pathLst>
            </a:custGeom>
            <a:solidFill>
              <a:srgbClr val="69E78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480" name="Google Shape;1480;p38">
              <a:extLst>
                <a:ext uri="{FF2B5EF4-FFF2-40B4-BE49-F238E27FC236}">
                  <a16:creationId xmlns:a16="http://schemas.microsoft.com/office/drawing/2014/main" id="{CC9F85F9-C4F7-4243-2521-61A95B395F7A}"/>
                </a:ext>
              </a:extLst>
            </p:cNvPr>
            <p:cNvSpPr txBox="1"/>
            <p:nvPr/>
          </p:nvSpPr>
          <p:spPr>
            <a:xfrm>
              <a:off x="1078853" y="834803"/>
              <a:ext cx="3214871" cy="690135"/>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2000" b="0" i="0" u="none" strike="noStrike" kern="1200" cap="none" spc="0" normalizeH="0" baseline="0" noProof="0" dirty="0">
                  <a:ln>
                    <a:noFill/>
                  </a:ln>
                  <a:solidFill>
                    <a:srgbClr val="629DD1"/>
                  </a:solidFill>
                  <a:effectLst/>
                  <a:uLnTx/>
                  <a:uFillTx/>
                  <a:latin typeface="Fira Sans Extra Condensed Medium"/>
                  <a:ea typeface="Fira Sans Extra Condensed Medium"/>
                  <a:cs typeface="Fira Sans Extra Condensed Medium"/>
                  <a:sym typeface="Fira Sans Extra Condensed Medium"/>
                </a:rPr>
                <a:t>700 επιπλέον θέσεις εργασίας μέσω ΔΥΠΑ</a:t>
              </a:r>
            </a:p>
          </p:txBody>
        </p:sp>
      </p:grpSp>
      <p:grpSp>
        <p:nvGrpSpPr>
          <p:cNvPr id="1482" name="Google Shape;1482;p38">
            <a:extLst>
              <a:ext uri="{FF2B5EF4-FFF2-40B4-BE49-F238E27FC236}">
                <a16:creationId xmlns:a16="http://schemas.microsoft.com/office/drawing/2014/main" id="{088378FF-6934-68A7-1CD5-0B901C884B3F}"/>
              </a:ext>
            </a:extLst>
          </p:cNvPr>
          <p:cNvGrpSpPr/>
          <p:nvPr/>
        </p:nvGrpSpPr>
        <p:grpSpPr>
          <a:xfrm>
            <a:off x="4071954" y="3791533"/>
            <a:ext cx="1122800" cy="866651"/>
            <a:chOff x="3053963" y="2843650"/>
            <a:chExt cx="842100" cy="649988"/>
          </a:xfrm>
        </p:grpSpPr>
        <p:sp>
          <p:nvSpPr>
            <p:cNvPr id="1483" name="Google Shape;1483;p38">
              <a:extLst>
                <a:ext uri="{FF2B5EF4-FFF2-40B4-BE49-F238E27FC236}">
                  <a16:creationId xmlns:a16="http://schemas.microsoft.com/office/drawing/2014/main" id="{8B64D81B-9B3C-760B-3ED8-1E969CF074D7}"/>
                </a:ext>
              </a:extLst>
            </p:cNvPr>
            <p:cNvSpPr/>
            <p:nvPr/>
          </p:nvSpPr>
          <p:spPr>
            <a:xfrm>
              <a:off x="3053963" y="3029513"/>
              <a:ext cx="607850" cy="464125"/>
            </a:xfrm>
            <a:custGeom>
              <a:avLst/>
              <a:gdLst/>
              <a:ahLst/>
              <a:cxnLst/>
              <a:rect l="l" t="t" r="r" b="b"/>
              <a:pathLst>
                <a:path w="24314" h="18565" extrusionOk="0">
                  <a:moveTo>
                    <a:pt x="10603" y="1533"/>
                  </a:moveTo>
                  <a:cubicBezTo>
                    <a:pt x="11755" y="1533"/>
                    <a:pt x="12924" y="1791"/>
                    <a:pt x="14026" y="2335"/>
                  </a:cubicBezTo>
                  <a:cubicBezTo>
                    <a:pt x="17860" y="4240"/>
                    <a:pt x="19432" y="8884"/>
                    <a:pt x="17527" y="12729"/>
                  </a:cubicBezTo>
                  <a:cubicBezTo>
                    <a:pt x="16180" y="15458"/>
                    <a:pt x="13439" y="17034"/>
                    <a:pt x="10585" y="17034"/>
                  </a:cubicBezTo>
                  <a:cubicBezTo>
                    <a:pt x="9429" y="17034"/>
                    <a:pt x="8253" y="16776"/>
                    <a:pt x="7145" y="16230"/>
                  </a:cubicBezTo>
                  <a:cubicBezTo>
                    <a:pt x="3311" y="14325"/>
                    <a:pt x="1739" y="9681"/>
                    <a:pt x="3644" y="5848"/>
                  </a:cubicBezTo>
                  <a:cubicBezTo>
                    <a:pt x="5001" y="3116"/>
                    <a:pt x="7749" y="1533"/>
                    <a:pt x="10603" y="1533"/>
                  </a:cubicBezTo>
                  <a:close/>
                  <a:moveTo>
                    <a:pt x="10596" y="1"/>
                  </a:moveTo>
                  <a:cubicBezTo>
                    <a:pt x="7179" y="1"/>
                    <a:pt x="3894" y="1897"/>
                    <a:pt x="2275" y="5169"/>
                  </a:cubicBezTo>
                  <a:cubicBezTo>
                    <a:pt x="1" y="9765"/>
                    <a:pt x="1882" y="15325"/>
                    <a:pt x="6466" y="17599"/>
                  </a:cubicBezTo>
                  <a:cubicBezTo>
                    <a:pt x="7790" y="18254"/>
                    <a:pt x="9194" y="18564"/>
                    <a:pt x="10578" y="18564"/>
                  </a:cubicBezTo>
                  <a:cubicBezTo>
                    <a:pt x="13998" y="18564"/>
                    <a:pt x="17289" y="16668"/>
                    <a:pt x="18908" y="13396"/>
                  </a:cubicBezTo>
                  <a:cubicBezTo>
                    <a:pt x="19634" y="11920"/>
                    <a:pt x="19932" y="10324"/>
                    <a:pt x="19849" y="8788"/>
                  </a:cubicBezTo>
                  <a:lnTo>
                    <a:pt x="24313" y="4645"/>
                  </a:lnTo>
                  <a:lnTo>
                    <a:pt x="18265" y="4062"/>
                  </a:lnTo>
                  <a:cubicBezTo>
                    <a:pt x="17396" y="2788"/>
                    <a:pt x="16193" y="1704"/>
                    <a:pt x="14705" y="966"/>
                  </a:cubicBezTo>
                  <a:cubicBezTo>
                    <a:pt x="13381" y="311"/>
                    <a:pt x="11978" y="1"/>
                    <a:pt x="10596" y="1"/>
                  </a:cubicBezTo>
                  <a:close/>
                </a:path>
              </a:pathLst>
            </a:custGeom>
            <a:solidFill>
              <a:srgbClr val="4949E7"/>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484" name="Google Shape;1484;p38">
              <a:extLst>
                <a:ext uri="{FF2B5EF4-FFF2-40B4-BE49-F238E27FC236}">
                  <a16:creationId xmlns:a16="http://schemas.microsoft.com/office/drawing/2014/main" id="{B4848BB5-4405-9724-2C16-905362B7AA23}"/>
                </a:ext>
              </a:extLst>
            </p:cNvPr>
            <p:cNvSpPr/>
            <p:nvPr/>
          </p:nvSpPr>
          <p:spPr>
            <a:xfrm>
              <a:off x="3498963" y="2843650"/>
              <a:ext cx="397100" cy="602175"/>
            </a:xfrm>
            <a:custGeom>
              <a:avLst/>
              <a:gdLst/>
              <a:ahLst/>
              <a:cxnLst/>
              <a:rect l="l" t="t" r="r" b="b"/>
              <a:pathLst>
                <a:path w="15884" h="24087" extrusionOk="0">
                  <a:moveTo>
                    <a:pt x="1" y="0"/>
                  </a:moveTo>
                  <a:cubicBezTo>
                    <a:pt x="810" y="9192"/>
                    <a:pt x="4561" y="17538"/>
                    <a:pt x="10300" y="24087"/>
                  </a:cubicBezTo>
                  <a:lnTo>
                    <a:pt x="15884" y="18503"/>
                  </a:lnTo>
                  <a:cubicBezTo>
                    <a:pt x="11550" y="13395"/>
                    <a:pt x="8680" y="7025"/>
                    <a:pt x="7918" y="0"/>
                  </a:cubicBezTo>
                  <a:close/>
                </a:path>
              </a:pathLst>
            </a:custGeom>
            <a:solidFill>
              <a:srgbClr val="4949E7"/>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grpSp>
      <p:grpSp>
        <p:nvGrpSpPr>
          <p:cNvPr id="1493" name="Google Shape;1493;p38">
            <a:extLst>
              <a:ext uri="{FF2B5EF4-FFF2-40B4-BE49-F238E27FC236}">
                <a16:creationId xmlns:a16="http://schemas.microsoft.com/office/drawing/2014/main" id="{7FA53298-87C7-A520-6DC3-96A3AC0517C3}"/>
              </a:ext>
            </a:extLst>
          </p:cNvPr>
          <p:cNvGrpSpPr/>
          <p:nvPr/>
        </p:nvGrpSpPr>
        <p:grpSpPr>
          <a:xfrm>
            <a:off x="4071968" y="2671667"/>
            <a:ext cx="1105318" cy="906766"/>
            <a:chOff x="3053975" y="2003750"/>
            <a:chExt cx="828988" cy="680075"/>
          </a:xfrm>
        </p:grpSpPr>
        <p:sp>
          <p:nvSpPr>
            <p:cNvPr id="1494" name="Google Shape;1494;p38">
              <a:extLst>
                <a:ext uri="{FF2B5EF4-FFF2-40B4-BE49-F238E27FC236}">
                  <a16:creationId xmlns:a16="http://schemas.microsoft.com/office/drawing/2014/main" id="{16C815D7-13B7-2114-DC8B-FEC8C5DFD396}"/>
                </a:ext>
              </a:extLst>
            </p:cNvPr>
            <p:cNvSpPr/>
            <p:nvPr/>
          </p:nvSpPr>
          <p:spPr>
            <a:xfrm>
              <a:off x="3053975" y="2003750"/>
              <a:ext cx="583425" cy="464175"/>
            </a:xfrm>
            <a:custGeom>
              <a:avLst/>
              <a:gdLst/>
              <a:ahLst/>
              <a:cxnLst/>
              <a:rect l="l" t="t" r="r" b="b"/>
              <a:pathLst>
                <a:path w="23337" h="18567" extrusionOk="0">
                  <a:moveTo>
                    <a:pt x="10410" y="1534"/>
                  </a:moveTo>
                  <a:cubicBezTo>
                    <a:pt x="13672" y="1534"/>
                    <a:pt x="16706" y="3604"/>
                    <a:pt x="17777" y="6863"/>
                  </a:cubicBezTo>
                  <a:cubicBezTo>
                    <a:pt x="19110" y="10935"/>
                    <a:pt x="16896" y="15305"/>
                    <a:pt x="12824" y="16638"/>
                  </a:cubicBezTo>
                  <a:cubicBezTo>
                    <a:pt x="12020" y="16905"/>
                    <a:pt x="11204" y="17031"/>
                    <a:pt x="10402" y="17031"/>
                  </a:cubicBezTo>
                  <a:cubicBezTo>
                    <a:pt x="7149" y="17031"/>
                    <a:pt x="4118" y="14954"/>
                    <a:pt x="3049" y="11697"/>
                  </a:cubicBezTo>
                  <a:cubicBezTo>
                    <a:pt x="1715" y="7625"/>
                    <a:pt x="3930" y="3256"/>
                    <a:pt x="7990" y="1922"/>
                  </a:cubicBezTo>
                  <a:cubicBezTo>
                    <a:pt x="8793" y="1659"/>
                    <a:pt x="9608" y="1534"/>
                    <a:pt x="10410" y="1534"/>
                  </a:cubicBezTo>
                  <a:close/>
                  <a:moveTo>
                    <a:pt x="10419" y="0"/>
                  </a:moveTo>
                  <a:cubicBezTo>
                    <a:pt x="9456" y="0"/>
                    <a:pt x="8477" y="152"/>
                    <a:pt x="7513" y="470"/>
                  </a:cubicBezTo>
                  <a:cubicBezTo>
                    <a:pt x="2644" y="2065"/>
                    <a:pt x="1" y="7304"/>
                    <a:pt x="1596" y="12174"/>
                  </a:cubicBezTo>
                  <a:cubicBezTo>
                    <a:pt x="2877" y="16084"/>
                    <a:pt x="6508" y="18567"/>
                    <a:pt x="10410" y="18567"/>
                  </a:cubicBezTo>
                  <a:cubicBezTo>
                    <a:pt x="11367" y="18567"/>
                    <a:pt x="12341" y="18417"/>
                    <a:pt x="13300" y="18103"/>
                  </a:cubicBezTo>
                  <a:cubicBezTo>
                    <a:pt x="14871" y="17579"/>
                    <a:pt x="16217" y="16686"/>
                    <a:pt x="17265" y="15543"/>
                  </a:cubicBezTo>
                  <a:lnTo>
                    <a:pt x="23337" y="15817"/>
                  </a:lnTo>
                  <a:lnTo>
                    <a:pt x="19503" y="11090"/>
                  </a:lnTo>
                  <a:cubicBezTo>
                    <a:pt x="19813" y="9578"/>
                    <a:pt x="19741" y="7959"/>
                    <a:pt x="19229" y="6387"/>
                  </a:cubicBezTo>
                  <a:cubicBezTo>
                    <a:pt x="17950" y="2482"/>
                    <a:pt x="14319" y="0"/>
                    <a:pt x="10419" y="0"/>
                  </a:cubicBezTo>
                  <a:close/>
                </a:path>
              </a:pathLst>
            </a:custGeom>
            <a:solidFill>
              <a:srgbClr val="5EB2F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495" name="Google Shape;1495;p38">
              <a:extLst>
                <a:ext uri="{FF2B5EF4-FFF2-40B4-BE49-F238E27FC236}">
                  <a16:creationId xmlns:a16="http://schemas.microsoft.com/office/drawing/2014/main" id="{9A7DB67A-2370-3F2D-FF24-DC22F88BD95D}"/>
                </a:ext>
              </a:extLst>
            </p:cNvPr>
            <p:cNvSpPr/>
            <p:nvPr/>
          </p:nvSpPr>
          <p:spPr>
            <a:xfrm>
              <a:off x="3496888" y="2068250"/>
              <a:ext cx="386075" cy="615575"/>
            </a:xfrm>
            <a:custGeom>
              <a:avLst/>
              <a:gdLst/>
              <a:ahLst/>
              <a:cxnLst/>
              <a:rect l="l" t="t" r="r" b="b"/>
              <a:pathLst>
                <a:path w="15443" h="24623" extrusionOk="0">
                  <a:moveTo>
                    <a:pt x="9847" y="1"/>
                  </a:moveTo>
                  <a:cubicBezTo>
                    <a:pt x="4179" y="6740"/>
                    <a:pt x="572" y="15276"/>
                    <a:pt x="0" y="24623"/>
                  </a:cubicBezTo>
                  <a:lnTo>
                    <a:pt x="7882" y="24623"/>
                  </a:lnTo>
                  <a:cubicBezTo>
                    <a:pt x="8430" y="17443"/>
                    <a:pt x="11168" y="10883"/>
                    <a:pt x="15443" y="5597"/>
                  </a:cubicBezTo>
                  <a:lnTo>
                    <a:pt x="9847" y="1"/>
                  </a:lnTo>
                  <a:close/>
                </a:path>
              </a:pathLst>
            </a:custGeom>
            <a:solidFill>
              <a:srgbClr val="5EB2F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grpSp>
      <p:grpSp>
        <p:nvGrpSpPr>
          <p:cNvPr id="1501" name="Google Shape;1501;p38">
            <a:extLst>
              <a:ext uri="{FF2B5EF4-FFF2-40B4-BE49-F238E27FC236}">
                <a16:creationId xmlns:a16="http://schemas.microsoft.com/office/drawing/2014/main" id="{FCECFB6D-D672-7949-41BC-A0190FC457AF}"/>
              </a:ext>
            </a:extLst>
          </p:cNvPr>
          <p:cNvGrpSpPr/>
          <p:nvPr/>
        </p:nvGrpSpPr>
        <p:grpSpPr>
          <a:xfrm>
            <a:off x="5025633" y="4557104"/>
            <a:ext cx="936684" cy="1076834"/>
            <a:chOff x="3769225" y="3417825"/>
            <a:chExt cx="702513" cy="807625"/>
          </a:xfrm>
        </p:grpSpPr>
        <p:sp>
          <p:nvSpPr>
            <p:cNvPr id="1502" name="Google Shape;1502;p38">
              <a:extLst>
                <a:ext uri="{FF2B5EF4-FFF2-40B4-BE49-F238E27FC236}">
                  <a16:creationId xmlns:a16="http://schemas.microsoft.com/office/drawing/2014/main" id="{593A2D90-5D30-6708-2108-FEA106C986BF}"/>
                </a:ext>
              </a:extLst>
            </p:cNvPr>
            <p:cNvSpPr/>
            <p:nvPr/>
          </p:nvSpPr>
          <p:spPr>
            <a:xfrm>
              <a:off x="3769225" y="3663475"/>
              <a:ext cx="524500" cy="561975"/>
            </a:xfrm>
            <a:custGeom>
              <a:avLst/>
              <a:gdLst/>
              <a:ahLst/>
              <a:cxnLst/>
              <a:rect l="l" t="t" r="r" b="b"/>
              <a:pathLst>
                <a:path w="20980" h="22479" extrusionOk="0">
                  <a:moveTo>
                    <a:pt x="10481" y="5447"/>
                  </a:moveTo>
                  <a:cubicBezTo>
                    <a:pt x="13615" y="5447"/>
                    <a:pt x="16567" y="7361"/>
                    <a:pt x="17741" y="10466"/>
                  </a:cubicBezTo>
                  <a:cubicBezTo>
                    <a:pt x="19253" y="14467"/>
                    <a:pt x="17229" y="18944"/>
                    <a:pt x="13217" y="20444"/>
                  </a:cubicBezTo>
                  <a:cubicBezTo>
                    <a:pt x="12317" y="20784"/>
                    <a:pt x="11392" y="20945"/>
                    <a:pt x="10484" y="20945"/>
                  </a:cubicBezTo>
                  <a:cubicBezTo>
                    <a:pt x="7352" y="20945"/>
                    <a:pt x="4402" y="19032"/>
                    <a:pt x="3239" y="15931"/>
                  </a:cubicBezTo>
                  <a:cubicBezTo>
                    <a:pt x="1727" y="11919"/>
                    <a:pt x="3751" y="7454"/>
                    <a:pt x="7763" y="5942"/>
                  </a:cubicBezTo>
                  <a:cubicBezTo>
                    <a:pt x="8659" y="5606"/>
                    <a:pt x="9578" y="5447"/>
                    <a:pt x="10481" y="5447"/>
                  </a:cubicBezTo>
                  <a:close/>
                  <a:moveTo>
                    <a:pt x="16467" y="1"/>
                  </a:moveTo>
                  <a:lnTo>
                    <a:pt x="11907" y="4025"/>
                  </a:lnTo>
                  <a:cubicBezTo>
                    <a:pt x="11442" y="3952"/>
                    <a:pt x="10969" y="3915"/>
                    <a:pt x="10492" y="3915"/>
                  </a:cubicBezTo>
                  <a:cubicBezTo>
                    <a:pt x="9406" y="3915"/>
                    <a:pt x="8299" y="4108"/>
                    <a:pt x="7216" y="4513"/>
                  </a:cubicBezTo>
                  <a:cubicBezTo>
                    <a:pt x="2429" y="6323"/>
                    <a:pt x="1" y="11669"/>
                    <a:pt x="1810" y="16467"/>
                  </a:cubicBezTo>
                  <a:cubicBezTo>
                    <a:pt x="3205" y="20189"/>
                    <a:pt x="6742" y="22479"/>
                    <a:pt x="10499" y="22479"/>
                  </a:cubicBezTo>
                  <a:cubicBezTo>
                    <a:pt x="11584" y="22479"/>
                    <a:pt x="12688" y="22287"/>
                    <a:pt x="13764" y="21884"/>
                  </a:cubicBezTo>
                  <a:cubicBezTo>
                    <a:pt x="18551" y="20075"/>
                    <a:pt x="20979" y="14717"/>
                    <a:pt x="19170" y="9931"/>
                  </a:cubicBezTo>
                  <a:cubicBezTo>
                    <a:pt x="18586" y="8371"/>
                    <a:pt x="17634" y="7073"/>
                    <a:pt x="16443" y="6085"/>
                  </a:cubicBezTo>
                  <a:lnTo>
                    <a:pt x="16467" y="1"/>
                  </a:lnTo>
                  <a:close/>
                </a:path>
              </a:pathLst>
            </a:custGeom>
            <a:solidFill>
              <a:srgbClr val="FCBD2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503" name="Google Shape;1503;p38">
              <a:extLst>
                <a:ext uri="{FF2B5EF4-FFF2-40B4-BE49-F238E27FC236}">
                  <a16:creationId xmlns:a16="http://schemas.microsoft.com/office/drawing/2014/main" id="{81CC24B1-5261-1CCD-DDF9-46F03CB4583A}"/>
                </a:ext>
              </a:extLst>
            </p:cNvPr>
            <p:cNvSpPr/>
            <p:nvPr/>
          </p:nvSpPr>
          <p:spPr>
            <a:xfrm>
              <a:off x="3870738" y="3417825"/>
              <a:ext cx="601000" cy="386075"/>
            </a:xfrm>
            <a:custGeom>
              <a:avLst/>
              <a:gdLst/>
              <a:ahLst/>
              <a:cxnLst/>
              <a:rect l="l" t="t" r="r" b="b"/>
              <a:pathLst>
                <a:path w="24040" h="15443" extrusionOk="0">
                  <a:moveTo>
                    <a:pt x="5585" y="1"/>
                  </a:moveTo>
                  <a:lnTo>
                    <a:pt x="1" y="5596"/>
                  </a:lnTo>
                  <a:cubicBezTo>
                    <a:pt x="6585" y="11169"/>
                    <a:pt x="14907" y="14752"/>
                    <a:pt x="24039" y="15443"/>
                  </a:cubicBezTo>
                  <a:lnTo>
                    <a:pt x="24039" y="7537"/>
                  </a:lnTo>
                  <a:cubicBezTo>
                    <a:pt x="17074" y="6894"/>
                    <a:pt x="10728" y="4168"/>
                    <a:pt x="5585" y="1"/>
                  </a:cubicBezTo>
                  <a:close/>
                </a:path>
              </a:pathLst>
            </a:custGeom>
            <a:solidFill>
              <a:srgbClr val="FCBD2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grpSp>
      <p:grpSp>
        <p:nvGrpSpPr>
          <p:cNvPr id="1512" name="Google Shape;1512;p38">
            <a:extLst>
              <a:ext uri="{FF2B5EF4-FFF2-40B4-BE49-F238E27FC236}">
                <a16:creationId xmlns:a16="http://schemas.microsoft.com/office/drawing/2014/main" id="{16AA289F-E1F1-9722-EE36-0CB25B533353}"/>
              </a:ext>
            </a:extLst>
          </p:cNvPr>
          <p:cNvGrpSpPr/>
          <p:nvPr/>
        </p:nvGrpSpPr>
        <p:grpSpPr>
          <a:xfrm>
            <a:off x="6176731" y="1683935"/>
            <a:ext cx="948992" cy="1107901"/>
            <a:chOff x="4632548" y="1262950"/>
            <a:chExt cx="711744" cy="830925"/>
          </a:xfrm>
        </p:grpSpPr>
        <p:sp>
          <p:nvSpPr>
            <p:cNvPr id="1517" name="Google Shape;1517;p38">
              <a:extLst>
                <a:ext uri="{FF2B5EF4-FFF2-40B4-BE49-F238E27FC236}">
                  <a16:creationId xmlns:a16="http://schemas.microsoft.com/office/drawing/2014/main" id="{A10682DA-5D2E-F092-13C9-4D8BFB9D2CE8}"/>
                </a:ext>
              </a:extLst>
            </p:cNvPr>
            <p:cNvSpPr/>
            <p:nvPr/>
          </p:nvSpPr>
          <p:spPr>
            <a:xfrm flipH="1">
              <a:off x="4815942" y="1262950"/>
              <a:ext cx="528350" cy="571000"/>
            </a:xfrm>
            <a:custGeom>
              <a:avLst/>
              <a:gdLst/>
              <a:ahLst/>
              <a:cxnLst/>
              <a:rect l="l" t="t" r="r" b="b"/>
              <a:pathLst>
                <a:path w="21134" h="22840" extrusionOk="0">
                  <a:moveTo>
                    <a:pt x="10576" y="1528"/>
                  </a:moveTo>
                  <a:cubicBezTo>
                    <a:pt x="11644" y="1528"/>
                    <a:pt x="12729" y="1750"/>
                    <a:pt x="13764" y="2218"/>
                  </a:cubicBezTo>
                  <a:cubicBezTo>
                    <a:pt x="17669" y="3992"/>
                    <a:pt x="19395" y="8576"/>
                    <a:pt x="17633" y="12481"/>
                  </a:cubicBezTo>
                  <a:cubicBezTo>
                    <a:pt x="16331" y="15339"/>
                    <a:pt x="13515" y="17030"/>
                    <a:pt x="10564" y="17030"/>
                  </a:cubicBezTo>
                  <a:cubicBezTo>
                    <a:pt x="9495" y="17030"/>
                    <a:pt x="8409" y="16808"/>
                    <a:pt x="7370" y="16339"/>
                  </a:cubicBezTo>
                  <a:cubicBezTo>
                    <a:pt x="3477" y="14577"/>
                    <a:pt x="1750" y="9981"/>
                    <a:pt x="3512" y="6088"/>
                  </a:cubicBezTo>
                  <a:cubicBezTo>
                    <a:pt x="4806" y="3221"/>
                    <a:pt x="7627" y="1528"/>
                    <a:pt x="10576" y="1528"/>
                  </a:cubicBezTo>
                  <a:close/>
                  <a:moveTo>
                    <a:pt x="10580" y="1"/>
                  </a:moveTo>
                  <a:cubicBezTo>
                    <a:pt x="7046" y="1"/>
                    <a:pt x="3667" y="2029"/>
                    <a:pt x="2119" y="5457"/>
                  </a:cubicBezTo>
                  <a:cubicBezTo>
                    <a:pt x="0" y="10124"/>
                    <a:pt x="2072" y="15613"/>
                    <a:pt x="6739" y="17732"/>
                  </a:cubicBezTo>
                  <a:cubicBezTo>
                    <a:pt x="7972" y="18295"/>
                    <a:pt x="9261" y="18558"/>
                    <a:pt x="10534" y="18558"/>
                  </a:cubicBezTo>
                  <a:cubicBezTo>
                    <a:pt x="10822" y="18558"/>
                    <a:pt x="11109" y="18544"/>
                    <a:pt x="11394" y="18518"/>
                  </a:cubicBezTo>
                  <a:lnTo>
                    <a:pt x="15669" y="22840"/>
                  </a:lnTo>
                  <a:lnTo>
                    <a:pt x="16050" y="16768"/>
                  </a:lnTo>
                  <a:cubicBezTo>
                    <a:pt x="17300" y="15851"/>
                    <a:pt x="18336" y="14625"/>
                    <a:pt x="19026" y="13112"/>
                  </a:cubicBezTo>
                  <a:cubicBezTo>
                    <a:pt x="21134" y="8445"/>
                    <a:pt x="19062" y="2944"/>
                    <a:pt x="14395" y="825"/>
                  </a:cubicBezTo>
                  <a:cubicBezTo>
                    <a:pt x="13156" y="266"/>
                    <a:pt x="11858" y="1"/>
                    <a:pt x="10580" y="1"/>
                  </a:cubicBezTo>
                  <a:close/>
                </a:path>
              </a:pathLst>
            </a:custGeom>
            <a:solidFill>
              <a:schemeClr val="accent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518" name="Google Shape;1518;p38">
              <a:extLst>
                <a:ext uri="{FF2B5EF4-FFF2-40B4-BE49-F238E27FC236}">
                  <a16:creationId xmlns:a16="http://schemas.microsoft.com/office/drawing/2014/main" id="{0D02B9CF-F4D1-FC1D-780C-B8A805EF2249}"/>
                </a:ext>
              </a:extLst>
            </p:cNvPr>
            <p:cNvSpPr/>
            <p:nvPr/>
          </p:nvSpPr>
          <p:spPr>
            <a:xfrm flipH="1">
              <a:off x="4632548" y="1694700"/>
              <a:ext cx="616775" cy="399175"/>
            </a:xfrm>
            <a:custGeom>
              <a:avLst/>
              <a:gdLst/>
              <a:ahLst/>
              <a:cxnLst/>
              <a:rect l="l" t="t" r="r" b="b"/>
              <a:pathLst>
                <a:path w="24671" h="15967" extrusionOk="0">
                  <a:moveTo>
                    <a:pt x="24670" y="0"/>
                  </a:moveTo>
                  <a:cubicBezTo>
                    <a:pt x="15252" y="715"/>
                    <a:pt x="6692" y="4501"/>
                    <a:pt x="1" y="10383"/>
                  </a:cubicBezTo>
                  <a:lnTo>
                    <a:pt x="5585" y="15967"/>
                  </a:lnTo>
                  <a:cubicBezTo>
                    <a:pt x="10823" y="11502"/>
                    <a:pt x="17419" y="8573"/>
                    <a:pt x="24670" y="7906"/>
                  </a:cubicBezTo>
                  <a:lnTo>
                    <a:pt x="24670" y="0"/>
                  </a:lnTo>
                  <a:close/>
                </a:path>
              </a:pathLst>
            </a:custGeom>
            <a:solidFill>
              <a:schemeClr val="accent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grpSp>
      <p:grpSp>
        <p:nvGrpSpPr>
          <p:cNvPr id="1519" name="Google Shape;1519;p38">
            <a:extLst>
              <a:ext uri="{FF2B5EF4-FFF2-40B4-BE49-F238E27FC236}">
                <a16:creationId xmlns:a16="http://schemas.microsoft.com/office/drawing/2014/main" id="{FF6F191D-F5C2-C40C-8E4E-48043960C0DF}"/>
              </a:ext>
            </a:extLst>
          </p:cNvPr>
          <p:cNvGrpSpPr/>
          <p:nvPr/>
        </p:nvGrpSpPr>
        <p:grpSpPr>
          <a:xfrm>
            <a:off x="7006100" y="2671665"/>
            <a:ext cx="1105317" cy="906766"/>
            <a:chOff x="5254575" y="2003750"/>
            <a:chExt cx="828988" cy="680075"/>
          </a:xfrm>
        </p:grpSpPr>
        <p:sp>
          <p:nvSpPr>
            <p:cNvPr id="1524" name="Google Shape;1524;p38">
              <a:extLst>
                <a:ext uri="{FF2B5EF4-FFF2-40B4-BE49-F238E27FC236}">
                  <a16:creationId xmlns:a16="http://schemas.microsoft.com/office/drawing/2014/main" id="{FEA802AD-738D-0E48-CCB8-FB1C9274A43A}"/>
                </a:ext>
              </a:extLst>
            </p:cNvPr>
            <p:cNvSpPr/>
            <p:nvPr/>
          </p:nvSpPr>
          <p:spPr>
            <a:xfrm flipH="1">
              <a:off x="5500138" y="2003750"/>
              <a:ext cx="583425" cy="464175"/>
            </a:xfrm>
            <a:custGeom>
              <a:avLst/>
              <a:gdLst/>
              <a:ahLst/>
              <a:cxnLst/>
              <a:rect l="l" t="t" r="r" b="b"/>
              <a:pathLst>
                <a:path w="23337" h="18567" extrusionOk="0">
                  <a:moveTo>
                    <a:pt x="10410" y="1534"/>
                  </a:moveTo>
                  <a:cubicBezTo>
                    <a:pt x="13672" y="1534"/>
                    <a:pt x="16706" y="3604"/>
                    <a:pt x="17777" y="6863"/>
                  </a:cubicBezTo>
                  <a:cubicBezTo>
                    <a:pt x="19110" y="10935"/>
                    <a:pt x="16896" y="15305"/>
                    <a:pt x="12824" y="16638"/>
                  </a:cubicBezTo>
                  <a:cubicBezTo>
                    <a:pt x="12020" y="16905"/>
                    <a:pt x="11204" y="17031"/>
                    <a:pt x="10402" y="17031"/>
                  </a:cubicBezTo>
                  <a:cubicBezTo>
                    <a:pt x="7149" y="17031"/>
                    <a:pt x="4118" y="14954"/>
                    <a:pt x="3049" y="11697"/>
                  </a:cubicBezTo>
                  <a:cubicBezTo>
                    <a:pt x="1715" y="7625"/>
                    <a:pt x="3930" y="3256"/>
                    <a:pt x="7990" y="1922"/>
                  </a:cubicBezTo>
                  <a:cubicBezTo>
                    <a:pt x="8793" y="1659"/>
                    <a:pt x="9608" y="1534"/>
                    <a:pt x="10410" y="1534"/>
                  </a:cubicBezTo>
                  <a:close/>
                  <a:moveTo>
                    <a:pt x="10419" y="0"/>
                  </a:moveTo>
                  <a:cubicBezTo>
                    <a:pt x="9456" y="0"/>
                    <a:pt x="8477" y="152"/>
                    <a:pt x="7513" y="470"/>
                  </a:cubicBezTo>
                  <a:cubicBezTo>
                    <a:pt x="2644" y="2065"/>
                    <a:pt x="1" y="7304"/>
                    <a:pt x="1596" y="12174"/>
                  </a:cubicBezTo>
                  <a:cubicBezTo>
                    <a:pt x="2877" y="16084"/>
                    <a:pt x="6508" y="18567"/>
                    <a:pt x="10410" y="18567"/>
                  </a:cubicBezTo>
                  <a:cubicBezTo>
                    <a:pt x="11367" y="18567"/>
                    <a:pt x="12341" y="18417"/>
                    <a:pt x="13300" y="18103"/>
                  </a:cubicBezTo>
                  <a:cubicBezTo>
                    <a:pt x="14871" y="17579"/>
                    <a:pt x="16217" y="16686"/>
                    <a:pt x="17265" y="15543"/>
                  </a:cubicBezTo>
                  <a:lnTo>
                    <a:pt x="23337" y="15817"/>
                  </a:lnTo>
                  <a:lnTo>
                    <a:pt x="19503" y="11090"/>
                  </a:lnTo>
                  <a:cubicBezTo>
                    <a:pt x="19813" y="9578"/>
                    <a:pt x="19741" y="7959"/>
                    <a:pt x="19229" y="6387"/>
                  </a:cubicBezTo>
                  <a:cubicBezTo>
                    <a:pt x="17950" y="2482"/>
                    <a:pt x="14319" y="0"/>
                    <a:pt x="10419" y="0"/>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525" name="Google Shape;1525;p38">
              <a:extLst>
                <a:ext uri="{FF2B5EF4-FFF2-40B4-BE49-F238E27FC236}">
                  <a16:creationId xmlns:a16="http://schemas.microsoft.com/office/drawing/2014/main" id="{8B7503E1-2D19-415C-D14C-59FC6CC99366}"/>
                </a:ext>
              </a:extLst>
            </p:cNvPr>
            <p:cNvSpPr/>
            <p:nvPr/>
          </p:nvSpPr>
          <p:spPr>
            <a:xfrm flipH="1">
              <a:off x="5254575" y="2068250"/>
              <a:ext cx="386075" cy="615575"/>
            </a:xfrm>
            <a:custGeom>
              <a:avLst/>
              <a:gdLst/>
              <a:ahLst/>
              <a:cxnLst/>
              <a:rect l="l" t="t" r="r" b="b"/>
              <a:pathLst>
                <a:path w="15443" h="24623" extrusionOk="0">
                  <a:moveTo>
                    <a:pt x="9847" y="1"/>
                  </a:moveTo>
                  <a:cubicBezTo>
                    <a:pt x="4179" y="6740"/>
                    <a:pt x="572" y="15276"/>
                    <a:pt x="0" y="24623"/>
                  </a:cubicBezTo>
                  <a:lnTo>
                    <a:pt x="7882" y="24623"/>
                  </a:lnTo>
                  <a:cubicBezTo>
                    <a:pt x="8430" y="17443"/>
                    <a:pt x="11168" y="10883"/>
                    <a:pt x="15443" y="5597"/>
                  </a:cubicBezTo>
                  <a:lnTo>
                    <a:pt x="9847" y="1"/>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grpSp>
      <p:grpSp>
        <p:nvGrpSpPr>
          <p:cNvPr id="1526" name="Google Shape;1526;p38">
            <a:extLst>
              <a:ext uri="{FF2B5EF4-FFF2-40B4-BE49-F238E27FC236}">
                <a16:creationId xmlns:a16="http://schemas.microsoft.com/office/drawing/2014/main" id="{CE53D5F3-DB3E-18B1-2854-E4EC17924680}"/>
              </a:ext>
            </a:extLst>
          </p:cNvPr>
          <p:cNvGrpSpPr/>
          <p:nvPr/>
        </p:nvGrpSpPr>
        <p:grpSpPr>
          <a:xfrm>
            <a:off x="6988630" y="3791538"/>
            <a:ext cx="1122800" cy="866652"/>
            <a:chOff x="5241475" y="2843650"/>
            <a:chExt cx="842100" cy="649988"/>
          </a:xfrm>
        </p:grpSpPr>
        <p:sp>
          <p:nvSpPr>
            <p:cNvPr id="1533" name="Google Shape;1533;p38">
              <a:extLst>
                <a:ext uri="{FF2B5EF4-FFF2-40B4-BE49-F238E27FC236}">
                  <a16:creationId xmlns:a16="http://schemas.microsoft.com/office/drawing/2014/main" id="{3AC7BDC3-FD07-C4F9-E517-FDBFC367DC81}"/>
                </a:ext>
              </a:extLst>
            </p:cNvPr>
            <p:cNvSpPr/>
            <p:nvPr/>
          </p:nvSpPr>
          <p:spPr>
            <a:xfrm flipH="1">
              <a:off x="5475725" y="3029513"/>
              <a:ext cx="607850" cy="464125"/>
            </a:xfrm>
            <a:custGeom>
              <a:avLst/>
              <a:gdLst/>
              <a:ahLst/>
              <a:cxnLst/>
              <a:rect l="l" t="t" r="r" b="b"/>
              <a:pathLst>
                <a:path w="24314" h="18565" extrusionOk="0">
                  <a:moveTo>
                    <a:pt x="10603" y="1533"/>
                  </a:moveTo>
                  <a:cubicBezTo>
                    <a:pt x="11755" y="1533"/>
                    <a:pt x="12924" y="1791"/>
                    <a:pt x="14026" y="2335"/>
                  </a:cubicBezTo>
                  <a:cubicBezTo>
                    <a:pt x="17860" y="4240"/>
                    <a:pt x="19432" y="8884"/>
                    <a:pt x="17527" y="12729"/>
                  </a:cubicBezTo>
                  <a:cubicBezTo>
                    <a:pt x="16180" y="15458"/>
                    <a:pt x="13439" y="17034"/>
                    <a:pt x="10585" y="17034"/>
                  </a:cubicBezTo>
                  <a:cubicBezTo>
                    <a:pt x="9429" y="17034"/>
                    <a:pt x="8253" y="16776"/>
                    <a:pt x="7145" y="16230"/>
                  </a:cubicBezTo>
                  <a:cubicBezTo>
                    <a:pt x="3311" y="14325"/>
                    <a:pt x="1739" y="9681"/>
                    <a:pt x="3644" y="5848"/>
                  </a:cubicBezTo>
                  <a:cubicBezTo>
                    <a:pt x="5001" y="3116"/>
                    <a:pt x="7749" y="1533"/>
                    <a:pt x="10603" y="1533"/>
                  </a:cubicBezTo>
                  <a:close/>
                  <a:moveTo>
                    <a:pt x="10596" y="1"/>
                  </a:moveTo>
                  <a:cubicBezTo>
                    <a:pt x="7179" y="1"/>
                    <a:pt x="3894" y="1897"/>
                    <a:pt x="2275" y="5169"/>
                  </a:cubicBezTo>
                  <a:cubicBezTo>
                    <a:pt x="1" y="9765"/>
                    <a:pt x="1882" y="15325"/>
                    <a:pt x="6466" y="17599"/>
                  </a:cubicBezTo>
                  <a:cubicBezTo>
                    <a:pt x="7790" y="18254"/>
                    <a:pt x="9194" y="18564"/>
                    <a:pt x="10578" y="18564"/>
                  </a:cubicBezTo>
                  <a:cubicBezTo>
                    <a:pt x="13998" y="18564"/>
                    <a:pt x="17289" y="16668"/>
                    <a:pt x="18908" y="13396"/>
                  </a:cubicBezTo>
                  <a:cubicBezTo>
                    <a:pt x="19634" y="11920"/>
                    <a:pt x="19932" y="10324"/>
                    <a:pt x="19849" y="8788"/>
                  </a:cubicBezTo>
                  <a:lnTo>
                    <a:pt x="24313" y="4645"/>
                  </a:lnTo>
                  <a:lnTo>
                    <a:pt x="18265" y="4062"/>
                  </a:lnTo>
                  <a:cubicBezTo>
                    <a:pt x="17396" y="2788"/>
                    <a:pt x="16193" y="1704"/>
                    <a:pt x="14705" y="966"/>
                  </a:cubicBezTo>
                  <a:cubicBezTo>
                    <a:pt x="13381" y="311"/>
                    <a:pt x="11978" y="1"/>
                    <a:pt x="1059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534" name="Google Shape;1534;p38">
              <a:extLst>
                <a:ext uri="{FF2B5EF4-FFF2-40B4-BE49-F238E27FC236}">
                  <a16:creationId xmlns:a16="http://schemas.microsoft.com/office/drawing/2014/main" id="{39745F4C-8867-F8E9-3BC9-695ABDB26100}"/>
                </a:ext>
              </a:extLst>
            </p:cNvPr>
            <p:cNvSpPr/>
            <p:nvPr/>
          </p:nvSpPr>
          <p:spPr>
            <a:xfrm flipH="1">
              <a:off x="5241475" y="2843650"/>
              <a:ext cx="397100" cy="602175"/>
            </a:xfrm>
            <a:custGeom>
              <a:avLst/>
              <a:gdLst/>
              <a:ahLst/>
              <a:cxnLst/>
              <a:rect l="l" t="t" r="r" b="b"/>
              <a:pathLst>
                <a:path w="15884" h="24087" extrusionOk="0">
                  <a:moveTo>
                    <a:pt x="1" y="0"/>
                  </a:moveTo>
                  <a:cubicBezTo>
                    <a:pt x="810" y="9192"/>
                    <a:pt x="4561" y="17538"/>
                    <a:pt x="10300" y="24087"/>
                  </a:cubicBezTo>
                  <a:lnTo>
                    <a:pt x="15884" y="18503"/>
                  </a:lnTo>
                  <a:cubicBezTo>
                    <a:pt x="11550" y="13395"/>
                    <a:pt x="8680" y="7025"/>
                    <a:pt x="791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grpSp>
      <p:grpSp>
        <p:nvGrpSpPr>
          <p:cNvPr id="1535" name="Google Shape;1535;p38">
            <a:extLst>
              <a:ext uri="{FF2B5EF4-FFF2-40B4-BE49-F238E27FC236}">
                <a16:creationId xmlns:a16="http://schemas.microsoft.com/office/drawing/2014/main" id="{F0B61C0F-0DE6-3176-E430-165BD84D1906}"/>
              </a:ext>
            </a:extLst>
          </p:cNvPr>
          <p:cNvGrpSpPr/>
          <p:nvPr/>
        </p:nvGrpSpPr>
        <p:grpSpPr>
          <a:xfrm>
            <a:off x="6165039" y="1469340"/>
            <a:ext cx="5454232" cy="4164598"/>
            <a:chOff x="4665800" y="1102004"/>
            <a:chExt cx="4090675" cy="3123446"/>
          </a:xfrm>
        </p:grpSpPr>
        <p:sp>
          <p:nvSpPr>
            <p:cNvPr id="1538" name="Google Shape;1538;p38">
              <a:extLst>
                <a:ext uri="{FF2B5EF4-FFF2-40B4-BE49-F238E27FC236}">
                  <a16:creationId xmlns:a16="http://schemas.microsoft.com/office/drawing/2014/main" id="{1FF8519D-F261-ED9D-3155-873E61159B07}"/>
                </a:ext>
              </a:extLst>
            </p:cNvPr>
            <p:cNvSpPr txBox="1"/>
            <p:nvPr/>
          </p:nvSpPr>
          <p:spPr>
            <a:xfrm>
              <a:off x="5821668" y="1102004"/>
              <a:ext cx="2934807" cy="4296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l-GR" sz="2000" b="0" i="0" u="none" strike="noStrike" kern="1200" cap="none" spc="0" normalizeH="0" baseline="0" noProof="0" dirty="0">
                  <a:ln>
                    <a:noFill/>
                  </a:ln>
                  <a:solidFill>
                    <a:srgbClr val="629DD1"/>
                  </a:solidFill>
                  <a:effectLst/>
                  <a:uLnTx/>
                  <a:uFillTx/>
                  <a:latin typeface="Fira Sans Extra Condensed Medium"/>
                  <a:ea typeface="Fira Sans Extra Condensed Medium"/>
                  <a:cs typeface="Fira Sans Extra Condensed Medium"/>
                  <a:sym typeface="Fira Sans Extra Condensed Medium"/>
                </a:rPr>
                <a:t>Δημιουργία Οικοτροφείου &amp; μονάδας ολικής ψυχικής υγείας για άτομα με αυτισμό. Ολοκλήρωση παρεμβάσεων στο ΓΝ Κοζάνης, αναβαθμίσεις ΚΥ.</a:t>
              </a:r>
            </a:p>
          </p:txBody>
        </p:sp>
        <p:sp>
          <p:nvSpPr>
            <p:cNvPr id="1540" name="Google Shape;1540;p38">
              <a:extLst>
                <a:ext uri="{FF2B5EF4-FFF2-40B4-BE49-F238E27FC236}">
                  <a16:creationId xmlns:a16="http://schemas.microsoft.com/office/drawing/2014/main" id="{EC41B94F-A6F2-6BAC-71E6-67CC9B6E48F6}"/>
                </a:ext>
              </a:extLst>
            </p:cNvPr>
            <p:cNvSpPr/>
            <p:nvPr/>
          </p:nvSpPr>
          <p:spPr>
            <a:xfrm flipH="1">
              <a:off x="4843813" y="3663475"/>
              <a:ext cx="524500" cy="561975"/>
            </a:xfrm>
            <a:custGeom>
              <a:avLst/>
              <a:gdLst/>
              <a:ahLst/>
              <a:cxnLst/>
              <a:rect l="l" t="t" r="r" b="b"/>
              <a:pathLst>
                <a:path w="20980" h="22479" extrusionOk="0">
                  <a:moveTo>
                    <a:pt x="10481" y="5447"/>
                  </a:moveTo>
                  <a:cubicBezTo>
                    <a:pt x="13615" y="5447"/>
                    <a:pt x="16567" y="7361"/>
                    <a:pt x="17741" y="10466"/>
                  </a:cubicBezTo>
                  <a:cubicBezTo>
                    <a:pt x="19253" y="14467"/>
                    <a:pt x="17229" y="18944"/>
                    <a:pt x="13217" y="20444"/>
                  </a:cubicBezTo>
                  <a:cubicBezTo>
                    <a:pt x="12317" y="20784"/>
                    <a:pt x="11392" y="20945"/>
                    <a:pt x="10484" y="20945"/>
                  </a:cubicBezTo>
                  <a:cubicBezTo>
                    <a:pt x="7352" y="20945"/>
                    <a:pt x="4402" y="19032"/>
                    <a:pt x="3239" y="15931"/>
                  </a:cubicBezTo>
                  <a:cubicBezTo>
                    <a:pt x="1727" y="11919"/>
                    <a:pt x="3751" y="7454"/>
                    <a:pt x="7763" y="5942"/>
                  </a:cubicBezTo>
                  <a:cubicBezTo>
                    <a:pt x="8659" y="5606"/>
                    <a:pt x="9578" y="5447"/>
                    <a:pt x="10481" y="5447"/>
                  </a:cubicBezTo>
                  <a:close/>
                  <a:moveTo>
                    <a:pt x="16467" y="1"/>
                  </a:moveTo>
                  <a:lnTo>
                    <a:pt x="11907" y="4025"/>
                  </a:lnTo>
                  <a:cubicBezTo>
                    <a:pt x="11442" y="3952"/>
                    <a:pt x="10969" y="3915"/>
                    <a:pt x="10492" y="3915"/>
                  </a:cubicBezTo>
                  <a:cubicBezTo>
                    <a:pt x="9406" y="3915"/>
                    <a:pt x="8299" y="4108"/>
                    <a:pt x="7216" y="4513"/>
                  </a:cubicBezTo>
                  <a:cubicBezTo>
                    <a:pt x="2429" y="6323"/>
                    <a:pt x="1" y="11669"/>
                    <a:pt x="1810" y="16467"/>
                  </a:cubicBezTo>
                  <a:cubicBezTo>
                    <a:pt x="3205" y="20189"/>
                    <a:pt x="6742" y="22479"/>
                    <a:pt x="10499" y="22479"/>
                  </a:cubicBezTo>
                  <a:cubicBezTo>
                    <a:pt x="11584" y="22479"/>
                    <a:pt x="12688" y="22287"/>
                    <a:pt x="13764" y="21884"/>
                  </a:cubicBezTo>
                  <a:cubicBezTo>
                    <a:pt x="18551" y="20075"/>
                    <a:pt x="20979" y="14717"/>
                    <a:pt x="19170" y="9931"/>
                  </a:cubicBezTo>
                  <a:cubicBezTo>
                    <a:pt x="18586" y="8371"/>
                    <a:pt x="17634" y="7073"/>
                    <a:pt x="16443" y="6085"/>
                  </a:cubicBezTo>
                  <a:lnTo>
                    <a:pt x="16467" y="1"/>
                  </a:ln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541" name="Google Shape;1541;p38">
              <a:extLst>
                <a:ext uri="{FF2B5EF4-FFF2-40B4-BE49-F238E27FC236}">
                  <a16:creationId xmlns:a16="http://schemas.microsoft.com/office/drawing/2014/main" id="{5B347E01-E9FC-9F2F-91B2-CE8488AF9CDD}"/>
                </a:ext>
              </a:extLst>
            </p:cNvPr>
            <p:cNvSpPr/>
            <p:nvPr/>
          </p:nvSpPr>
          <p:spPr>
            <a:xfrm flipH="1">
              <a:off x="4665800" y="3417825"/>
              <a:ext cx="601000" cy="386075"/>
            </a:xfrm>
            <a:custGeom>
              <a:avLst/>
              <a:gdLst/>
              <a:ahLst/>
              <a:cxnLst/>
              <a:rect l="l" t="t" r="r" b="b"/>
              <a:pathLst>
                <a:path w="24040" h="15443" extrusionOk="0">
                  <a:moveTo>
                    <a:pt x="5585" y="1"/>
                  </a:moveTo>
                  <a:lnTo>
                    <a:pt x="1" y="5596"/>
                  </a:lnTo>
                  <a:cubicBezTo>
                    <a:pt x="6585" y="11169"/>
                    <a:pt x="14907" y="14752"/>
                    <a:pt x="24039" y="15443"/>
                  </a:cubicBezTo>
                  <a:lnTo>
                    <a:pt x="24039" y="7537"/>
                  </a:lnTo>
                  <a:cubicBezTo>
                    <a:pt x="17074" y="6894"/>
                    <a:pt x="10728" y="4168"/>
                    <a:pt x="5585"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Arial"/>
                <a:ea typeface="+mn-ea"/>
                <a:cs typeface="Arial"/>
                <a:sym typeface="Arial"/>
              </a:endParaRPr>
            </a:p>
          </p:txBody>
        </p:sp>
      </p:grpSp>
      <p:grpSp>
        <p:nvGrpSpPr>
          <p:cNvPr id="2" name="Google Shape;8734;p72">
            <a:extLst>
              <a:ext uri="{FF2B5EF4-FFF2-40B4-BE49-F238E27FC236}">
                <a16:creationId xmlns:a16="http://schemas.microsoft.com/office/drawing/2014/main" id="{2F10A3D9-CCA9-47A4-FB40-79C98C48779B}"/>
              </a:ext>
            </a:extLst>
          </p:cNvPr>
          <p:cNvGrpSpPr/>
          <p:nvPr/>
        </p:nvGrpSpPr>
        <p:grpSpPr>
          <a:xfrm>
            <a:off x="286061" y="1045298"/>
            <a:ext cx="707615" cy="616173"/>
            <a:chOff x="-1951475" y="3273100"/>
            <a:chExt cx="291875" cy="222775"/>
          </a:xfrm>
          <a:solidFill>
            <a:srgbClr val="00B0F0"/>
          </a:solidFill>
        </p:grpSpPr>
        <p:sp>
          <p:nvSpPr>
            <p:cNvPr id="4" name="Google Shape;8735;p72">
              <a:extLst>
                <a:ext uri="{FF2B5EF4-FFF2-40B4-BE49-F238E27FC236}">
                  <a16:creationId xmlns:a16="http://schemas.microsoft.com/office/drawing/2014/main" id="{CA6A22A9-A00B-4EB6-4FFB-8B5DE543394A}"/>
                </a:ext>
              </a:extLst>
            </p:cNvPr>
            <p:cNvSpPr/>
            <p:nvPr/>
          </p:nvSpPr>
          <p:spPr>
            <a:xfrm>
              <a:off x="-1951475" y="3325050"/>
              <a:ext cx="51225" cy="119250"/>
            </a:xfrm>
            <a:custGeom>
              <a:avLst/>
              <a:gdLst/>
              <a:ahLst/>
              <a:cxnLst/>
              <a:rect l="l" t="t" r="r" b="b"/>
              <a:pathLst>
                <a:path w="2049" h="4770" extrusionOk="0">
                  <a:moveTo>
                    <a:pt x="1033" y="0"/>
                  </a:moveTo>
                  <a:cubicBezTo>
                    <a:pt x="518" y="0"/>
                    <a:pt x="0" y="339"/>
                    <a:pt x="0" y="1004"/>
                  </a:cubicBezTo>
                  <a:lnTo>
                    <a:pt x="0" y="3777"/>
                  </a:lnTo>
                  <a:cubicBezTo>
                    <a:pt x="0" y="4438"/>
                    <a:pt x="512" y="4769"/>
                    <a:pt x="1024" y="4769"/>
                  </a:cubicBezTo>
                  <a:cubicBezTo>
                    <a:pt x="1536" y="4769"/>
                    <a:pt x="2048" y="4438"/>
                    <a:pt x="2048" y="3777"/>
                  </a:cubicBezTo>
                  <a:lnTo>
                    <a:pt x="2048" y="1004"/>
                  </a:lnTo>
                  <a:cubicBezTo>
                    <a:pt x="2048" y="331"/>
                    <a:pt x="1542" y="0"/>
                    <a:pt x="1033"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5" name="Google Shape;8736;p72">
              <a:extLst>
                <a:ext uri="{FF2B5EF4-FFF2-40B4-BE49-F238E27FC236}">
                  <a16:creationId xmlns:a16="http://schemas.microsoft.com/office/drawing/2014/main" id="{ACDC8E80-A228-A0D3-918C-31EF0F3491EA}"/>
                </a:ext>
              </a:extLst>
            </p:cNvPr>
            <p:cNvSpPr/>
            <p:nvPr/>
          </p:nvSpPr>
          <p:spPr>
            <a:xfrm>
              <a:off x="-1711250" y="3273100"/>
              <a:ext cx="51650" cy="221725"/>
            </a:xfrm>
            <a:custGeom>
              <a:avLst/>
              <a:gdLst/>
              <a:ahLst/>
              <a:cxnLst/>
              <a:rect l="l" t="t" r="r" b="b"/>
              <a:pathLst>
                <a:path w="2066" h="8869" extrusionOk="0">
                  <a:moveTo>
                    <a:pt x="1027" y="0"/>
                  </a:moveTo>
                  <a:cubicBezTo>
                    <a:pt x="608" y="0"/>
                    <a:pt x="186" y="229"/>
                    <a:pt x="32" y="719"/>
                  </a:cubicBezTo>
                  <a:cubicBezTo>
                    <a:pt x="0" y="814"/>
                    <a:pt x="0" y="940"/>
                    <a:pt x="0" y="1003"/>
                  </a:cubicBezTo>
                  <a:lnTo>
                    <a:pt x="0" y="7871"/>
                  </a:lnTo>
                  <a:cubicBezTo>
                    <a:pt x="0" y="7934"/>
                    <a:pt x="0" y="8060"/>
                    <a:pt x="32" y="8123"/>
                  </a:cubicBezTo>
                  <a:cubicBezTo>
                    <a:pt x="173" y="8632"/>
                    <a:pt x="594" y="8869"/>
                    <a:pt x="1015" y="8869"/>
                  </a:cubicBezTo>
                  <a:cubicBezTo>
                    <a:pt x="1532" y="8869"/>
                    <a:pt x="2048" y="8513"/>
                    <a:pt x="2048" y="7871"/>
                  </a:cubicBezTo>
                  <a:lnTo>
                    <a:pt x="2048" y="1003"/>
                  </a:lnTo>
                  <a:cubicBezTo>
                    <a:pt x="2066" y="356"/>
                    <a:pt x="1549" y="0"/>
                    <a:pt x="1027"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6" name="Google Shape;8737;p72">
              <a:extLst>
                <a:ext uri="{FF2B5EF4-FFF2-40B4-BE49-F238E27FC236}">
                  <a16:creationId xmlns:a16="http://schemas.microsoft.com/office/drawing/2014/main" id="{7BA720A7-7067-DD49-EB61-6D0D74365F11}"/>
                </a:ext>
              </a:extLst>
            </p:cNvPr>
            <p:cNvSpPr/>
            <p:nvPr/>
          </p:nvSpPr>
          <p:spPr>
            <a:xfrm>
              <a:off x="-1886900" y="3296575"/>
              <a:ext cx="156775" cy="199300"/>
            </a:xfrm>
            <a:custGeom>
              <a:avLst/>
              <a:gdLst/>
              <a:ahLst/>
              <a:cxnLst/>
              <a:rect l="l" t="t" r="r" b="b"/>
              <a:pathLst>
                <a:path w="6271" h="7972" extrusionOk="0">
                  <a:moveTo>
                    <a:pt x="851" y="5672"/>
                  </a:moveTo>
                  <a:lnTo>
                    <a:pt x="3466" y="6333"/>
                  </a:lnTo>
                  <a:cubicBezTo>
                    <a:pt x="3277" y="6869"/>
                    <a:pt x="2773" y="7279"/>
                    <a:pt x="2174" y="7279"/>
                  </a:cubicBezTo>
                  <a:cubicBezTo>
                    <a:pt x="1418" y="7279"/>
                    <a:pt x="788" y="6648"/>
                    <a:pt x="788" y="5892"/>
                  </a:cubicBezTo>
                  <a:cubicBezTo>
                    <a:pt x="851" y="5798"/>
                    <a:pt x="851" y="5735"/>
                    <a:pt x="851" y="5672"/>
                  </a:cubicBezTo>
                  <a:close/>
                  <a:moveTo>
                    <a:pt x="6270" y="1"/>
                  </a:moveTo>
                  <a:lnTo>
                    <a:pt x="1" y="1576"/>
                  </a:lnTo>
                  <a:cubicBezTo>
                    <a:pt x="95" y="1734"/>
                    <a:pt x="127" y="1923"/>
                    <a:pt x="127" y="2143"/>
                  </a:cubicBezTo>
                  <a:lnTo>
                    <a:pt x="127" y="4916"/>
                  </a:lnTo>
                  <a:cubicBezTo>
                    <a:pt x="127" y="5105"/>
                    <a:pt x="95" y="5294"/>
                    <a:pt x="1" y="5514"/>
                  </a:cubicBezTo>
                  <a:lnTo>
                    <a:pt x="158" y="5546"/>
                  </a:lnTo>
                  <a:cubicBezTo>
                    <a:pt x="127" y="5672"/>
                    <a:pt x="127" y="5829"/>
                    <a:pt x="127" y="5924"/>
                  </a:cubicBezTo>
                  <a:cubicBezTo>
                    <a:pt x="127" y="7090"/>
                    <a:pt x="1040" y="7972"/>
                    <a:pt x="2174" y="7972"/>
                  </a:cubicBezTo>
                  <a:cubicBezTo>
                    <a:pt x="3120" y="7972"/>
                    <a:pt x="3907" y="7405"/>
                    <a:pt x="4159" y="6522"/>
                  </a:cubicBezTo>
                  <a:lnTo>
                    <a:pt x="6270" y="7090"/>
                  </a:lnTo>
                  <a:lnTo>
                    <a:pt x="6270" y="5672"/>
                  </a:lnTo>
                  <a:lnTo>
                    <a:pt x="6270" y="2238"/>
                  </a:lnTo>
                  <a:lnTo>
                    <a:pt x="6270"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Arial"/>
                <a:sym typeface="Arial"/>
              </a:endParaRPr>
            </a:p>
          </p:txBody>
        </p:sp>
      </p:grpSp>
      <p:sp>
        <p:nvSpPr>
          <p:cNvPr id="7" name="Google Shape;1510;p38">
            <a:extLst>
              <a:ext uri="{FF2B5EF4-FFF2-40B4-BE49-F238E27FC236}">
                <a16:creationId xmlns:a16="http://schemas.microsoft.com/office/drawing/2014/main" id="{BF8A40A2-7E2B-06D0-FD69-E99192031752}"/>
              </a:ext>
            </a:extLst>
          </p:cNvPr>
          <p:cNvSpPr txBox="1"/>
          <p:nvPr/>
        </p:nvSpPr>
        <p:spPr>
          <a:xfrm>
            <a:off x="1136749" y="6078047"/>
            <a:ext cx="3888884" cy="5728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l-GR" sz="2000" b="0" i="0" u="none" strike="noStrike" kern="1200" cap="none" spc="0" normalizeH="0" baseline="0" noProof="0" dirty="0">
                <a:ln>
                  <a:noFill/>
                </a:ln>
                <a:solidFill>
                  <a:schemeClr val="accent2">
                    <a:lumMod val="75000"/>
                  </a:schemeClr>
                </a:solidFill>
                <a:effectLst/>
                <a:uLnTx/>
                <a:uFillTx/>
                <a:latin typeface="Fira Sans Extra Condensed Medium"/>
                <a:ea typeface="Fira Sans Extra Condensed Medium"/>
                <a:cs typeface="Fira Sans Extra Condensed Medium"/>
                <a:sym typeface="Fira Sans Extra Condensed Medium"/>
              </a:rPr>
              <a:t>Τηλεθέρμανση</a:t>
            </a:r>
            <a:endParaRPr kumimoji="0" lang="el-GR" sz="2000" b="0" i="0" u="none" strike="noStrike" kern="1200" cap="none" spc="0" normalizeH="0" baseline="0" noProof="0" dirty="0">
              <a:ln>
                <a:noFill/>
              </a:ln>
              <a:solidFill>
                <a:schemeClr val="accent2">
                  <a:lumMod val="75000"/>
                </a:schemeClr>
              </a:solidFill>
              <a:effectLst/>
              <a:uLnTx/>
              <a:uFillTx/>
              <a:latin typeface="Fira Sans Extra Condensed Medium"/>
              <a:ea typeface="Fira Sans Extra Condensed Medium"/>
              <a:cs typeface="Fira Sans Extra Condensed Medium"/>
              <a:sym typeface="Arial"/>
            </a:endParaRPr>
          </a:p>
        </p:txBody>
      </p:sp>
      <p:sp>
        <p:nvSpPr>
          <p:cNvPr id="8" name="Google Shape;1499;p38">
            <a:extLst>
              <a:ext uri="{FF2B5EF4-FFF2-40B4-BE49-F238E27FC236}">
                <a16:creationId xmlns:a16="http://schemas.microsoft.com/office/drawing/2014/main" id="{07B44DFA-B7FC-CC52-BB49-55E3FB7BE137}"/>
              </a:ext>
            </a:extLst>
          </p:cNvPr>
          <p:cNvSpPr txBox="1"/>
          <p:nvPr/>
        </p:nvSpPr>
        <p:spPr>
          <a:xfrm>
            <a:off x="309240" y="3358734"/>
            <a:ext cx="4378323" cy="1714286"/>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2000" b="0" i="0" u="none" strike="noStrike" kern="1200" cap="none" spc="0" normalizeH="0" baseline="0" noProof="0" dirty="0">
                <a:ln>
                  <a:noFill/>
                </a:ln>
                <a:solidFill>
                  <a:srgbClr val="4A66AC"/>
                </a:solidFill>
                <a:effectLst/>
                <a:uLnTx/>
                <a:uFillTx/>
                <a:latin typeface="Fira Sans Extra Condensed Medium"/>
                <a:ea typeface="Fira Sans Extra Condensed Medium"/>
                <a:cs typeface="Fira Sans Extra Condensed Medium"/>
                <a:sym typeface="Fira Sans Extra Condensed Medium"/>
              </a:rPr>
              <a:t>Αύξηση των εισακτέων στη σχολή πυροσβεστών</a:t>
            </a:r>
          </a:p>
        </p:txBody>
      </p:sp>
      <p:sp>
        <p:nvSpPr>
          <p:cNvPr id="3" name="Google Shape;414;p13">
            <a:extLst>
              <a:ext uri="{FF2B5EF4-FFF2-40B4-BE49-F238E27FC236}">
                <a16:creationId xmlns:a16="http://schemas.microsoft.com/office/drawing/2014/main" id="{FD227DBC-A801-4674-0D54-D6909DF1A84D}"/>
              </a:ext>
            </a:extLst>
          </p:cNvPr>
          <p:cNvSpPr/>
          <p:nvPr/>
        </p:nvSpPr>
        <p:spPr>
          <a:xfrm>
            <a:off x="779435" y="158892"/>
            <a:ext cx="6783921"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defRPr/>
            </a:pPr>
            <a:r>
              <a:rPr kumimoji="0" lang="el-GR" sz="3300" b="0" i="0" u="none" strike="noStrike" kern="0" cap="none" spc="0" normalizeH="0" baseline="0" noProof="0">
                <a:ln>
                  <a:noFill/>
                </a:ln>
                <a:solidFill>
                  <a:srgbClr val="002060"/>
                </a:solidFill>
                <a:effectLst/>
                <a:uLnTx/>
                <a:uFillTx/>
                <a:latin typeface="Arial Black"/>
                <a:ea typeface="Arial Black"/>
                <a:cs typeface="Arial Black"/>
                <a:sym typeface="Arial Black"/>
              </a:rPr>
              <a:t>Άμεσες </a:t>
            </a:r>
            <a:r>
              <a:rPr lang="el-GR" sz="3300" kern="0">
                <a:solidFill>
                  <a:srgbClr val="002060"/>
                </a:solidFill>
                <a:latin typeface="Arial Black"/>
                <a:ea typeface="Arial Black"/>
                <a:cs typeface="Arial Black"/>
                <a:sym typeface="Arial Black"/>
              </a:rPr>
              <a:t>παρεμβάσεις- Κοζάνη</a:t>
            </a:r>
            <a:endParaRPr kumimoji="0" lang="el-GR" sz="3334" b="0" i="0" u="none" strike="noStrike" kern="0" cap="none" spc="0" normalizeH="0" baseline="0" noProof="0">
              <a:ln>
                <a:noFill/>
              </a:ln>
              <a:solidFill>
                <a:srgbClr val="002060"/>
              </a:solidFill>
              <a:effectLst/>
              <a:uLnTx/>
              <a:uFillTx/>
              <a:latin typeface="Arial Black"/>
              <a:ea typeface="Arial Black"/>
              <a:cs typeface="Arial Black"/>
              <a:sym typeface="Arial Black"/>
            </a:endParaRPr>
          </a:p>
        </p:txBody>
      </p:sp>
      <p:cxnSp>
        <p:nvCxnSpPr>
          <p:cNvPr id="10" name="Ευθεία γραμμή σύνδεσης 9">
            <a:extLst>
              <a:ext uri="{FF2B5EF4-FFF2-40B4-BE49-F238E27FC236}">
                <a16:creationId xmlns:a16="http://schemas.microsoft.com/office/drawing/2014/main" id="{45F88DBD-F90D-AF63-5DF4-65CA7A38631A}"/>
              </a:ext>
            </a:extLst>
          </p:cNvPr>
          <p:cNvCxnSpPr/>
          <p:nvPr/>
        </p:nvCxnSpPr>
        <p:spPr>
          <a:xfrm>
            <a:off x="261643" y="779953"/>
            <a:ext cx="11668715" cy="0"/>
          </a:xfrm>
          <a:prstGeom prst="line">
            <a:avLst/>
          </a:prstGeom>
        </p:spPr>
        <p:style>
          <a:lnRef idx="3">
            <a:schemeClr val="accent1"/>
          </a:lnRef>
          <a:fillRef idx="0">
            <a:schemeClr val="accent1"/>
          </a:fillRef>
          <a:effectRef idx="2">
            <a:schemeClr val="accent1"/>
          </a:effectRef>
          <a:fontRef idx="minor">
            <a:schemeClr val="tx1"/>
          </a:fontRef>
        </p:style>
      </p:cxnSp>
      <p:sp>
        <p:nvSpPr>
          <p:cNvPr id="11" name="Google Shape;1522;p38">
            <a:extLst>
              <a:ext uri="{FF2B5EF4-FFF2-40B4-BE49-F238E27FC236}">
                <a16:creationId xmlns:a16="http://schemas.microsoft.com/office/drawing/2014/main" id="{51705EB8-CBBE-EC61-1062-B12054678034}"/>
              </a:ext>
            </a:extLst>
          </p:cNvPr>
          <p:cNvSpPr txBox="1"/>
          <p:nvPr/>
        </p:nvSpPr>
        <p:spPr>
          <a:xfrm>
            <a:off x="8342202" y="3074039"/>
            <a:ext cx="4050672" cy="5728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l-GR" sz="2000" b="0" i="0" u="none" strike="noStrike" kern="1200" cap="none" spc="0" normalizeH="0" baseline="0" noProof="0" dirty="0">
                <a:ln>
                  <a:noFill/>
                </a:ln>
                <a:solidFill>
                  <a:srgbClr val="7F8FA9"/>
                </a:solidFill>
                <a:effectLst/>
                <a:uLnTx/>
                <a:uFillTx/>
                <a:latin typeface="Fira Sans Extra Condensed Medium"/>
                <a:ea typeface="Fira Sans Extra Condensed Medium"/>
                <a:cs typeface="Fira Sans Extra Condensed Medium"/>
                <a:sym typeface="Fira Sans Extra Condensed Medium"/>
              </a:rPr>
              <a:t>Φοιτητικές εστίες  </a:t>
            </a:r>
          </a:p>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l-GR" sz="2000" b="0" i="0" u="none" strike="noStrike" kern="1200" cap="none" spc="0" normalizeH="0" baseline="0" noProof="0" dirty="0">
                <a:ln>
                  <a:noFill/>
                </a:ln>
                <a:solidFill>
                  <a:srgbClr val="7F8FA9"/>
                </a:solidFill>
                <a:effectLst/>
                <a:uLnTx/>
                <a:uFillTx/>
                <a:latin typeface="Fira Sans Extra Condensed Medium"/>
                <a:ea typeface="Fira Sans Extra Condensed Medium"/>
                <a:cs typeface="Fira Sans Extra Condensed Medium"/>
                <a:sym typeface="Fira Sans Extra Condensed Medium"/>
              </a:rPr>
              <a:t>350 κλίνες στην Κοζάνη. 1ος θύλακας καινοτομίας στο ΠΔΜ</a:t>
            </a:r>
            <a:endParaRPr kumimoji="0" lang="el-GR" sz="1600" b="0" i="0" u="none" strike="noStrike" kern="1200" cap="none" spc="0" normalizeH="0" baseline="0" noProof="0" dirty="0">
              <a:ln>
                <a:noFill/>
              </a:ln>
              <a:solidFill>
                <a:srgbClr val="FF0000"/>
              </a:solidFill>
              <a:effectLst/>
              <a:uLnTx/>
              <a:uFillTx/>
              <a:latin typeface="Fira Sans Extra Condensed Medium"/>
              <a:ea typeface="Fira Sans Extra Condensed Medium"/>
              <a:cs typeface="Fira Sans Extra Condensed Medium"/>
              <a:sym typeface="Arial"/>
            </a:endParaRPr>
          </a:p>
        </p:txBody>
      </p:sp>
      <p:sp>
        <p:nvSpPr>
          <p:cNvPr id="14" name="Google Shape;1510;p38"/>
          <p:cNvSpPr txBox="1"/>
          <p:nvPr/>
        </p:nvSpPr>
        <p:spPr>
          <a:xfrm>
            <a:off x="579634" y="2652995"/>
            <a:ext cx="4040421" cy="572800"/>
          </a:xfrm>
          <a:prstGeom prst="rect">
            <a:avLst/>
          </a:prstGeom>
          <a:noFill/>
          <a:ln>
            <a:noFill/>
          </a:ln>
        </p:spPr>
        <p:txBody>
          <a:bodyPr spcFirstLastPara="1" wrap="square" lIns="121900" tIns="121900" rIns="121900" bIns="121900" anchor="ctr" anchorCtr="0">
            <a:noAutofit/>
          </a:bodyPr>
          <a:lstStyle/>
          <a:p>
            <a:pPr>
              <a:defRPr/>
            </a:pPr>
            <a:r>
              <a:rPr lang="el-GR" sz="2000" kern="1200" dirty="0">
                <a:solidFill>
                  <a:srgbClr val="5AA2AE"/>
                </a:solidFill>
                <a:latin typeface="Fira Sans Extra Condensed Medium"/>
                <a:sym typeface="Fira Sans Extra Condensed Medium"/>
              </a:rPr>
              <a:t>Ενίσχυση των διοικητικών υπαλλήλων σε Κοζάνη &amp; Πτολεμαΐδα</a:t>
            </a:r>
            <a:endParaRPr lang="el-GR" sz="2000" kern="1200" dirty="0">
              <a:solidFill>
                <a:srgbClr val="5AA2AE"/>
              </a:solidFill>
              <a:latin typeface="Fira Sans Extra Condensed Medium"/>
            </a:endParaRPr>
          </a:p>
        </p:txBody>
      </p:sp>
      <p:sp>
        <p:nvSpPr>
          <p:cNvPr id="9" name="Google Shape;1510;p38">
            <a:extLst>
              <a:ext uri="{FF2B5EF4-FFF2-40B4-BE49-F238E27FC236}">
                <a16:creationId xmlns:a16="http://schemas.microsoft.com/office/drawing/2014/main" id="{6ABCCE0E-FD8F-EA1F-A4D2-64E07F9DF539}"/>
              </a:ext>
            </a:extLst>
          </p:cNvPr>
          <p:cNvSpPr txBox="1"/>
          <p:nvPr/>
        </p:nvSpPr>
        <p:spPr>
          <a:xfrm>
            <a:off x="4128399" y="5971039"/>
            <a:ext cx="3888884" cy="5728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l-GR" sz="2000" b="0" i="0" u="none" strike="noStrike" kern="1200" cap="none" spc="0" normalizeH="0" baseline="0" noProof="0" dirty="0">
                <a:ln>
                  <a:noFill/>
                </a:ln>
                <a:solidFill>
                  <a:srgbClr val="5AA2AE"/>
                </a:solidFill>
                <a:effectLst/>
                <a:uLnTx/>
                <a:uFillTx/>
                <a:latin typeface="Fira Sans Extra Condensed Medium"/>
                <a:ea typeface="Fira Sans Extra Condensed Medium"/>
                <a:cs typeface="Fira Sans Extra Condensed Medium"/>
                <a:sym typeface="Fira Sans Extra Condensed Medium"/>
              </a:rPr>
              <a:t>Κατασκευή </a:t>
            </a:r>
            <a:r>
              <a:rPr kumimoji="0" lang="el-GR" sz="2000" b="0" i="0" u="none" strike="noStrike" kern="1200" cap="none" spc="0" normalizeH="0" baseline="0" noProof="0" dirty="0" err="1">
                <a:ln>
                  <a:noFill/>
                </a:ln>
                <a:solidFill>
                  <a:srgbClr val="5AA2AE"/>
                </a:solidFill>
                <a:effectLst/>
                <a:uLnTx/>
                <a:uFillTx/>
                <a:latin typeface="Fira Sans Extra Condensed Medium"/>
                <a:ea typeface="Fira Sans Extra Condensed Medium"/>
                <a:cs typeface="Fira Sans Extra Condensed Medium"/>
                <a:sym typeface="Fira Sans Extra Condensed Medium"/>
              </a:rPr>
              <a:t>ψυχογηριατρικού</a:t>
            </a:r>
            <a:r>
              <a:rPr kumimoji="0" lang="el-GR" sz="2000" b="0" i="0" u="none" strike="noStrike" kern="1200" cap="none" spc="0" normalizeH="0" baseline="0" noProof="0" dirty="0">
                <a:ln>
                  <a:noFill/>
                </a:ln>
                <a:solidFill>
                  <a:srgbClr val="5AA2AE"/>
                </a:solidFill>
                <a:effectLst/>
                <a:uLnTx/>
                <a:uFillTx/>
                <a:latin typeface="Fira Sans Extra Condensed Medium"/>
                <a:ea typeface="Fira Sans Extra Condensed Medium"/>
                <a:cs typeface="Fira Sans Extra Condensed Medium"/>
                <a:sym typeface="Fira Sans Extra Condensed Medium"/>
              </a:rPr>
              <a:t> κέντρου Εορδαίας</a:t>
            </a:r>
          </a:p>
        </p:txBody>
      </p:sp>
      <p:sp>
        <p:nvSpPr>
          <p:cNvPr id="12" name="Google Shape;1480;p38">
            <a:extLst>
              <a:ext uri="{FF2B5EF4-FFF2-40B4-BE49-F238E27FC236}">
                <a16:creationId xmlns:a16="http://schemas.microsoft.com/office/drawing/2014/main" id="{ADFE2495-ADCE-5734-17C7-79CE79878323}"/>
              </a:ext>
            </a:extLst>
          </p:cNvPr>
          <p:cNvSpPr txBox="1"/>
          <p:nvPr/>
        </p:nvSpPr>
        <p:spPr>
          <a:xfrm>
            <a:off x="412196" y="5032361"/>
            <a:ext cx="4286496" cy="920181"/>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2000" b="0" i="0" u="none" strike="noStrike" kern="1200" cap="none" spc="0" normalizeH="0" baseline="0" noProof="0" dirty="0">
                <a:ln>
                  <a:noFill/>
                </a:ln>
                <a:solidFill>
                  <a:srgbClr val="629DD1"/>
                </a:solidFill>
                <a:effectLst/>
                <a:uLnTx/>
                <a:uFillTx/>
                <a:latin typeface="Fira Sans Extra Condensed Medium"/>
                <a:ea typeface="Fira Sans Extra Condensed Medium"/>
                <a:cs typeface="Fira Sans Extra Condensed Medium"/>
                <a:sym typeface="Fira Sans Extra Condensed Medium"/>
              </a:rPr>
              <a:t>3ο πρόγραμμα ενίσχυσης κλάδου γούνας</a:t>
            </a:r>
          </a:p>
        </p:txBody>
      </p:sp>
      <p:sp>
        <p:nvSpPr>
          <p:cNvPr id="13" name="Google Shape;1499;p38">
            <a:extLst>
              <a:ext uri="{FF2B5EF4-FFF2-40B4-BE49-F238E27FC236}">
                <a16:creationId xmlns:a16="http://schemas.microsoft.com/office/drawing/2014/main" id="{7FF5C741-BCA4-3472-05F2-2A1E72359051}"/>
              </a:ext>
            </a:extLst>
          </p:cNvPr>
          <p:cNvSpPr txBox="1"/>
          <p:nvPr/>
        </p:nvSpPr>
        <p:spPr>
          <a:xfrm>
            <a:off x="8342202" y="5335882"/>
            <a:ext cx="2942260" cy="1108041"/>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2000" b="0" i="0" u="none" strike="noStrike" kern="1200" cap="none" spc="0" normalizeH="0" baseline="0" noProof="0" dirty="0">
                <a:ln>
                  <a:noFill/>
                </a:ln>
                <a:solidFill>
                  <a:srgbClr val="4A66AC"/>
                </a:solidFill>
                <a:effectLst/>
                <a:uLnTx/>
                <a:uFillTx/>
                <a:latin typeface="Fira Sans Extra Condensed Medium"/>
                <a:ea typeface="Fira Sans Extra Condensed Medium"/>
                <a:cs typeface="Fira Sans Extra Condensed Medium"/>
                <a:sym typeface="Fira Sans Extra Condensed Medium"/>
              </a:rPr>
              <a:t>Κλειστό Αθλητικό Κέντρο Πτολεμαΐδας</a:t>
            </a:r>
          </a:p>
        </p:txBody>
      </p:sp>
      <p:sp>
        <p:nvSpPr>
          <p:cNvPr id="15" name="Google Shape;1522;p38">
            <a:extLst>
              <a:ext uri="{FF2B5EF4-FFF2-40B4-BE49-F238E27FC236}">
                <a16:creationId xmlns:a16="http://schemas.microsoft.com/office/drawing/2014/main" id="{399CCACB-182C-871E-B767-CEABA99C35F0}"/>
              </a:ext>
            </a:extLst>
          </p:cNvPr>
          <p:cNvSpPr txBox="1"/>
          <p:nvPr/>
        </p:nvSpPr>
        <p:spPr>
          <a:xfrm>
            <a:off x="8306762" y="4285204"/>
            <a:ext cx="4050672" cy="572799"/>
          </a:xfrm>
          <a:prstGeom prst="rect">
            <a:avLst/>
          </a:prstGeom>
          <a:noFill/>
          <a:ln>
            <a:noFill/>
          </a:ln>
        </p:spPr>
        <p:txBody>
          <a:bodyPr spcFirstLastPara="1" wrap="square" lIns="121900" tIns="121900" rIns="121900" bIns="121900" anchor="ctr" anchorCtr="0">
            <a:noAutofit/>
          </a:bodyPr>
          <a:lstStyle/>
          <a:p>
            <a:pPr>
              <a:buClrTx/>
              <a:defRPr/>
            </a:pPr>
            <a:r>
              <a:rPr lang="el-GR" sz="2000" kern="1200" dirty="0">
                <a:solidFill>
                  <a:schemeClr val="accent2">
                    <a:lumMod val="75000"/>
                  </a:schemeClr>
                </a:solidFill>
                <a:latin typeface="Fira Sans Extra Condensed Medium"/>
                <a:ea typeface="Fira Sans Extra Condensed Medium"/>
                <a:cs typeface="Fira Sans Extra Condensed Medium"/>
                <a:sym typeface="Fira Sans Extra Condensed Medium"/>
              </a:rPr>
              <a:t>Πολύ-λειτουργικό συγκρότημα Ζώνης Ενεργού Πολεοδομίας Κοζάνης </a:t>
            </a:r>
          </a:p>
        </p:txBody>
      </p:sp>
    </p:spTree>
    <p:extLst>
      <p:ext uri="{BB962C8B-B14F-4D97-AF65-F5344CB8AC3E}">
        <p14:creationId xmlns:p14="http://schemas.microsoft.com/office/powerpoint/2010/main" val="3997622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1275;p29">
            <a:extLst>
              <a:ext uri="{FF2B5EF4-FFF2-40B4-BE49-F238E27FC236}">
                <a16:creationId xmlns:a16="http://schemas.microsoft.com/office/drawing/2014/main" id="{83E2E25E-569E-A52E-E029-54881B596C06}"/>
              </a:ext>
            </a:extLst>
          </p:cNvPr>
          <p:cNvSpPr/>
          <p:nvPr/>
        </p:nvSpPr>
        <p:spPr>
          <a:xfrm>
            <a:off x="551712" y="1589314"/>
            <a:ext cx="3159508" cy="238430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0" name="Google Shape;1282;p29">
            <a:extLst>
              <a:ext uri="{FF2B5EF4-FFF2-40B4-BE49-F238E27FC236}">
                <a16:creationId xmlns:a16="http://schemas.microsoft.com/office/drawing/2014/main" id="{BB1DAD36-145F-9EEE-EDD9-505AFA4A2A78}"/>
              </a:ext>
            </a:extLst>
          </p:cNvPr>
          <p:cNvSpPr/>
          <p:nvPr/>
        </p:nvSpPr>
        <p:spPr>
          <a:xfrm>
            <a:off x="562294" y="1028570"/>
            <a:ext cx="3137164" cy="76128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20000"/>
              </a:lnSpc>
            </a:pPr>
            <a:r>
              <a:rPr lang="el-GR" sz="1400" b="1" kern="0" dirty="0">
                <a:solidFill>
                  <a:srgbClr val="002060"/>
                </a:solidFill>
                <a:latin typeface="Arial"/>
                <a:ea typeface="+mn-lt"/>
                <a:cs typeface="+mn-lt"/>
                <a:sym typeface="Arial"/>
              </a:rPr>
              <a:t>Έργα Φυσικού Αερίου</a:t>
            </a:r>
            <a:endParaRPr lang="el-GR" dirty="0">
              <a:solidFill>
                <a:srgbClr val="000000"/>
              </a:solidFill>
              <a:latin typeface="Helvetica Neue"/>
              <a:ea typeface="+mn-lt"/>
              <a:cs typeface="+mn-lt"/>
              <a:sym typeface="Arial"/>
            </a:endParaRPr>
          </a:p>
          <a:p>
            <a:pPr algn="ctr">
              <a:lnSpc>
                <a:spcPct val="120000"/>
              </a:lnSpc>
            </a:pPr>
            <a:r>
              <a:rPr lang="el-GR" sz="1400" b="1" kern="0" dirty="0">
                <a:solidFill>
                  <a:srgbClr val="002060"/>
                </a:solidFill>
                <a:latin typeface="Arial"/>
                <a:ea typeface="+mn-lt"/>
                <a:cs typeface="+mn-lt"/>
                <a:sym typeface="Arial"/>
              </a:rPr>
              <a:t> στα </a:t>
            </a:r>
            <a:r>
              <a:rPr lang="el-GR" sz="1400" b="1" kern="0" dirty="0">
                <a:solidFill>
                  <a:srgbClr val="00B0F0"/>
                </a:solidFill>
                <a:latin typeface="Arial"/>
                <a:ea typeface="+mn-lt"/>
                <a:cs typeface="+mn-lt"/>
                <a:sym typeface="Arial"/>
              </a:rPr>
              <a:t>Γρεβενά</a:t>
            </a:r>
            <a:endParaRPr lang="el-GR" dirty="0">
              <a:solidFill>
                <a:srgbClr val="00B0F0"/>
              </a:solidFill>
            </a:endParaRPr>
          </a:p>
        </p:txBody>
      </p:sp>
      <p:sp>
        <p:nvSpPr>
          <p:cNvPr id="12" name="Ορθογώνιο 11">
            <a:extLst>
              <a:ext uri="{FF2B5EF4-FFF2-40B4-BE49-F238E27FC236}">
                <a16:creationId xmlns:a16="http://schemas.microsoft.com/office/drawing/2014/main" id="{A40412B9-95DB-C9CC-4713-6DDBD4C6D09C}"/>
              </a:ext>
            </a:extLst>
          </p:cNvPr>
          <p:cNvSpPr/>
          <p:nvPr/>
        </p:nvSpPr>
        <p:spPr>
          <a:xfrm>
            <a:off x="822025" y="1795885"/>
            <a:ext cx="2568745" cy="1938992"/>
          </a:xfrm>
          <a:prstGeom prst="rect">
            <a:avLst/>
          </a:prstGeom>
        </p:spPr>
        <p:txBody>
          <a:bodyPr wrap="square" lIns="91440" tIns="45720" rIns="91440" bIns="45720" anchor="t">
            <a:spAutoFit/>
          </a:bodyPr>
          <a:lstStyle/>
          <a:p>
            <a:r>
              <a:rPr lang="el-GR" sz="1200" b="1" kern="0" dirty="0">
                <a:solidFill>
                  <a:srgbClr val="002060"/>
                </a:solidFill>
                <a:latin typeface="Arial"/>
                <a:cs typeface="Arial"/>
                <a:sym typeface="Arial"/>
              </a:rPr>
              <a:t>32 </a:t>
            </a:r>
            <a:r>
              <a:rPr lang="el-GR" sz="1200" b="1" kern="0" dirty="0" err="1">
                <a:solidFill>
                  <a:srgbClr val="002060"/>
                </a:solidFill>
                <a:latin typeface="Arial"/>
                <a:cs typeface="Arial"/>
                <a:sym typeface="Arial"/>
              </a:rPr>
              <a:t>χλμ</a:t>
            </a:r>
            <a:r>
              <a:rPr lang="el-GR" sz="1200" b="1" kern="0" dirty="0">
                <a:solidFill>
                  <a:srgbClr val="002060"/>
                </a:solidFill>
                <a:latin typeface="Arial"/>
                <a:cs typeface="Arial"/>
                <a:sym typeface="Arial"/>
              </a:rPr>
              <a:t> </a:t>
            </a:r>
            <a:r>
              <a:rPr lang="el-GR" sz="1200" kern="0" dirty="0">
                <a:solidFill>
                  <a:srgbClr val="002060"/>
                </a:solidFill>
                <a:latin typeface="Arial"/>
                <a:cs typeface="Arial"/>
                <a:sym typeface="Arial"/>
              </a:rPr>
              <a:t>συνολικών έργων. Έχουν κατασκευαστεί πάνω από το 80%. Το υπόλοιπο αναμένεται να ολοκληρωθεί το Α' τρίμηνο του 2025. </a:t>
            </a:r>
          </a:p>
          <a:p>
            <a:r>
              <a:rPr lang="el-GR" sz="1200" kern="0" dirty="0">
                <a:solidFill>
                  <a:srgbClr val="002060"/>
                </a:solidFill>
                <a:latin typeface="Arial"/>
                <a:cs typeface="Arial"/>
              </a:rPr>
              <a:t>794 αιτήσεις σύνδεσης και έχουν συναφθεί 341 συμβάσεις. </a:t>
            </a:r>
          </a:p>
          <a:p>
            <a:r>
              <a:rPr lang="el-GR" sz="1200" kern="0" dirty="0">
                <a:solidFill>
                  <a:srgbClr val="002060"/>
                </a:solidFill>
                <a:latin typeface="Arial"/>
                <a:cs typeface="Arial"/>
              </a:rPr>
              <a:t>1600 νέες συνδέσεις έως το 2027. </a:t>
            </a:r>
          </a:p>
          <a:p>
            <a:r>
              <a:rPr lang="el-GR" sz="1200" b="1" kern="0" dirty="0">
                <a:solidFill>
                  <a:srgbClr val="002060"/>
                </a:solidFill>
                <a:latin typeface="Arial"/>
                <a:cs typeface="Arial"/>
              </a:rPr>
              <a:t>Το 80-90% των νέων συνδέσεων αφορά οικιακές συνδέσεις.</a:t>
            </a:r>
          </a:p>
        </p:txBody>
      </p:sp>
      <p:sp>
        <p:nvSpPr>
          <p:cNvPr id="18" name="Google Shape;1275;p29">
            <a:extLst>
              <a:ext uri="{FF2B5EF4-FFF2-40B4-BE49-F238E27FC236}">
                <a16:creationId xmlns:a16="http://schemas.microsoft.com/office/drawing/2014/main" id="{849C313A-D518-559B-0A09-679A03FBAF47}"/>
              </a:ext>
            </a:extLst>
          </p:cNvPr>
          <p:cNvSpPr/>
          <p:nvPr/>
        </p:nvSpPr>
        <p:spPr>
          <a:xfrm>
            <a:off x="4091001" y="1650902"/>
            <a:ext cx="3159508" cy="2322711"/>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9" name="Google Shape;1282;p29">
            <a:extLst>
              <a:ext uri="{FF2B5EF4-FFF2-40B4-BE49-F238E27FC236}">
                <a16:creationId xmlns:a16="http://schemas.microsoft.com/office/drawing/2014/main" id="{52672512-8CA6-EE78-FD86-15DC076CC701}"/>
              </a:ext>
            </a:extLst>
          </p:cNvPr>
          <p:cNvSpPr/>
          <p:nvPr/>
        </p:nvSpPr>
        <p:spPr>
          <a:xfrm>
            <a:off x="4101583" y="1038596"/>
            <a:ext cx="3137164" cy="76128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20000"/>
              </a:lnSpc>
            </a:pPr>
            <a:r>
              <a:rPr lang="el-GR" sz="1400" b="1" kern="0">
                <a:solidFill>
                  <a:srgbClr val="002060"/>
                </a:solidFill>
                <a:latin typeface="Arial"/>
                <a:ea typeface="+mn-lt"/>
                <a:cs typeface="+mn-lt"/>
                <a:sym typeface="Arial"/>
              </a:rPr>
              <a:t>Έργα Φυσικού Αερίου </a:t>
            </a:r>
            <a:endParaRPr lang="el-GR">
              <a:solidFill>
                <a:srgbClr val="000000"/>
              </a:solidFill>
              <a:latin typeface="Helvetica Neue"/>
              <a:ea typeface="+mn-lt"/>
              <a:cs typeface="+mn-lt"/>
              <a:sym typeface="Arial"/>
            </a:endParaRPr>
          </a:p>
          <a:p>
            <a:pPr algn="ctr">
              <a:lnSpc>
                <a:spcPct val="120000"/>
              </a:lnSpc>
            </a:pPr>
            <a:r>
              <a:rPr lang="el-GR" sz="1400" b="1" kern="0">
                <a:solidFill>
                  <a:srgbClr val="002060"/>
                </a:solidFill>
                <a:latin typeface="Arial"/>
                <a:ea typeface="+mn-lt"/>
                <a:cs typeface="+mn-lt"/>
                <a:sym typeface="Arial"/>
              </a:rPr>
              <a:t>στην </a:t>
            </a:r>
            <a:r>
              <a:rPr lang="el-GR" sz="1400" b="1" kern="0">
                <a:solidFill>
                  <a:srgbClr val="00B0F0"/>
                </a:solidFill>
                <a:latin typeface="Arial"/>
                <a:ea typeface="+mn-lt"/>
                <a:cs typeface="+mn-lt"/>
              </a:rPr>
              <a:t>Καστοριά</a:t>
            </a:r>
            <a:endParaRPr lang="el-GR" sz="1400" b="1" kern="0">
              <a:solidFill>
                <a:srgbClr val="002060"/>
              </a:solidFill>
              <a:latin typeface="Arial"/>
              <a:ea typeface="+mn-lt"/>
              <a:cs typeface="+mn-lt"/>
            </a:endParaRPr>
          </a:p>
        </p:txBody>
      </p:sp>
      <p:sp>
        <p:nvSpPr>
          <p:cNvPr id="20" name="Ορθογώνιο 19">
            <a:extLst>
              <a:ext uri="{FF2B5EF4-FFF2-40B4-BE49-F238E27FC236}">
                <a16:creationId xmlns:a16="http://schemas.microsoft.com/office/drawing/2014/main" id="{63B5AF09-22C8-51E7-219E-35EBA2C1A1D8}"/>
              </a:ext>
            </a:extLst>
          </p:cNvPr>
          <p:cNvSpPr/>
          <p:nvPr/>
        </p:nvSpPr>
        <p:spPr>
          <a:xfrm>
            <a:off x="4272511" y="1956453"/>
            <a:ext cx="2568745" cy="1754326"/>
          </a:xfrm>
          <a:prstGeom prst="rect">
            <a:avLst/>
          </a:prstGeom>
        </p:spPr>
        <p:txBody>
          <a:bodyPr wrap="square" lIns="91440" tIns="45720" rIns="91440" bIns="45720" anchor="t">
            <a:spAutoFit/>
          </a:bodyPr>
          <a:lstStyle/>
          <a:p>
            <a:r>
              <a:rPr lang="el-GR" sz="1200" b="1" kern="0" dirty="0">
                <a:solidFill>
                  <a:srgbClr val="002060"/>
                </a:solidFill>
                <a:latin typeface="Arial"/>
                <a:cs typeface="Arial"/>
                <a:sym typeface="Arial"/>
              </a:rPr>
              <a:t>120 </a:t>
            </a:r>
            <a:r>
              <a:rPr lang="el-GR" sz="1200" b="1" kern="0" dirty="0" err="1">
                <a:solidFill>
                  <a:srgbClr val="002060"/>
                </a:solidFill>
                <a:latin typeface="Arial"/>
                <a:cs typeface="Arial"/>
                <a:sym typeface="Arial"/>
              </a:rPr>
              <a:t>χλμ</a:t>
            </a:r>
            <a:r>
              <a:rPr lang="el-GR" sz="1200" b="1" kern="0" dirty="0">
                <a:solidFill>
                  <a:srgbClr val="002060"/>
                </a:solidFill>
                <a:latin typeface="Arial"/>
                <a:cs typeface="Arial"/>
                <a:sym typeface="Arial"/>
              </a:rPr>
              <a:t> </a:t>
            </a:r>
            <a:r>
              <a:rPr lang="el-GR" sz="1200" kern="0" dirty="0">
                <a:solidFill>
                  <a:srgbClr val="002060"/>
                </a:solidFill>
                <a:latin typeface="Arial"/>
                <a:cs typeface="Arial"/>
                <a:sym typeface="Arial"/>
              </a:rPr>
              <a:t>συνολικών έργων. Έχουν κατασκευαστεί πάνω από το 40%. Το υπόλοιπο αναμένεται να ολοκληρωθεί στα επόμενα 2 έτη.</a:t>
            </a:r>
          </a:p>
          <a:p>
            <a:r>
              <a:rPr lang="el-GR" sz="1200" kern="0" dirty="0">
                <a:solidFill>
                  <a:srgbClr val="002060"/>
                </a:solidFill>
                <a:latin typeface="Arial"/>
                <a:cs typeface="Arial"/>
              </a:rPr>
              <a:t>Αφορά τις περιοχές: Καστοριά. </a:t>
            </a:r>
            <a:r>
              <a:rPr lang="el-GR" sz="1200" kern="0" dirty="0" err="1">
                <a:solidFill>
                  <a:srgbClr val="002060"/>
                </a:solidFill>
                <a:latin typeface="Arial"/>
                <a:cs typeface="Arial"/>
              </a:rPr>
              <a:t>Μανιάκοι</a:t>
            </a:r>
            <a:r>
              <a:rPr lang="el-GR" sz="1200" kern="0" dirty="0">
                <a:solidFill>
                  <a:srgbClr val="002060"/>
                </a:solidFill>
                <a:latin typeface="Arial"/>
                <a:cs typeface="Arial"/>
              </a:rPr>
              <a:t>, Άργος </a:t>
            </a:r>
            <a:r>
              <a:rPr lang="el-GR" sz="1200" kern="0" dirty="0" err="1">
                <a:solidFill>
                  <a:srgbClr val="002060"/>
                </a:solidFill>
                <a:latin typeface="Arial"/>
                <a:cs typeface="Arial"/>
              </a:rPr>
              <a:t>Ορεστικό</a:t>
            </a:r>
            <a:endParaRPr lang="el-GR" sz="1200" kern="0" dirty="0">
              <a:solidFill>
                <a:srgbClr val="002060"/>
              </a:solidFill>
              <a:latin typeface="Arial"/>
              <a:cs typeface="Arial"/>
            </a:endParaRPr>
          </a:p>
          <a:p>
            <a:endParaRPr lang="el-GR" sz="1200" kern="0" dirty="0">
              <a:solidFill>
                <a:srgbClr val="002060"/>
              </a:solidFill>
              <a:latin typeface="Arial"/>
              <a:cs typeface="Arial"/>
            </a:endParaRPr>
          </a:p>
          <a:p>
            <a:r>
              <a:rPr lang="el-GR" sz="1200" b="1" kern="0" dirty="0">
                <a:solidFill>
                  <a:srgbClr val="002060"/>
                </a:solidFill>
                <a:latin typeface="Arial"/>
                <a:cs typeface="Arial"/>
              </a:rPr>
              <a:t>Το 80-90% των νέων συνδέσεων αφορά οικιακές συνδέσεις.</a:t>
            </a:r>
          </a:p>
        </p:txBody>
      </p:sp>
      <p:sp>
        <p:nvSpPr>
          <p:cNvPr id="25" name="Google Shape;1275;p29">
            <a:extLst>
              <a:ext uri="{FF2B5EF4-FFF2-40B4-BE49-F238E27FC236}">
                <a16:creationId xmlns:a16="http://schemas.microsoft.com/office/drawing/2014/main" id="{717E42A4-20C4-A81E-C28C-8F657CDAFD6E}"/>
              </a:ext>
            </a:extLst>
          </p:cNvPr>
          <p:cNvSpPr/>
          <p:nvPr/>
        </p:nvSpPr>
        <p:spPr>
          <a:xfrm>
            <a:off x="7911026" y="1650902"/>
            <a:ext cx="3029168" cy="232271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26" name="Google Shape;1282;p29">
            <a:extLst>
              <a:ext uri="{FF2B5EF4-FFF2-40B4-BE49-F238E27FC236}">
                <a16:creationId xmlns:a16="http://schemas.microsoft.com/office/drawing/2014/main" id="{C45002D9-CBAE-CDAF-80E7-63BA6748F77B}"/>
              </a:ext>
            </a:extLst>
          </p:cNvPr>
          <p:cNvSpPr/>
          <p:nvPr/>
        </p:nvSpPr>
        <p:spPr>
          <a:xfrm>
            <a:off x="7741135" y="807992"/>
            <a:ext cx="3277534" cy="981866"/>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20000"/>
              </a:lnSpc>
            </a:pPr>
            <a:r>
              <a:rPr lang="el-GR" sz="1400" b="1" kern="0">
                <a:solidFill>
                  <a:srgbClr val="002060"/>
                </a:solidFill>
                <a:latin typeface="Arial"/>
                <a:ea typeface="+mn-lt"/>
                <a:cs typeface="+mn-lt"/>
                <a:sym typeface="Arial"/>
              </a:rPr>
              <a:t>Αναδιάρθρωση και ενίσχυση των εσόδων του λογαριασμού ΑΠΕ- Συμπαραγωγής Ηλεκτρισμού και Θερμότητας</a:t>
            </a:r>
            <a:endParaRPr lang="el-GR" sz="1400" b="1" kern="0">
              <a:solidFill>
                <a:srgbClr val="002060"/>
              </a:solidFill>
              <a:latin typeface="Arial"/>
            </a:endParaRPr>
          </a:p>
        </p:txBody>
      </p:sp>
      <p:sp>
        <p:nvSpPr>
          <p:cNvPr id="27" name="Ορθογώνιο 26">
            <a:extLst>
              <a:ext uri="{FF2B5EF4-FFF2-40B4-BE49-F238E27FC236}">
                <a16:creationId xmlns:a16="http://schemas.microsoft.com/office/drawing/2014/main" id="{0513AF0D-5214-937B-3367-604089CB7E64}"/>
              </a:ext>
            </a:extLst>
          </p:cNvPr>
          <p:cNvSpPr/>
          <p:nvPr/>
        </p:nvSpPr>
        <p:spPr>
          <a:xfrm>
            <a:off x="7971742" y="2021276"/>
            <a:ext cx="2568745" cy="307777"/>
          </a:xfrm>
          <a:prstGeom prst="rect">
            <a:avLst/>
          </a:prstGeom>
        </p:spPr>
        <p:txBody>
          <a:bodyPr wrap="square" lIns="91440" tIns="45720" rIns="91440" bIns="45720" anchor="t">
            <a:spAutoFit/>
          </a:bodyPr>
          <a:lstStyle/>
          <a:p>
            <a:r>
              <a:rPr lang="el-GR" sz="1200" b="1" kern="0" dirty="0">
                <a:solidFill>
                  <a:srgbClr val="002060"/>
                </a:solidFill>
                <a:latin typeface="Arial"/>
                <a:cs typeface="Arial"/>
              </a:rPr>
              <a:t>Π/Υ: 201,7 εκατ. </a:t>
            </a:r>
            <a:r>
              <a:rPr lang="el-GR" sz="1400" b="1" kern="0" dirty="0">
                <a:solidFill>
                  <a:srgbClr val="002060"/>
                </a:solidFill>
                <a:latin typeface="Calibri"/>
                <a:ea typeface="Calibri"/>
                <a:cs typeface="Calibri"/>
              </a:rPr>
              <a:t>€</a:t>
            </a:r>
            <a:endParaRPr lang="el-GR" sz="1200" b="1" kern="0" dirty="0">
              <a:solidFill>
                <a:srgbClr val="002060"/>
              </a:solidFill>
              <a:latin typeface="Arial"/>
              <a:cs typeface="Arial"/>
            </a:endParaRPr>
          </a:p>
        </p:txBody>
      </p:sp>
      <p:sp>
        <p:nvSpPr>
          <p:cNvPr id="34" name="Ορθογώνιο 33">
            <a:extLst>
              <a:ext uri="{FF2B5EF4-FFF2-40B4-BE49-F238E27FC236}">
                <a16:creationId xmlns:a16="http://schemas.microsoft.com/office/drawing/2014/main" id="{24408E75-5427-D6EF-276B-9964BD623683}"/>
              </a:ext>
            </a:extLst>
          </p:cNvPr>
          <p:cNvSpPr/>
          <p:nvPr/>
        </p:nvSpPr>
        <p:spPr>
          <a:xfrm>
            <a:off x="8036912" y="2627053"/>
            <a:ext cx="2568745" cy="830997"/>
          </a:xfrm>
          <a:prstGeom prst="rect">
            <a:avLst/>
          </a:prstGeom>
        </p:spPr>
        <p:txBody>
          <a:bodyPr wrap="square" lIns="91440" tIns="45720" rIns="91440" bIns="45720" anchor="t">
            <a:spAutoFit/>
          </a:bodyPr>
          <a:lstStyle/>
          <a:p>
            <a:r>
              <a:rPr lang="el-GR" sz="1200" kern="0" dirty="0">
                <a:solidFill>
                  <a:srgbClr val="002060"/>
                </a:solidFill>
                <a:latin typeface="Arial"/>
                <a:cs typeface="Arial"/>
              </a:rPr>
              <a:t>Η εγκατεστημένη ισχύς σε έργα Ανανεώσιμων Πηγών Ενέργειας για την </a:t>
            </a:r>
            <a:r>
              <a:rPr lang="el-GR" sz="1200" b="1" kern="0" dirty="0">
                <a:solidFill>
                  <a:srgbClr val="00B0F0"/>
                </a:solidFill>
                <a:latin typeface="Arial"/>
                <a:cs typeface="Arial"/>
              </a:rPr>
              <a:t>Π.Ε. Κοζάνης</a:t>
            </a:r>
            <a:r>
              <a:rPr lang="el-GR" sz="1200" kern="0" dirty="0">
                <a:solidFill>
                  <a:srgbClr val="002060"/>
                </a:solidFill>
                <a:latin typeface="Arial"/>
                <a:cs typeface="Arial"/>
              </a:rPr>
              <a:t> ανέρχεται συνολικά σε 971,67 MW. </a:t>
            </a:r>
            <a:endParaRPr lang="el-GR" dirty="0"/>
          </a:p>
        </p:txBody>
      </p:sp>
      <p:sp>
        <p:nvSpPr>
          <p:cNvPr id="35" name="Google Shape;1275;p29">
            <a:extLst>
              <a:ext uri="{FF2B5EF4-FFF2-40B4-BE49-F238E27FC236}">
                <a16:creationId xmlns:a16="http://schemas.microsoft.com/office/drawing/2014/main" id="{788A3283-B6C9-A343-27C7-4A604BD7A8A9}"/>
              </a:ext>
            </a:extLst>
          </p:cNvPr>
          <p:cNvSpPr/>
          <p:nvPr/>
        </p:nvSpPr>
        <p:spPr>
          <a:xfrm>
            <a:off x="561736" y="4878036"/>
            <a:ext cx="3139456" cy="1832762"/>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36" name="Google Shape;1282;p29">
            <a:extLst>
              <a:ext uri="{FF2B5EF4-FFF2-40B4-BE49-F238E27FC236}">
                <a16:creationId xmlns:a16="http://schemas.microsoft.com/office/drawing/2014/main" id="{69CDB06C-54BF-816D-B290-CF43FC55A2B1}"/>
              </a:ext>
            </a:extLst>
          </p:cNvPr>
          <p:cNvSpPr/>
          <p:nvPr/>
        </p:nvSpPr>
        <p:spPr>
          <a:xfrm>
            <a:off x="482083" y="4377928"/>
            <a:ext cx="3227400" cy="68107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20000"/>
              </a:lnSpc>
            </a:pPr>
            <a:r>
              <a:rPr lang="el-GR" sz="1400" b="1" kern="0">
                <a:solidFill>
                  <a:srgbClr val="002060"/>
                </a:solidFill>
                <a:latin typeface="Arial"/>
                <a:ea typeface="+mn-lt"/>
                <a:cs typeface="+mn-lt"/>
                <a:sym typeface="Arial"/>
              </a:rPr>
              <a:t>Ανάπτυξη συστημάτων μεταφοράς και διανομής Φυσικού Αερίου </a:t>
            </a:r>
            <a:r>
              <a:rPr lang="el-GR" sz="1400" b="1" kern="0">
                <a:solidFill>
                  <a:srgbClr val="00B0F0"/>
                </a:solidFill>
                <a:latin typeface="Arial"/>
                <a:ea typeface="+mn-lt"/>
                <a:cs typeface="+mn-lt"/>
                <a:sym typeface="Arial"/>
              </a:rPr>
              <a:t>Δήμου Εορδαίας</a:t>
            </a:r>
            <a:endParaRPr lang="el-GR">
              <a:solidFill>
                <a:srgbClr val="00B0F0"/>
              </a:solidFill>
            </a:endParaRPr>
          </a:p>
        </p:txBody>
      </p:sp>
      <p:sp>
        <p:nvSpPr>
          <p:cNvPr id="37" name="Ορθογώνιο 36">
            <a:extLst>
              <a:ext uri="{FF2B5EF4-FFF2-40B4-BE49-F238E27FC236}">
                <a16:creationId xmlns:a16="http://schemas.microsoft.com/office/drawing/2014/main" id="{75A65A9C-8066-17A6-9BC5-E9CF85FF9FB0}"/>
              </a:ext>
            </a:extLst>
          </p:cNvPr>
          <p:cNvSpPr/>
          <p:nvPr/>
        </p:nvSpPr>
        <p:spPr>
          <a:xfrm>
            <a:off x="811999" y="5057668"/>
            <a:ext cx="2568745" cy="276999"/>
          </a:xfrm>
          <a:prstGeom prst="rect">
            <a:avLst/>
          </a:prstGeom>
        </p:spPr>
        <p:txBody>
          <a:bodyPr wrap="square" lIns="91440" tIns="45720" rIns="91440" bIns="45720" anchor="t">
            <a:spAutoFit/>
          </a:bodyPr>
          <a:lstStyle/>
          <a:p>
            <a:endParaRPr lang="el-GR" sz="1200" kern="0">
              <a:solidFill>
                <a:srgbClr val="002060"/>
              </a:solidFill>
              <a:latin typeface="Arial"/>
              <a:cs typeface="Arial"/>
            </a:endParaRPr>
          </a:p>
        </p:txBody>
      </p:sp>
      <p:sp>
        <p:nvSpPr>
          <p:cNvPr id="42" name="Ορθογώνιο 41">
            <a:extLst>
              <a:ext uri="{FF2B5EF4-FFF2-40B4-BE49-F238E27FC236}">
                <a16:creationId xmlns:a16="http://schemas.microsoft.com/office/drawing/2014/main" id="{6C4B1FE6-7E23-9C74-80C1-E3E6FB8F6844}"/>
              </a:ext>
            </a:extLst>
          </p:cNvPr>
          <p:cNvSpPr/>
          <p:nvPr/>
        </p:nvSpPr>
        <p:spPr>
          <a:xfrm>
            <a:off x="631525" y="5057667"/>
            <a:ext cx="2759245" cy="738664"/>
          </a:xfrm>
          <a:prstGeom prst="rect">
            <a:avLst/>
          </a:prstGeom>
        </p:spPr>
        <p:txBody>
          <a:bodyPr wrap="square" lIns="91440" tIns="45720" rIns="91440" bIns="45720" anchor="t">
            <a:spAutoFit/>
          </a:bodyPr>
          <a:lstStyle/>
          <a:p>
            <a:r>
              <a:rPr lang="el-GR" sz="1200" b="1" kern="0">
                <a:solidFill>
                  <a:srgbClr val="002060"/>
                </a:solidFill>
                <a:latin typeface="Arial"/>
                <a:cs typeface="Arial"/>
              </a:rPr>
              <a:t>Π/Υ: 11,07 εκατ. </a:t>
            </a:r>
            <a:r>
              <a:rPr lang="el-GR" sz="1400" b="1" kern="0">
                <a:solidFill>
                  <a:srgbClr val="002060"/>
                </a:solidFill>
                <a:latin typeface="Calibri"/>
                <a:ea typeface="Calibri"/>
                <a:cs typeface="Calibri"/>
              </a:rPr>
              <a:t>€</a:t>
            </a:r>
            <a:endParaRPr lang="el-GR" sz="1200" b="1" kern="0">
              <a:solidFill>
                <a:srgbClr val="002060"/>
              </a:solidFill>
              <a:latin typeface="Arial"/>
              <a:ea typeface="Calibri"/>
              <a:cs typeface="Arial"/>
            </a:endParaRPr>
          </a:p>
          <a:p>
            <a:r>
              <a:rPr lang="el-GR" sz="1400" kern="0">
                <a:solidFill>
                  <a:srgbClr val="002060"/>
                </a:solidFill>
                <a:latin typeface="Calibri"/>
                <a:ea typeface="Calibri"/>
                <a:cs typeface="Calibri"/>
              </a:rPr>
              <a:t>Εκτιμώμενη ολοκλήρωση: 2029</a:t>
            </a:r>
            <a:endParaRPr lang="en-US" sz="1400" kern="0">
              <a:solidFill>
                <a:srgbClr val="002060"/>
              </a:solidFill>
              <a:latin typeface="Calibri"/>
              <a:ea typeface="Calibri"/>
              <a:cs typeface="Calibri"/>
            </a:endParaRPr>
          </a:p>
          <a:p>
            <a:endParaRPr lang="el-GR" sz="1400" b="1" kern="0">
              <a:solidFill>
                <a:srgbClr val="002060"/>
              </a:solidFill>
              <a:latin typeface="Calibri"/>
              <a:ea typeface="Calibri"/>
              <a:cs typeface="Calibri"/>
            </a:endParaRPr>
          </a:p>
        </p:txBody>
      </p:sp>
      <p:sp>
        <p:nvSpPr>
          <p:cNvPr id="44" name="Ορθογώνιο 43">
            <a:extLst>
              <a:ext uri="{FF2B5EF4-FFF2-40B4-BE49-F238E27FC236}">
                <a16:creationId xmlns:a16="http://schemas.microsoft.com/office/drawing/2014/main" id="{4B07D193-B5F4-F45C-9383-C43860A2E9DB}"/>
              </a:ext>
            </a:extLst>
          </p:cNvPr>
          <p:cNvSpPr/>
          <p:nvPr/>
        </p:nvSpPr>
        <p:spPr>
          <a:xfrm>
            <a:off x="631525" y="5629168"/>
            <a:ext cx="2779297" cy="1046440"/>
          </a:xfrm>
          <a:prstGeom prst="rect">
            <a:avLst/>
          </a:prstGeom>
        </p:spPr>
        <p:txBody>
          <a:bodyPr wrap="square" lIns="91440" tIns="45720" rIns="91440" bIns="45720" anchor="t">
            <a:spAutoFit/>
          </a:bodyPr>
          <a:lstStyle/>
          <a:p>
            <a:r>
              <a:rPr lang="el-GR" sz="1400" b="1" kern="0">
                <a:solidFill>
                  <a:srgbClr val="002060"/>
                </a:solidFill>
                <a:latin typeface="Calibri"/>
                <a:ea typeface="Calibri"/>
                <a:cs typeface="Calibri"/>
              </a:rPr>
              <a:t>Πρόοδος υλοποίησης: </a:t>
            </a:r>
            <a:r>
              <a:rPr lang="el-GR" sz="1200" kern="0">
                <a:solidFill>
                  <a:srgbClr val="002060"/>
                </a:solidFill>
                <a:latin typeface="Arial"/>
                <a:cs typeface="Arial"/>
              </a:rPr>
              <a:t>Έχει ολοκληρωθεί η εγκατάσταση του χαλύβδινου αγωγού Μ.Π. μήκους 6.400 m. Εκκρεμεί η σύνδεση με τον μετρητικό σταθμό του ΔΕΣΦΑ</a:t>
            </a:r>
            <a:endParaRPr lang="el-GR"/>
          </a:p>
        </p:txBody>
      </p:sp>
      <p:sp>
        <p:nvSpPr>
          <p:cNvPr id="50" name="Google Shape;1275;p29">
            <a:extLst>
              <a:ext uri="{FF2B5EF4-FFF2-40B4-BE49-F238E27FC236}">
                <a16:creationId xmlns:a16="http://schemas.microsoft.com/office/drawing/2014/main" id="{A0A9301C-AFD4-070B-53F2-6FE87861D8FB}"/>
              </a:ext>
            </a:extLst>
          </p:cNvPr>
          <p:cNvSpPr/>
          <p:nvPr/>
        </p:nvSpPr>
        <p:spPr>
          <a:xfrm>
            <a:off x="4101025" y="4868009"/>
            <a:ext cx="3219666" cy="1882893"/>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51" name="Google Shape;1282;p29">
            <a:extLst>
              <a:ext uri="{FF2B5EF4-FFF2-40B4-BE49-F238E27FC236}">
                <a16:creationId xmlns:a16="http://schemas.microsoft.com/office/drawing/2014/main" id="{01CED56A-2809-F785-C4DC-C40AA5EA9B0E}"/>
              </a:ext>
            </a:extLst>
          </p:cNvPr>
          <p:cNvSpPr/>
          <p:nvPr/>
        </p:nvSpPr>
        <p:spPr>
          <a:xfrm>
            <a:off x="4071503" y="4377927"/>
            <a:ext cx="3227400" cy="68107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20000"/>
              </a:lnSpc>
            </a:pPr>
            <a:r>
              <a:rPr lang="el-GR" sz="1400" b="1" kern="0">
                <a:solidFill>
                  <a:srgbClr val="002060"/>
                </a:solidFill>
                <a:latin typeface="Arial"/>
                <a:ea typeface="+mn-lt"/>
                <a:cs typeface="+mn-lt"/>
                <a:sym typeface="Arial"/>
              </a:rPr>
              <a:t>Ανάπτυξη Δικτύου Διανομής Φυσικού Αερίου στους </a:t>
            </a:r>
            <a:r>
              <a:rPr lang="el-GR" sz="1400" b="1" kern="0">
                <a:solidFill>
                  <a:srgbClr val="00B0F0"/>
                </a:solidFill>
                <a:latin typeface="Arial"/>
                <a:ea typeface="+mn-lt"/>
                <a:cs typeface="+mn-lt"/>
                <a:sym typeface="Arial"/>
              </a:rPr>
              <a:t>Δήμους </a:t>
            </a:r>
            <a:r>
              <a:rPr lang="el-GR" sz="1400" b="1" kern="0" err="1">
                <a:solidFill>
                  <a:srgbClr val="00B0F0"/>
                </a:solidFill>
                <a:latin typeface="Arial"/>
                <a:ea typeface="+mn-lt"/>
                <a:cs typeface="+mn-lt"/>
                <a:sym typeface="Arial"/>
              </a:rPr>
              <a:t>Βελβεντού</a:t>
            </a:r>
            <a:r>
              <a:rPr lang="el-GR" sz="1400" b="1" kern="0">
                <a:solidFill>
                  <a:srgbClr val="00B0F0"/>
                </a:solidFill>
                <a:latin typeface="Arial"/>
                <a:ea typeface="+mn-lt"/>
                <a:cs typeface="+mn-lt"/>
                <a:sym typeface="Arial"/>
              </a:rPr>
              <a:t>, </a:t>
            </a:r>
            <a:r>
              <a:rPr lang="el-GR" sz="1400" b="1" kern="0" err="1">
                <a:solidFill>
                  <a:srgbClr val="00B0F0"/>
                </a:solidFill>
                <a:latin typeface="Arial"/>
                <a:ea typeface="+mn-lt"/>
                <a:cs typeface="+mn-lt"/>
                <a:sym typeface="Arial"/>
              </a:rPr>
              <a:t>Βοϊου</a:t>
            </a:r>
            <a:r>
              <a:rPr lang="el-GR" sz="1400" b="1" kern="0">
                <a:solidFill>
                  <a:srgbClr val="00B0F0"/>
                </a:solidFill>
                <a:latin typeface="Arial"/>
                <a:ea typeface="+mn-lt"/>
                <a:cs typeface="+mn-lt"/>
                <a:sym typeface="Arial"/>
              </a:rPr>
              <a:t> και </a:t>
            </a:r>
            <a:r>
              <a:rPr lang="el-GR" sz="1400" b="1" kern="0" err="1">
                <a:solidFill>
                  <a:srgbClr val="00B0F0"/>
                </a:solidFill>
                <a:latin typeface="Arial"/>
                <a:ea typeface="+mn-lt"/>
                <a:cs typeface="+mn-lt"/>
                <a:sym typeface="Arial"/>
              </a:rPr>
              <a:t>Σερβίων</a:t>
            </a:r>
            <a:r>
              <a:rPr lang="el-GR" sz="1400" b="1" kern="0">
                <a:solidFill>
                  <a:srgbClr val="00B0F0"/>
                </a:solidFill>
                <a:latin typeface="Arial"/>
                <a:ea typeface="+mn-lt"/>
                <a:cs typeface="+mn-lt"/>
                <a:sym typeface="Arial"/>
              </a:rPr>
              <a:t> </a:t>
            </a:r>
            <a:endParaRPr lang="el-GR">
              <a:solidFill>
                <a:srgbClr val="00B0F0"/>
              </a:solidFill>
            </a:endParaRPr>
          </a:p>
        </p:txBody>
      </p:sp>
      <p:sp>
        <p:nvSpPr>
          <p:cNvPr id="52" name="Ορθογώνιο 51">
            <a:extLst>
              <a:ext uri="{FF2B5EF4-FFF2-40B4-BE49-F238E27FC236}">
                <a16:creationId xmlns:a16="http://schemas.microsoft.com/office/drawing/2014/main" id="{63570D95-BE2B-6BE7-F1E5-6C5697489FD2}"/>
              </a:ext>
            </a:extLst>
          </p:cNvPr>
          <p:cNvSpPr/>
          <p:nvPr/>
        </p:nvSpPr>
        <p:spPr>
          <a:xfrm>
            <a:off x="4401419" y="5057667"/>
            <a:ext cx="2568745" cy="276999"/>
          </a:xfrm>
          <a:prstGeom prst="rect">
            <a:avLst/>
          </a:prstGeom>
        </p:spPr>
        <p:txBody>
          <a:bodyPr wrap="square" lIns="91440" tIns="45720" rIns="91440" bIns="45720" anchor="t">
            <a:spAutoFit/>
          </a:bodyPr>
          <a:lstStyle/>
          <a:p>
            <a:endParaRPr lang="el-GR" sz="1200" kern="0">
              <a:solidFill>
                <a:srgbClr val="002060"/>
              </a:solidFill>
              <a:latin typeface="Arial"/>
              <a:cs typeface="Arial"/>
            </a:endParaRPr>
          </a:p>
        </p:txBody>
      </p:sp>
      <p:sp>
        <p:nvSpPr>
          <p:cNvPr id="53" name="Ορθογώνιο 52">
            <a:extLst>
              <a:ext uri="{FF2B5EF4-FFF2-40B4-BE49-F238E27FC236}">
                <a16:creationId xmlns:a16="http://schemas.microsoft.com/office/drawing/2014/main" id="{8677309B-3984-83F0-AF76-2198C598BAB3}"/>
              </a:ext>
            </a:extLst>
          </p:cNvPr>
          <p:cNvSpPr/>
          <p:nvPr/>
        </p:nvSpPr>
        <p:spPr>
          <a:xfrm>
            <a:off x="4160787" y="5067692"/>
            <a:ext cx="2568745" cy="523220"/>
          </a:xfrm>
          <a:prstGeom prst="rect">
            <a:avLst/>
          </a:prstGeom>
        </p:spPr>
        <p:txBody>
          <a:bodyPr wrap="square" lIns="91440" tIns="45720" rIns="91440" bIns="45720" anchor="t">
            <a:spAutoFit/>
          </a:bodyPr>
          <a:lstStyle/>
          <a:p>
            <a:r>
              <a:rPr lang="el-GR" sz="1200" b="1" kern="0">
                <a:solidFill>
                  <a:srgbClr val="002060"/>
                </a:solidFill>
                <a:latin typeface="Arial"/>
                <a:cs typeface="Arial"/>
              </a:rPr>
              <a:t>Π/Υ: 12,36 εκατ. </a:t>
            </a:r>
            <a:r>
              <a:rPr lang="el-GR" sz="1400" b="1" kern="0">
                <a:solidFill>
                  <a:srgbClr val="002060"/>
                </a:solidFill>
                <a:latin typeface="Calibri"/>
                <a:ea typeface="Calibri"/>
                <a:cs typeface="Calibri"/>
              </a:rPr>
              <a:t>€</a:t>
            </a:r>
            <a:endParaRPr lang="el-GR" sz="1200" b="1" kern="0">
              <a:solidFill>
                <a:srgbClr val="002060"/>
              </a:solidFill>
              <a:latin typeface="Arial"/>
              <a:ea typeface="Calibri"/>
              <a:cs typeface="Arial"/>
            </a:endParaRPr>
          </a:p>
          <a:p>
            <a:r>
              <a:rPr lang="el-GR" sz="1400" kern="0">
                <a:solidFill>
                  <a:srgbClr val="002060"/>
                </a:solidFill>
                <a:latin typeface="Calibri"/>
                <a:ea typeface="Calibri"/>
                <a:cs typeface="Calibri"/>
              </a:rPr>
              <a:t>Εκτιμώμενη ολοκλήρωση: 2025</a:t>
            </a:r>
            <a:endParaRPr lang="en-US" sz="1400" kern="0">
              <a:solidFill>
                <a:srgbClr val="002060"/>
              </a:solidFill>
              <a:latin typeface="Calibri"/>
              <a:ea typeface="Calibri"/>
              <a:cs typeface="Calibri"/>
            </a:endParaRPr>
          </a:p>
        </p:txBody>
      </p:sp>
      <p:sp>
        <p:nvSpPr>
          <p:cNvPr id="54" name="Ορθογώνιο 53">
            <a:extLst>
              <a:ext uri="{FF2B5EF4-FFF2-40B4-BE49-F238E27FC236}">
                <a16:creationId xmlns:a16="http://schemas.microsoft.com/office/drawing/2014/main" id="{E3F34816-9B31-911F-6C5F-5792205BEA68}"/>
              </a:ext>
            </a:extLst>
          </p:cNvPr>
          <p:cNvSpPr/>
          <p:nvPr/>
        </p:nvSpPr>
        <p:spPr>
          <a:xfrm>
            <a:off x="4160787" y="5619141"/>
            <a:ext cx="3140243" cy="1046440"/>
          </a:xfrm>
          <a:prstGeom prst="rect">
            <a:avLst/>
          </a:prstGeom>
        </p:spPr>
        <p:txBody>
          <a:bodyPr wrap="square" lIns="91440" tIns="45720" rIns="91440" bIns="45720" anchor="t">
            <a:spAutoFit/>
          </a:bodyPr>
          <a:lstStyle/>
          <a:p>
            <a:r>
              <a:rPr lang="el-GR" sz="1400" b="1" kern="0">
                <a:solidFill>
                  <a:srgbClr val="002060"/>
                </a:solidFill>
                <a:latin typeface="Calibri"/>
                <a:ea typeface="Calibri"/>
                <a:cs typeface="Calibri"/>
              </a:rPr>
              <a:t>Πρόοδος υλοποίησης: </a:t>
            </a:r>
            <a:r>
              <a:rPr lang="el-GR" sz="1200" kern="0">
                <a:solidFill>
                  <a:srgbClr val="002060"/>
                </a:solidFill>
                <a:latin typeface="Arial"/>
                <a:cs typeface="Arial"/>
              </a:rPr>
              <a:t>Έχουν εκκινήσει όλες οι προπαρασκευαστικές εργασίες που απαιτούνται για την έναρξη της κατασκευής και οι διαδικασίες για την ανάθεση της προμήθειας υλικών &amp; αποσυμπιεστών.</a:t>
            </a:r>
            <a:endParaRPr lang="el-GR"/>
          </a:p>
        </p:txBody>
      </p:sp>
      <p:sp>
        <p:nvSpPr>
          <p:cNvPr id="57" name="Google Shape;1275;p29">
            <a:extLst>
              <a:ext uri="{FF2B5EF4-FFF2-40B4-BE49-F238E27FC236}">
                <a16:creationId xmlns:a16="http://schemas.microsoft.com/office/drawing/2014/main" id="{2F1B4243-0181-93A0-89A8-F22090C69CBE}"/>
              </a:ext>
            </a:extLst>
          </p:cNvPr>
          <p:cNvSpPr/>
          <p:nvPr/>
        </p:nvSpPr>
        <p:spPr>
          <a:xfrm>
            <a:off x="7971182" y="5208905"/>
            <a:ext cx="2808588" cy="1552022"/>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58" name="Google Shape;1282;p29">
            <a:extLst>
              <a:ext uri="{FF2B5EF4-FFF2-40B4-BE49-F238E27FC236}">
                <a16:creationId xmlns:a16="http://schemas.microsoft.com/office/drawing/2014/main" id="{029766B1-9EBB-86BC-4907-252C4A16962F}"/>
              </a:ext>
            </a:extLst>
          </p:cNvPr>
          <p:cNvSpPr/>
          <p:nvPr/>
        </p:nvSpPr>
        <p:spPr>
          <a:xfrm>
            <a:off x="7691004" y="4377928"/>
            <a:ext cx="3397846" cy="991894"/>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20000"/>
              </a:lnSpc>
            </a:pPr>
            <a:r>
              <a:rPr lang="el-GR" sz="1400" b="1" kern="0">
                <a:solidFill>
                  <a:srgbClr val="002060"/>
                </a:solidFill>
                <a:latin typeface="Arial"/>
                <a:ea typeface="+mn-lt"/>
                <a:cs typeface="+mn-lt"/>
                <a:sym typeface="Arial"/>
              </a:rPr>
              <a:t>Ανάπτυξη Δικτύου Διανομής Φυσικού Αερίου Μέσης και Χαμηλής Πίεσης στον </a:t>
            </a:r>
            <a:endParaRPr lang="el-GR">
              <a:solidFill>
                <a:srgbClr val="00B0F0"/>
              </a:solidFill>
              <a:latin typeface="Helvetica Neue"/>
              <a:ea typeface="+mn-lt"/>
              <a:cs typeface="+mn-lt"/>
              <a:sym typeface="Arial"/>
            </a:endParaRPr>
          </a:p>
          <a:p>
            <a:pPr algn="ctr">
              <a:lnSpc>
                <a:spcPct val="120000"/>
              </a:lnSpc>
            </a:pPr>
            <a:r>
              <a:rPr lang="el-GR" sz="1400" b="1" kern="0">
                <a:solidFill>
                  <a:srgbClr val="00B0F0"/>
                </a:solidFill>
                <a:latin typeface="Arial"/>
                <a:ea typeface="+mn-lt"/>
                <a:cs typeface="+mn-lt"/>
                <a:sym typeface="Arial"/>
              </a:rPr>
              <a:t>Δήμο Κοζάνης</a:t>
            </a:r>
            <a:endParaRPr lang="el-GR">
              <a:solidFill>
                <a:srgbClr val="00B0F0"/>
              </a:solidFill>
            </a:endParaRPr>
          </a:p>
        </p:txBody>
      </p:sp>
      <p:sp>
        <p:nvSpPr>
          <p:cNvPr id="59" name="Ορθογώνιο 58">
            <a:extLst>
              <a:ext uri="{FF2B5EF4-FFF2-40B4-BE49-F238E27FC236}">
                <a16:creationId xmlns:a16="http://schemas.microsoft.com/office/drawing/2014/main" id="{3643520C-9A49-23E5-DB53-54CEE01CC121}"/>
              </a:ext>
            </a:extLst>
          </p:cNvPr>
          <p:cNvSpPr/>
          <p:nvPr/>
        </p:nvSpPr>
        <p:spPr>
          <a:xfrm>
            <a:off x="8111156" y="5037615"/>
            <a:ext cx="2568745" cy="276999"/>
          </a:xfrm>
          <a:prstGeom prst="rect">
            <a:avLst/>
          </a:prstGeom>
        </p:spPr>
        <p:txBody>
          <a:bodyPr wrap="square" lIns="91440" tIns="45720" rIns="91440" bIns="45720" anchor="t">
            <a:spAutoFit/>
          </a:bodyPr>
          <a:lstStyle/>
          <a:p>
            <a:endParaRPr lang="el-GR" sz="1200" kern="0">
              <a:solidFill>
                <a:srgbClr val="002060"/>
              </a:solidFill>
              <a:latin typeface="Arial"/>
              <a:cs typeface="Arial"/>
            </a:endParaRPr>
          </a:p>
        </p:txBody>
      </p:sp>
      <p:sp>
        <p:nvSpPr>
          <p:cNvPr id="60" name="Ορθογώνιο 59">
            <a:extLst>
              <a:ext uri="{FF2B5EF4-FFF2-40B4-BE49-F238E27FC236}">
                <a16:creationId xmlns:a16="http://schemas.microsoft.com/office/drawing/2014/main" id="{19CE3614-21E5-3C02-69D2-21EC96491640}"/>
              </a:ext>
            </a:extLst>
          </p:cNvPr>
          <p:cNvSpPr/>
          <p:nvPr/>
        </p:nvSpPr>
        <p:spPr>
          <a:xfrm>
            <a:off x="8111155" y="5468745"/>
            <a:ext cx="2568745" cy="523220"/>
          </a:xfrm>
          <a:prstGeom prst="rect">
            <a:avLst/>
          </a:prstGeom>
        </p:spPr>
        <p:txBody>
          <a:bodyPr wrap="square" lIns="91440" tIns="45720" rIns="91440" bIns="45720" anchor="t">
            <a:spAutoFit/>
          </a:bodyPr>
          <a:lstStyle/>
          <a:p>
            <a:r>
              <a:rPr lang="el-GR" sz="1200" b="1" kern="0">
                <a:solidFill>
                  <a:srgbClr val="002060"/>
                </a:solidFill>
                <a:latin typeface="Arial"/>
                <a:cs typeface="Arial"/>
              </a:rPr>
              <a:t>Π/Υ: 12,06 εκατ. </a:t>
            </a:r>
            <a:r>
              <a:rPr lang="el-GR" sz="1400" b="1" kern="0">
                <a:solidFill>
                  <a:srgbClr val="002060"/>
                </a:solidFill>
                <a:latin typeface="Calibri"/>
                <a:ea typeface="Calibri"/>
                <a:cs typeface="Calibri"/>
              </a:rPr>
              <a:t>€</a:t>
            </a:r>
          </a:p>
          <a:p>
            <a:r>
              <a:rPr lang="el-GR" sz="1400" kern="0">
                <a:solidFill>
                  <a:srgbClr val="002060"/>
                </a:solidFill>
                <a:latin typeface="Calibri"/>
                <a:ea typeface="Calibri"/>
                <a:cs typeface="Calibri"/>
              </a:rPr>
              <a:t>Εκτιμώμενη ολοκλήρωση: 2029</a:t>
            </a:r>
            <a:endParaRPr lang="en-US" sz="1400" kern="0">
              <a:solidFill>
                <a:srgbClr val="002060"/>
              </a:solidFill>
              <a:latin typeface="Calibri"/>
              <a:ea typeface="Calibri"/>
              <a:cs typeface="Calibri"/>
            </a:endParaRPr>
          </a:p>
        </p:txBody>
      </p:sp>
      <p:sp>
        <p:nvSpPr>
          <p:cNvPr id="61" name="Ορθογώνιο 60">
            <a:extLst>
              <a:ext uri="{FF2B5EF4-FFF2-40B4-BE49-F238E27FC236}">
                <a16:creationId xmlns:a16="http://schemas.microsoft.com/office/drawing/2014/main" id="{7646A0DD-DCAC-8B29-11B5-3BC110E011F8}"/>
              </a:ext>
            </a:extLst>
          </p:cNvPr>
          <p:cNvSpPr/>
          <p:nvPr/>
        </p:nvSpPr>
        <p:spPr>
          <a:xfrm>
            <a:off x="8102084" y="6082261"/>
            <a:ext cx="2438403" cy="492443"/>
          </a:xfrm>
          <a:prstGeom prst="rect">
            <a:avLst/>
          </a:prstGeom>
        </p:spPr>
        <p:txBody>
          <a:bodyPr wrap="square" lIns="91440" tIns="45720" rIns="91440" bIns="45720" anchor="t">
            <a:spAutoFit/>
          </a:bodyPr>
          <a:lstStyle/>
          <a:p>
            <a:r>
              <a:rPr lang="el-GR" sz="1400" b="1" kern="0">
                <a:solidFill>
                  <a:srgbClr val="002060"/>
                </a:solidFill>
                <a:latin typeface="Calibri"/>
                <a:ea typeface="Calibri"/>
                <a:cs typeface="Calibri"/>
              </a:rPr>
              <a:t>Πρόοδος υλοποίησης: </a:t>
            </a:r>
            <a:r>
              <a:rPr lang="el-GR" sz="1200" kern="0">
                <a:solidFill>
                  <a:srgbClr val="002060"/>
                </a:solidFill>
                <a:latin typeface="Arial"/>
                <a:cs typeface="Arial"/>
              </a:rPr>
              <a:t>Το έργο βρίσκεται σε στάδιο μελέτης. </a:t>
            </a:r>
            <a:endParaRPr lang="el-GR"/>
          </a:p>
        </p:txBody>
      </p:sp>
      <p:sp>
        <p:nvSpPr>
          <p:cNvPr id="2" name="Google Shape;414;p13">
            <a:extLst>
              <a:ext uri="{FF2B5EF4-FFF2-40B4-BE49-F238E27FC236}">
                <a16:creationId xmlns:a16="http://schemas.microsoft.com/office/drawing/2014/main" id="{AC281EED-0804-6C78-C6A6-2C6530B57F43}"/>
              </a:ext>
            </a:extLst>
          </p:cNvPr>
          <p:cNvSpPr/>
          <p:nvPr/>
        </p:nvSpPr>
        <p:spPr>
          <a:xfrm>
            <a:off x="631526" y="83665"/>
            <a:ext cx="6783921"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buFont typeface="Arial"/>
              <a:buNone/>
              <a:defRPr/>
            </a:pPr>
            <a:r>
              <a:rPr lang="el-GR" sz="2400" kern="0" dirty="0">
                <a:solidFill>
                  <a:srgbClr val="002060"/>
                </a:solidFill>
                <a:latin typeface="Arial Black"/>
                <a:ea typeface="Arial Black"/>
                <a:cs typeface="Arial Black"/>
                <a:sym typeface="Arial Black"/>
              </a:rPr>
              <a:t>Ενέργεια</a:t>
            </a:r>
          </a:p>
        </p:txBody>
      </p:sp>
      <p:cxnSp>
        <p:nvCxnSpPr>
          <p:cNvPr id="3" name="Ευθεία γραμμή σύνδεσης 2">
            <a:extLst>
              <a:ext uri="{FF2B5EF4-FFF2-40B4-BE49-F238E27FC236}">
                <a16:creationId xmlns:a16="http://schemas.microsoft.com/office/drawing/2014/main" id="{F33AE31B-F179-C699-19F5-F3A87488D38A}"/>
              </a:ext>
            </a:extLst>
          </p:cNvPr>
          <p:cNvCxnSpPr>
            <a:cxnSpLocks/>
          </p:cNvCxnSpPr>
          <p:nvPr/>
        </p:nvCxnSpPr>
        <p:spPr>
          <a:xfrm>
            <a:off x="149962" y="579004"/>
            <a:ext cx="3891642" cy="15397"/>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Tree>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9C5856-9D0D-1432-2B64-C743BB072A19}"/>
              </a:ext>
            </a:extLst>
          </p:cNvPr>
          <p:cNvSpPr txBox="1"/>
          <p:nvPr/>
        </p:nvSpPr>
        <p:spPr>
          <a:xfrm>
            <a:off x="182880" y="2156967"/>
            <a:ext cx="10529453"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panose="020F0502020204030204" pitchFamily="34" charset="0"/>
                <a:ea typeface="Calibri" panose="020F0502020204030204"/>
                <a:cs typeface="Calibri" panose="020F0502020204030204" pitchFamily="34" charset="0"/>
              </a:rPr>
              <a:t>Υπουργείο Πολιτισμού</a:t>
            </a:r>
            <a:endParaRPr kumimoji="0" lang="x-none" sz="3600" b="1" i="0" u="none" strike="noStrike" kern="1200" cap="none" spc="0" normalizeH="0" baseline="0" noProof="0">
              <a:ln>
                <a:noFill/>
              </a:ln>
              <a:solidFill>
                <a:srgbClr val="374C81"/>
              </a:solidFill>
              <a:effectLst/>
              <a:uLnTx/>
              <a:uFillTx/>
              <a:latin typeface="Calibri" panose="020F0502020204030204" pitchFamily="34" charset="0"/>
              <a:ea typeface="Calibri" panose="020F0502020204030204"/>
              <a:cs typeface="Calibri" panose="020F0502020204030204" pitchFamily="34" charset="0"/>
            </a:endParaRPr>
          </a:p>
        </p:txBody>
      </p:sp>
    </p:spTree>
    <p:extLst>
      <p:ext uri="{BB962C8B-B14F-4D97-AF65-F5344CB8AC3E}">
        <p14:creationId xmlns:p14="http://schemas.microsoft.com/office/powerpoint/2010/main" val="12727662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275;p29">
            <a:extLst>
              <a:ext uri="{FF2B5EF4-FFF2-40B4-BE49-F238E27FC236}">
                <a16:creationId xmlns:a16="http://schemas.microsoft.com/office/drawing/2014/main" id="{B8EA7ED4-B212-59B7-C659-3FC289D973C8}"/>
              </a:ext>
            </a:extLst>
          </p:cNvPr>
          <p:cNvSpPr/>
          <p:nvPr/>
        </p:nvSpPr>
        <p:spPr>
          <a:xfrm>
            <a:off x="516380" y="2450997"/>
            <a:ext cx="3478919" cy="2073394"/>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7" name="Google Shape;1282;p29">
            <a:extLst>
              <a:ext uri="{FF2B5EF4-FFF2-40B4-BE49-F238E27FC236}">
                <a16:creationId xmlns:a16="http://schemas.microsoft.com/office/drawing/2014/main" id="{0D2772A5-47A2-1F68-6C94-B7BC05677D07}"/>
              </a:ext>
            </a:extLst>
          </p:cNvPr>
          <p:cNvSpPr/>
          <p:nvPr/>
        </p:nvSpPr>
        <p:spPr>
          <a:xfrm>
            <a:off x="265323" y="1426180"/>
            <a:ext cx="3982719" cy="121915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b="1" kern="0">
                <a:solidFill>
                  <a:srgbClr val="002060"/>
                </a:solidFill>
                <a:ea typeface="+mn-lt"/>
                <a:cs typeface="+mn-lt"/>
                <a:sym typeface="Arial"/>
              </a:rPr>
              <a:t>Αποκατάσταση του Ιστορικού Γεφυριού του Πασά</a:t>
            </a:r>
            <a:endParaRPr lang="el-GR" b="1" kern="0">
              <a:solidFill>
                <a:srgbClr val="FF0000"/>
              </a:solidFill>
              <a:cs typeface="Arial"/>
            </a:endParaRPr>
          </a:p>
        </p:txBody>
      </p:sp>
      <p:sp>
        <p:nvSpPr>
          <p:cNvPr id="9" name="Ορθογώνιο 8">
            <a:extLst>
              <a:ext uri="{FF2B5EF4-FFF2-40B4-BE49-F238E27FC236}">
                <a16:creationId xmlns:a16="http://schemas.microsoft.com/office/drawing/2014/main" id="{19473346-F42F-721C-680B-ED62BF16D8C9}"/>
              </a:ext>
            </a:extLst>
          </p:cNvPr>
          <p:cNvSpPr/>
          <p:nvPr/>
        </p:nvSpPr>
        <p:spPr>
          <a:xfrm>
            <a:off x="721285" y="2780071"/>
            <a:ext cx="2940672" cy="523220"/>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Υ:</a:t>
            </a:r>
            <a:r>
              <a:rPr lang="el-GR" sz="1400" b="1" i="1" kern="0">
                <a:solidFill>
                  <a:srgbClr val="002060"/>
                </a:solidFill>
                <a:ea typeface="+mn-lt"/>
                <a:cs typeface="+mn-lt"/>
                <a:sym typeface="Arial"/>
              </a:rPr>
              <a:t> 5, 732 εκ € </a:t>
            </a:r>
            <a:endParaRPr lang="el-GR" sz="1400" b="1" i="1" kern="0">
              <a:solidFill>
                <a:srgbClr val="002060"/>
              </a:solidFill>
              <a:ea typeface="+mn-lt"/>
              <a:cs typeface="+mn-lt"/>
            </a:endParaRPr>
          </a:p>
          <a:p>
            <a:r>
              <a:rPr lang="el-GR" sz="1400" kern="0">
                <a:solidFill>
                  <a:srgbClr val="002060"/>
                </a:solidFill>
                <a:ea typeface="+mn-lt"/>
                <a:cs typeface="+mn-lt"/>
              </a:rPr>
              <a:t>Εκτιμώμενη ολοκλήρωση: 2027</a:t>
            </a:r>
          </a:p>
        </p:txBody>
      </p:sp>
      <p:sp>
        <p:nvSpPr>
          <p:cNvPr id="11" name="Ορθογώνιο 10">
            <a:extLst>
              <a:ext uri="{FF2B5EF4-FFF2-40B4-BE49-F238E27FC236}">
                <a16:creationId xmlns:a16="http://schemas.microsoft.com/office/drawing/2014/main" id="{2565FF2C-3AF4-0419-D85C-52163AC3C65B}"/>
              </a:ext>
            </a:extLst>
          </p:cNvPr>
          <p:cNvSpPr/>
          <p:nvPr/>
        </p:nvSpPr>
        <p:spPr>
          <a:xfrm>
            <a:off x="721794" y="3305571"/>
            <a:ext cx="3161152" cy="738664"/>
          </a:xfrm>
          <a:prstGeom prst="rect">
            <a:avLst/>
          </a:prstGeom>
        </p:spPr>
        <p:txBody>
          <a:bodyPr wrap="square" lIns="91440" tIns="45720" rIns="91440" bIns="45720" anchor="t">
            <a:spAutoFit/>
          </a:bodyPr>
          <a:lstStyle/>
          <a:p>
            <a:r>
              <a:rPr lang="el-GR" sz="1400" kern="0" dirty="0">
                <a:solidFill>
                  <a:srgbClr val="002060"/>
                </a:solidFill>
                <a:cs typeface="Arial"/>
                <a:sym typeface="Arial"/>
              </a:rPr>
              <a:t>Το έργο θα εκτελεστεί από την Περιφέρεια Δυτικής Μακεδονίας στο πλαίσιο του Πυλώνα ΙΙΙ του ΣΔΑΜ. </a:t>
            </a:r>
            <a:endParaRPr lang="el-GR" sz="1400" b="1" kern="0" dirty="0">
              <a:solidFill>
                <a:srgbClr val="002060"/>
              </a:solidFill>
              <a:cs typeface="Arial"/>
            </a:endParaRPr>
          </a:p>
        </p:txBody>
      </p:sp>
      <p:sp>
        <p:nvSpPr>
          <p:cNvPr id="2" name="Google Shape;1275;p29">
            <a:extLst>
              <a:ext uri="{FF2B5EF4-FFF2-40B4-BE49-F238E27FC236}">
                <a16:creationId xmlns:a16="http://schemas.microsoft.com/office/drawing/2014/main" id="{5E3BC567-94BB-4262-628A-EE78058B9468}"/>
              </a:ext>
            </a:extLst>
          </p:cNvPr>
          <p:cNvSpPr/>
          <p:nvPr/>
        </p:nvSpPr>
        <p:spPr>
          <a:xfrm>
            <a:off x="4656152" y="4421043"/>
            <a:ext cx="3021635" cy="2019187"/>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dirty="0">
              <a:solidFill>
                <a:srgbClr val="000000"/>
              </a:solidFill>
              <a:cs typeface="Arial"/>
              <a:sym typeface="Arial"/>
            </a:endParaRPr>
          </a:p>
        </p:txBody>
      </p:sp>
      <p:sp>
        <p:nvSpPr>
          <p:cNvPr id="3" name="Google Shape;1282;p29">
            <a:extLst>
              <a:ext uri="{FF2B5EF4-FFF2-40B4-BE49-F238E27FC236}">
                <a16:creationId xmlns:a16="http://schemas.microsoft.com/office/drawing/2014/main" id="{5C3ED296-4734-FEB5-4ECD-9F68976E2D92}"/>
              </a:ext>
            </a:extLst>
          </p:cNvPr>
          <p:cNvSpPr/>
          <p:nvPr/>
        </p:nvSpPr>
        <p:spPr>
          <a:xfrm>
            <a:off x="4314876" y="3245683"/>
            <a:ext cx="3532640" cy="1318392"/>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b="1" kern="0" dirty="0">
                <a:solidFill>
                  <a:srgbClr val="002060"/>
                </a:solidFill>
                <a:ea typeface="+mn-lt"/>
                <a:cs typeface="+mn-lt"/>
                <a:sym typeface="Arial"/>
              </a:rPr>
              <a:t>Αποκατάσταση και προστασία του Ι.Ν. Κοιμήσεως της Θεοτόκου </a:t>
            </a:r>
            <a:r>
              <a:rPr lang="el-GR" b="1" kern="0" dirty="0" err="1">
                <a:solidFill>
                  <a:srgbClr val="002060"/>
                </a:solidFill>
                <a:ea typeface="+mn-lt"/>
                <a:cs typeface="+mn-lt"/>
                <a:sym typeface="Arial"/>
              </a:rPr>
              <a:t>Σαμαρίνας</a:t>
            </a:r>
            <a:endParaRPr lang="el-GR" b="1" kern="0" dirty="0">
              <a:solidFill>
                <a:srgbClr val="002060"/>
              </a:solidFill>
              <a:ea typeface="+mn-lt"/>
              <a:cs typeface="+mn-lt"/>
            </a:endParaRPr>
          </a:p>
        </p:txBody>
      </p:sp>
      <p:sp>
        <p:nvSpPr>
          <p:cNvPr id="4" name="Ορθογώνιο 3">
            <a:extLst>
              <a:ext uri="{FF2B5EF4-FFF2-40B4-BE49-F238E27FC236}">
                <a16:creationId xmlns:a16="http://schemas.microsoft.com/office/drawing/2014/main" id="{8A4718D7-3DF5-788D-2116-1E6ABDDE8122}"/>
              </a:ext>
            </a:extLst>
          </p:cNvPr>
          <p:cNvSpPr/>
          <p:nvPr/>
        </p:nvSpPr>
        <p:spPr>
          <a:xfrm>
            <a:off x="5088082" y="4786345"/>
            <a:ext cx="2398607" cy="954107"/>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Υ:</a:t>
            </a:r>
            <a:r>
              <a:rPr lang="el-GR" sz="1400" b="1" i="1" kern="0" dirty="0">
                <a:solidFill>
                  <a:srgbClr val="002060"/>
                </a:solidFill>
                <a:ea typeface="+mn-lt"/>
                <a:cs typeface="+mn-lt"/>
                <a:sym typeface="Arial"/>
              </a:rPr>
              <a:t> 3,3 εκ. € </a:t>
            </a:r>
            <a:endParaRPr lang="el-GR" sz="1400" b="1" i="1" kern="0" dirty="0">
              <a:solidFill>
                <a:srgbClr val="002060"/>
              </a:solidFill>
              <a:ea typeface="+mn-lt"/>
              <a:cs typeface="+mn-lt"/>
            </a:endParaRPr>
          </a:p>
          <a:p>
            <a:endParaRPr lang="el-GR" sz="1400" b="1" i="1" kern="0" dirty="0">
              <a:solidFill>
                <a:srgbClr val="002060"/>
              </a:solidFill>
              <a:ea typeface="+mn-lt"/>
              <a:cs typeface="+mn-lt"/>
            </a:endParaRPr>
          </a:p>
          <a:p>
            <a:endParaRPr lang="el-GR" sz="1400" b="1" i="1" kern="0" dirty="0">
              <a:solidFill>
                <a:srgbClr val="002060"/>
              </a:solidFill>
              <a:ea typeface="+mn-lt"/>
              <a:cs typeface="+mn-lt"/>
            </a:endParaRPr>
          </a:p>
          <a:p>
            <a:r>
              <a:rPr lang="el-GR" sz="1400" kern="0" dirty="0">
                <a:solidFill>
                  <a:srgbClr val="002060"/>
                </a:solidFill>
                <a:ea typeface="+mn-lt"/>
                <a:cs typeface="+mn-lt"/>
              </a:rPr>
              <a:t>Ολοκληρωμένο</a:t>
            </a:r>
          </a:p>
        </p:txBody>
      </p:sp>
      <p:sp>
        <p:nvSpPr>
          <p:cNvPr id="10" name="Google Shape;414;p13">
            <a:extLst>
              <a:ext uri="{FF2B5EF4-FFF2-40B4-BE49-F238E27FC236}">
                <a16:creationId xmlns:a16="http://schemas.microsoft.com/office/drawing/2014/main" id="{1AD9C01A-9629-964C-DCB2-CC8715F16F09}"/>
              </a:ext>
            </a:extLst>
          </p:cNvPr>
          <p:cNvSpPr/>
          <p:nvPr/>
        </p:nvSpPr>
        <p:spPr>
          <a:xfrm>
            <a:off x="378383" y="209024"/>
            <a:ext cx="11676761"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defRPr/>
            </a:pPr>
            <a:r>
              <a:rPr lang="el-GR" sz="2500" kern="0" dirty="0">
                <a:solidFill>
                  <a:srgbClr val="002060"/>
                </a:solidFill>
                <a:latin typeface="Arial Black"/>
                <a:ea typeface="Arial Black"/>
                <a:cs typeface="Arial Black"/>
              </a:rPr>
              <a:t>Πολιτισμός</a:t>
            </a:r>
          </a:p>
        </p:txBody>
      </p:sp>
      <p:cxnSp>
        <p:nvCxnSpPr>
          <p:cNvPr id="13" name="Ευθεία γραμμή σύνδεσης 12">
            <a:extLst>
              <a:ext uri="{FF2B5EF4-FFF2-40B4-BE49-F238E27FC236}">
                <a16:creationId xmlns:a16="http://schemas.microsoft.com/office/drawing/2014/main" id="{108F13BC-B362-991F-4820-7CB659245D3C}"/>
              </a:ext>
            </a:extLst>
          </p:cNvPr>
          <p:cNvCxnSpPr/>
          <p:nvPr/>
        </p:nvCxnSpPr>
        <p:spPr>
          <a:xfrm>
            <a:off x="381959" y="749874"/>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6" name="Google Shape;1275;p29">
            <a:extLst>
              <a:ext uri="{FF2B5EF4-FFF2-40B4-BE49-F238E27FC236}">
                <a16:creationId xmlns:a16="http://schemas.microsoft.com/office/drawing/2014/main" id="{6E0FEC06-DF7F-93D6-B2DC-A4BF98B02D07}"/>
              </a:ext>
            </a:extLst>
          </p:cNvPr>
          <p:cNvSpPr/>
          <p:nvPr/>
        </p:nvSpPr>
        <p:spPr>
          <a:xfrm>
            <a:off x="8285236" y="2585471"/>
            <a:ext cx="3418807" cy="1891818"/>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dirty="0">
              <a:solidFill>
                <a:srgbClr val="000000"/>
              </a:solidFill>
              <a:cs typeface="Arial"/>
              <a:sym typeface="Arial"/>
            </a:endParaRPr>
          </a:p>
        </p:txBody>
      </p:sp>
      <p:sp>
        <p:nvSpPr>
          <p:cNvPr id="8" name="Google Shape;1282;p29">
            <a:extLst>
              <a:ext uri="{FF2B5EF4-FFF2-40B4-BE49-F238E27FC236}">
                <a16:creationId xmlns:a16="http://schemas.microsoft.com/office/drawing/2014/main" id="{0FC944FD-384A-F175-BBCD-9BBCD850E561}"/>
              </a:ext>
            </a:extLst>
          </p:cNvPr>
          <p:cNvSpPr/>
          <p:nvPr/>
        </p:nvSpPr>
        <p:spPr>
          <a:xfrm>
            <a:off x="7943960" y="1410110"/>
            <a:ext cx="3996980" cy="123522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b="1" kern="0" dirty="0">
                <a:solidFill>
                  <a:srgbClr val="002060"/>
                </a:solidFill>
                <a:ea typeface="+mn-lt"/>
                <a:cs typeface="+mn-lt"/>
                <a:sym typeface="Arial"/>
              </a:rPr>
              <a:t>Λειτουργική αναβάθμιση &amp; αξιοποίηση Ξενία Καστοριάς</a:t>
            </a:r>
            <a:endParaRPr lang="el-GR" b="1" kern="0" dirty="0">
              <a:solidFill>
                <a:srgbClr val="002060"/>
              </a:solidFill>
              <a:ea typeface="+mn-lt"/>
              <a:cs typeface="+mn-lt"/>
            </a:endParaRPr>
          </a:p>
        </p:txBody>
      </p:sp>
      <p:sp>
        <p:nvSpPr>
          <p:cNvPr id="12" name="Ορθογώνιο 11">
            <a:extLst>
              <a:ext uri="{FF2B5EF4-FFF2-40B4-BE49-F238E27FC236}">
                <a16:creationId xmlns:a16="http://schemas.microsoft.com/office/drawing/2014/main" id="{B960A1DC-D9ED-4429-7009-F7F919B94BBD}"/>
              </a:ext>
            </a:extLst>
          </p:cNvPr>
          <p:cNvSpPr/>
          <p:nvPr/>
        </p:nvSpPr>
        <p:spPr>
          <a:xfrm>
            <a:off x="8717166" y="2950772"/>
            <a:ext cx="2713887" cy="1384995"/>
          </a:xfrm>
          <a:prstGeom prst="rect">
            <a:avLst/>
          </a:prstGeom>
        </p:spPr>
        <p:txBody>
          <a:bodyPr wrap="square" lIns="91440" tIns="45720" rIns="91440" bIns="45720" anchor="t">
            <a:spAutoFit/>
          </a:bodyPr>
          <a:lstStyle/>
          <a:p>
            <a:pPr>
              <a:buClr>
                <a:srgbClr val="000000"/>
              </a:buClr>
            </a:pPr>
            <a:r>
              <a:rPr lang="el-GR" sz="1400" b="1" kern="0" dirty="0">
                <a:solidFill>
                  <a:srgbClr val="002060"/>
                </a:solidFill>
                <a:cs typeface="Arial"/>
                <a:sym typeface="Arial"/>
              </a:rPr>
              <a:t>Π/Υ:</a:t>
            </a:r>
            <a:r>
              <a:rPr lang="el-GR" sz="1400" b="1" i="1" kern="0" dirty="0">
                <a:solidFill>
                  <a:srgbClr val="002060"/>
                </a:solidFill>
                <a:ea typeface="+mn-lt"/>
                <a:cs typeface="+mn-lt"/>
                <a:sym typeface="Arial"/>
              </a:rPr>
              <a:t> ~ 6 εκ. € </a:t>
            </a:r>
            <a:endParaRPr lang="el-GR" sz="1400" b="1" i="1" kern="0" dirty="0">
              <a:solidFill>
                <a:srgbClr val="002060"/>
              </a:solidFill>
              <a:ea typeface="+mn-lt"/>
              <a:cs typeface="+mn-lt"/>
            </a:endParaRPr>
          </a:p>
          <a:p>
            <a:endParaRPr lang="el-GR" sz="1400" b="1" i="1" kern="0" dirty="0">
              <a:solidFill>
                <a:srgbClr val="002060"/>
              </a:solidFill>
              <a:ea typeface="+mn-lt"/>
              <a:cs typeface="+mn-lt"/>
            </a:endParaRPr>
          </a:p>
          <a:p>
            <a:endParaRPr lang="el-GR" sz="1400" b="1" i="1" kern="0" dirty="0">
              <a:solidFill>
                <a:srgbClr val="002060"/>
              </a:solidFill>
              <a:ea typeface="+mn-lt"/>
              <a:cs typeface="+mn-lt"/>
            </a:endParaRPr>
          </a:p>
          <a:p>
            <a:r>
              <a:rPr lang="el-GR" sz="1400" kern="0" dirty="0">
                <a:solidFill>
                  <a:srgbClr val="002060"/>
                </a:solidFill>
                <a:ea typeface="+mn-lt"/>
                <a:cs typeface="+mn-lt"/>
              </a:rPr>
              <a:t>Υπό μελετητική ωρίμαση μετά την παραχώρηση του κτηρίου από την ΕΤΑΔ.</a:t>
            </a:r>
          </a:p>
        </p:txBody>
      </p:sp>
    </p:spTree>
    <p:extLst>
      <p:ext uri="{BB962C8B-B14F-4D97-AF65-F5344CB8AC3E}">
        <p14:creationId xmlns:p14="http://schemas.microsoft.com/office/powerpoint/2010/main" val="3748534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9C5856-9D0D-1432-2B64-C743BB072A19}"/>
              </a:ext>
            </a:extLst>
          </p:cNvPr>
          <p:cNvSpPr txBox="1"/>
          <p:nvPr/>
        </p:nvSpPr>
        <p:spPr>
          <a:xfrm>
            <a:off x="1178176" y="3000951"/>
            <a:ext cx="10529453"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Υπουργείο Κλιματικής Κρίσης &amp;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Πολιτικής Προστασίας</a:t>
            </a:r>
            <a:endParaRPr kumimoji="0" lang="x-none"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endParaRPr>
          </a:p>
        </p:txBody>
      </p:sp>
    </p:spTree>
    <p:extLst>
      <p:ext uri="{BB962C8B-B14F-4D97-AF65-F5344CB8AC3E}">
        <p14:creationId xmlns:p14="http://schemas.microsoft.com/office/powerpoint/2010/main" val="41920090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BB78A9-A754-180F-055B-E2FF8354EB7B}"/>
            </a:ext>
          </a:extLst>
        </p:cNvPr>
        <p:cNvGrpSpPr/>
        <p:nvPr/>
      </p:nvGrpSpPr>
      <p:grpSpPr>
        <a:xfrm>
          <a:off x="0" y="0"/>
          <a:ext cx="0" cy="0"/>
          <a:chOff x="0" y="0"/>
          <a:chExt cx="0" cy="0"/>
        </a:xfrm>
      </p:grpSpPr>
      <p:sp>
        <p:nvSpPr>
          <p:cNvPr id="5" name="Google Shape;414;p13">
            <a:extLst>
              <a:ext uri="{FF2B5EF4-FFF2-40B4-BE49-F238E27FC236}">
                <a16:creationId xmlns:a16="http://schemas.microsoft.com/office/drawing/2014/main" id="{139557F1-E504-0CBD-25E8-DA06C9F15626}"/>
              </a:ext>
            </a:extLst>
          </p:cNvPr>
          <p:cNvSpPr/>
          <p:nvPr/>
        </p:nvSpPr>
        <p:spPr>
          <a:xfrm>
            <a:off x="378383" y="209024"/>
            <a:ext cx="11676761"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defRPr/>
            </a:pPr>
            <a:r>
              <a:rPr lang="el-GR" sz="2500" kern="0">
                <a:solidFill>
                  <a:srgbClr val="002060"/>
                </a:solidFill>
                <a:latin typeface="Arial Black"/>
                <a:ea typeface="Arial Black"/>
                <a:cs typeface="Arial Black"/>
                <a:sym typeface="Arial Black"/>
              </a:rPr>
              <a:t>Κοζάνη | Αποκατάσταση Φυσικών Καταστροφών &amp; Κρατική Αρωγή</a:t>
            </a:r>
          </a:p>
        </p:txBody>
      </p:sp>
      <p:cxnSp>
        <p:nvCxnSpPr>
          <p:cNvPr id="7" name="Ευθεία γραμμή σύνδεσης 6">
            <a:extLst>
              <a:ext uri="{FF2B5EF4-FFF2-40B4-BE49-F238E27FC236}">
                <a16:creationId xmlns:a16="http://schemas.microsoft.com/office/drawing/2014/main" id="{F64242CE-5358-44CC-4292-7FF6BF3215C8}"/>
              </a:ext>
            </a:extLst>
          </p:cNvPr>
          <p:cNvCxnSpPr/>
          <p:nvPr/>
        </p:nvCxnSpPr>
        <p:spPr>
          <a:xfrm>
            <a:off x="381959" y="749874"/>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11" name="Google Shape;1275;p29">
            <a:extLst>
              <a:ext uri="{FF2B5EF4-FFF2-40B4-BE49-F238E27FC236}">
                <a16:creationId xmlns:a16="http://schemas.microsoft.com/office/drawing/2014/main" id="{79034380-B2C5-ACB3-2D94-D712DD661020}"/>
              </a:ext>
            </a:extLst>
          </p:cNvPr>
          <p:cNvSpPr/>
          <p:nvPr/>
        </p:nvSpPr>
        <p:spPr>
          <a:xfrm>
            <a:off x="3644592" y="2251904"/>
            <a:ext cx="5405402" cy="3597394"/>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3" name="Google Shape;1282;p29">
            <a:extLst>
              <a:ext uri="{FF2B5EF4-FFF2-40B4-BE49-F238E27FC236}">
                <a16:creationId xmlns:a16="http://schemas.microsoft.com/office/drawing/2014/main" id="{E56A05DF-0D2B-5B96-A306-01BF32E888FE}"/>
              </a:ext>
            </a:extLst>
          </p:cNvPr>
          <p:cNvSpPr/>
          <p:nvPr/>
        </p:nvSpPr>
        <p:spPr>
          <a:xfrm>
            <a:off x="3709983" y="1462945"/>
            <a:ext cx="5178236" cy="964570"/>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b="1" kern="0">
                <a:solidFill>
                  <a:srgbClr val="002060"/>
                </a:solidFill>
                <a:ea typeface="+mn-lt"/>
                <a:cs typeface="+mn-lt"/>
                <a:sym typeface="Arial"/>
              </a:rPr>
              <a:t>Υψηλή Γέφυρα </a:t>
            </a:r>
            <a:r>
              <a:rPr lang="el-GR" b="1" kern="0" err="1">
                <a:solidFill>
                  <a:srgbClr val="002060"/>
                </a:solidFill>
                <a:ea typeface="+mn-lt"/>
                <a:cs typeface="+mn-lt"/>
                <a:sym typeface="Arial"/>
              </a:rPr>
              <a:t>Σερβίων</a:t>
            </a:r>
            <a:endParaRPr lang="el-GR" b="1" kern="0" err="1">
              <a:solidFill>
                <a:srgbClr val="002060"/>
              </a:solidFill>
              <a:cs typeface="Arial"/>
            </a:endParaRPr>
          </a:p>
        </p:txBody>
      </p:sp>
      <p:sp>
        <p:nvSpPr>
          <p:cNvPr id="17" name="Ορθογώνιο 16">
            <a:extLst>
              <a:ext uri="{FF2B5EF4-FFF2-40B4-BE49-F238E27FC236}">
                <a16:creationId xmlns:a16="http://schemas.microsoft.com/office/drawing/2014/main" id="{2CB7A871-C1E0-0867-0CFD-B6F601FC054B}"/>
              </a:ext>
            </a:extLst>
          </p:cNvPr>
          <p:cNvSpPr/>
          <p:nvPr/>
        </p:nvSpPr>
        <p:spPr>
          <a:xfrm>
            <a:off x="3808945" y="2492963"/>
            <a:ext cx="4825519" cy="3108543"/>
          </a:xfrm>
          <a:prstGeom prst="rect">
            <a:avLst/>
          </a:prstGeom>
        </p:spPr>
        <p:txBody>
          <a:bodyPr wrap="square" lIns="91440" tIns="45720" rIns="91440" bIns="45720" anchor="t">
            <a:spAutoFit/>
          </a:bodyPr>
          <a:lstStyle/>
          <a:p>
            <a:pPr marL="342900" indent="-342900" algn="just">
              <a:buFont typeface="Arial,Sans-Serif"/>
              <a:buChar char="•"/>
            </a:pPr>
            <a:r>
              <a:rPr lang="el-GR" sz="1400" kern="0">
                <a:solidFill>
                  <a:srgbClr val="242852"/>
                </a:solidFill>
                <a:latin typeface="Calibri"/>
                <a:ea typeface="Calibri"/>
                <a:cs typeface="Calibri"/>
                <a:sym typeface="Arial"/>
              </a:rPr>
              <a:t>Ανατέθηκε στο ΚΕΠΕ η εκπόνηση μελέτης για τις επιπτώσεις στα φυσικά πρόσωπα και τις επιχειρήσεις, ως αποτέλεσμα των εργασιών επισκευής στην Υψηλή Γέφυρα </a:t>
            </a:r>
            <a:r>
              <a:rPr lang="el-GR" sz="1400" kern="0" err="1">
                <a:solidFill>
                  <a:srgbClr val="242852"/>
                </a:solidFill>
                <a:latin typeface="Calibri"/>
                <a:ea typeface="Calibri"/>
                <a:cs typeface="Calibri"/>
                <a:sym typeface="Arial"/>
              </a:rPr>
              <a:t>Σερβίων</a:t>
            </a:r>
            <a:r>
              <a:rPr lang="el-GR" sz="1400" kern="0">
                <a:solidFill>
                  <a:srgbClr val="242852"/>
                </a:solidFill>
                <a:latin typeface="Calibri"/>
                <a:ea typeface="Calibri"/>
                <a:cs typeface="Calibri"/>
                <a:sym typeface="Arial"/>
              </a:rPr>
              <a:t> Ν. Κοζάνης,</a:t>
            </a:r>
            <a:endParaRPr lang="en-US" sz="1400" kern="0">
              <a:solidFill>
                <a:srgbClr val="002060"/>
              </a:solidFill>
              <a:latin typeface="Calibri"/>
              <a:ea typeface="Calibri"/>
              <a:cs typeface="Calibri"/>
            </a:endParaRPr>
          </a:p>
          <a:p>
            <a:pPr marL="342900" indent="-342900" algn="just">
              <a:buFont typeface="Arial,Sans-Serif"/>
              <a:buChar char="•"/>
            </a:pPr>
            <a:endParaRPr lang="el-GR" sz="1400" kern="0">
              <a:solidFill>
                <a:srgbClr val="002060"/>
              </a:solidFill>
              <a:latin typeface="Calibri"/>
              <a:ea typeface="Calibri"/>
              <a:cs typeface="Calibri"/>
            </a:endParaRPr>
          </a:p>
          <a:p>
            <a:pPr marL="342900" indent="-342900" algn="just">
              <a:buFont typeface="Arial,Sans-Serif"/>
              <a:buChar char="•"/>
            </a:pPr>
            <a:r>
              <a:rPr lang="el-GR" sz="1400" kern="0">
                <a:solidFill>
                  <a:srgbClr val="242852"/>
                </a:solidFill>
                <a:latin typeface="Calibri"/>
                <a:ea typeface="Calibri"/>
                <a:cs typeface="Calibri"/>
              </a:rPr>
              <a:t>Έχει ήδη εκκινήσει η διαδικασία της συνεργασίας του ΚΕΠΕ με την Περιφέρεια Δυτικής Μακεδονίας, ώστε να καταγραφούν οι έμμεσες επιπτώσεις (π.χ. επιπλέον κόστος λόγω εναλλακτικών διαδρομών)</a:t>
            </a:r>
            <a:endParaRPr lang="en-US" sz="1400" kern="0">
              <a:solidFill>
                <a:srgbClr val="002060"/>
              </a:solidFill>
              <a:latin typeface="Calibri"/>
              <a:ea typeface="Calibri"/>
              <a:cs typeface="Calibri"/>
            </a:endParaRPr>
          </a:p>
          <a:p>
            <a:pPr marL="342900" indent="-342900" algn="just">
              <a:buFont typeface="Arial,Sans-Serif"/>
              <a:buChar char="•"/>
            </a:pPr>
            <a:endParaRPr lang="el-GR" sz="1400" kern="0">
              <a:solidFill>
                <a:srgbClr val="002060"/>
              </a:solidFill>
              <a:latin typeface="Calibri"/>
              <a:ea typeface="Calibri"/>
              <a:cs typeface="Calibri"/>
            </a:endParaRPr>
          </a:p>
          <a:p>
            <a:pPr marL="342900" indent="-342900" algn="just">
              <a:buFont typeface="Arial,Sans-Serif"/>
              <a:buChar char="•"/>
            </a:pPr>
            <a:r>
              <a:rPr lang="el-GR" sz="1400" kern="0">
                <a:solidFill>
                  <a:srgbClr val="242852"/>
                </a:solidFill>
                <a:latin typeface="Calibri"/>
                <a:ea typeface="Calibri"/>
                <a:cs typeface="Calibri"/>
              </a:rPr>
              <a:t>Η μελέτη που θα καταρτιστεί από το ΚΕΠΕ, θα δώσει τη δυνατότητα λήψης απόφασης σε ότι αφορά την παροχή ενισχύσεων σε όσους έχουν πληγεί. </a:t>
            </a:r>
            <a:endParaRPr lang="en-US" sz="1400" kern="0">
              <a:solidFill>
                <a:srgbClr val="002060"/>
              </a:solidFill>
              <a:latin typeface="Calibri"/>
              <a:ea typeface="Calibri"/>
              <a:cs typeface="Calibri"/>
            </a:endParaRPr>
          </a:p>
          <a:p>
            <a:endParaRPr lang="el-GR" sz="1400" kern="0">
              <a:solidFill>
                <a:srgbClr val="002060"/>
              </a:solidFill>
              <a:cs typeface="Arial"/>
            </a:endParaRPr>
          </a:p>
        </p:txBody>
      </p:sp>
    </p:spTree>
    <p:extLst>
      <p:ext uri="{BB962C8B-B14F-4D97-AF65-F5344CB8AC3E}">
        <p14:creationId xmlns:p14="http://schemas.microsoft.com/office/powerpoint/2010/main" val="1946788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ED02B-435F-DF21-C031-9257A746ECF9}"/>
            </a:ext>
          </a:extLst>
        </p:cNvPr>
        <p:cNvGrpSpPr/>
        <p:nvPr/>
      </p:nvGrpSpPr>
      <p:grpSpPr>
        <a:xfrm>
          <a:off x="0" y="0"/>
          <a:ext cx="0" cy="0"/>
          <a:chOff x="0" y="0"/>
          <a:chExt cx="0" cy="0"/>
        </a:xfrm>
      </p:grpSpPr>
      <p:sp>
        <p:nvSpPr>
          <p:cNvPr id="7" name="Google Shape;414;p13">
            <a:extLst>
              <a:ext uri="{FF2B5EF4-FFF2-40B4-BE49-F238E27FC236}">
                <a16:creationId xmlns:a16="http://schemas.microsoft.com/office/drawing/2014/main" id="{C84646E9-748E-60A5-090D-7947F8B718A1}"/>
              </a:ext>
            </a:extLst>
          </p:cNvPr>
          <p:cNvSpPr/>
          <p:nvPr/>
        </p:nvSpPr>
        <p:spPr>
          <a:xfrm>
            <a:off x="368357" y="229076"/>
            <a:ext cx="11686787" cy="561683"/>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defRPr/>
            </a:pPr>
            <a:r>
              <a:rPr lang="el-GR" kern="0">
                <a:solidFill>
                  <a:srgbClr val="002060"/>
                </a:solidFill>
                <a:latin typeface="Arial Black"/>
                <a:ea typeface="Arial Black"/>
                <a:cs typeface="Arial Black"/>
                <a:sym typeface="Arial Black"/>
              </a:rPr>
              <a:t>Εγκαταστάσεις| Στέγαση Διοίκησης Πυροσβεστικών Υπηρεσιών &amp; Πυροσβεστικής Υπηρεσίας</a:t>
            </a:r>
            <a:endParaRPr lang="el-GR" kern="0">
              <a:solidFill>
                <a:srgbClr val="002060"/>
              </a:solidFill>
              <a:latin typeface="Arial Black"/>
              <a:ea typeface="Arial Black"/>
              <a:cs typeface="Arial Black"/>
            </a:endParaRPr>
          </a:p>
        </p:txBody>
      </p:sp>
      <p:cxnSp>
        <p:nvCxnSpPr>
          <p:cNvPr id="9" name="Ευθεία γραμμή σύνδεσης 8">
            <a:extLst>
              <a:ext uri="{FF2B5EF4-FFF2-40B4-BE49-F238E27FC236}">
                <a16:creationId xmlns:a16="http://schemas.microsoft.com/office/drawing/2014/main" id="{2FF443B1-BEFF-3EF2-CFBC-10DB62B1E1E8}"/>
              </a:ext>
            </a:extLst>
          </p:cNvPr>
          <p:cNvCxnSpPr/>
          <p:nvPr/>
        </p:nvCxnSpPr>
        <p:spPr>
          <a:xfrm>
            <a:off x="261643" y="629558"/>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11" name="Google Shape;1275;p29">
            <a:extLst>
              <a:ext uri="{FF2B5EF4-FFF2-40B4-BE49-F238E27FC236}">
                <a16:creationId xmlns:a16="http://schemas.microsoft.com/office/drawing/2014/main" id="{D85E109F-F3EA-71EB-33C2-C8F00F000DE0}"/>
              </a:ext>
            </a:extLst>
          </p:cNvPr>
          <p:cNvSpPr/>
          <p:nvPr/>
        </p:nvSpPr>
        <p:spPr>
          <a:xfrm>
            <a:off x="486304" y="2532641"/>
            <a:ext cx="5184822" cy="2634868"/>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3" name="Google Shape;1282;p29">
            <a:extLst>
              <a:ext uri="{FF2B5EF4-FFF2-40B4-BE49-F238E27FC236}">
                <a16:creationId xmlns:a16="http://schemas.microsoft.com/office/drawing/2014/main" id="{762B8803-0868-CD8F-8568-F7A513BDFE8E}"/>
              </a:ext>
            </a:extLst>
          </p:cNvPr>
          <p:cNvSpPr/>
          <p:nvPr/>
        </p:nvSpPr>
        <p:spPr>
          <a:xfrm>
            <a:off x="484947" y="1501617"/>
            <a:ext cx="5178236" cy="121915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b="1" kern="0" dirty="0">
                <a:solidFill>
                  <a:srgbClr val="002060"/>
                </a:solidFill>
                <a:ea typeface="+mn-lt"/>
                <a:cs typeface="+mn-lt"/>
                <a:sym typeface="Arial"/>
              </a:rPr>
              <a:t>Στέγαση Διοίκησης Πυροσβεστικών Υπηρεσιών </a:t>
            </a:r>
            <a:r>
              <a:rPr lang="el-GR" b="1" kern="0" dirty="0">
                <a:solidFill>
                  <a:srgbClr val="00B0F0"/>
                </a:solidFill>
                <a:ea typeface="+mn-lt"/>
                <a:cs typeface="+mn-lt"/>
                <a:sym typeface="Arial"/>
              </a:rPr>
              <a:t>Π.Ε. Γρεβενών</a:t>
            </a:r>
            <a:r>
              <a:rPr lang="el-GR" b="1" kern="0" dirty="0">
                <a:solidFill>
                  <a:srgbClr val="002060"/>
                </a:solidFill>
                <a:ea typeface="+mn-lt"/>
                <a:cs typeface="+mn-lt"/>
                <a:sym typeface="Arial"/>
              </a:rPr>
              <a:t> &amp; Πυροσβεστικής Υπηρεσίας Γρεβενών</a:t>
            </a:r>
            <a:endParaRPr lang="el-GR" dirty="0"/>
          </a:p>
        </p:txBody>
      </p:sp>
      <p:sp>
        <p:nvSpPr>
          <p:cNvPr id="15" name="Ορθογώνιο 14">
            <a:extLst>
              <a:ext uri="{FF2B5EF4-FFF2-40B4-BE49-F238E27FC236}">
                <a16:creationId xmlns:a16="http://schemas.microsoft.com/office/drawing/2014/main" id="{3953F643-57AF-C24E-E8AB-9CD1FD8A8D0D}"/>
              </a:ext>
            </a:extLst>
          </p:cNvPr>
          <p:cNvSpPr/>
          <p:nvPr/>
        </p:nvSpPr>
        <p:spPr>
          <a:xfrm>
            <a:off x="841155" y="3906673"/>
            <a:ext cx="4665098" cy="738664"/>
          </a:xfrm>
          <a:prstGeom prst="rect">
            <a:avLst/>
          </a:prstGeom>
        </p:spPr>
        <p:txBody>
          <a:bodyPr wrap="square" lIns="91440" tIns="45720" rIns="91440" bIns="45720" anchor="t">
            <a:spAutoFit/>
          </a:bodyPr>
          <a:lstStyle/>
          <a:p>
            <a:r>
              <a:rPr lang="el-GR" sz="1400" b="1" kern="0" dirty="0">
                <a:solidFill>
                  <a:srgbClr val="002060"/>
                </a:solidFill>
                <a:cs typeface="Arial"/>
              </a:rPr>
              <a:t>Πρόοδος υλοποίησης:</a:t>
            </a:r>
            <a:r>
              <a:rPr lang="el-GR" sz="1400" kern="0" dirty="0">
                <a:solidFill>
                  <a:srgbClr val="002060"/>
                </a:solidFill>
                <a:cs typeface="Arial"/>
              </a:rPr>
              <a:t> Η πράξη βρίσκεται στο στάδιο της ολοκλήρωσης των απαραίτητων ενεργειών για την τελική παραχώρηση του χώρου στέγασης. </a:t>
            </a:r>
          </a:p>
        </p:txBody>
      </p:sp>
      <p:sp>
        <p:nvSpPr>
          <p:cNvPr id="16" name="Ορθογώνιο 15">
            <a:extLst>
              <a:ext uri="{FF2B5EF4-FFF2-40B4-BE49-F238E27FC236}">
                <a16:creationId xmlns:a16="http://schemas.microsoft.com/office/drawing/2014/main" id="{C853DC82-89E3-CE98-035A-A9D6A87D2D90}"/>
              </a:ext>
            </a:extLst>
          </p:cNvPr>
          <p:cNvSpPr/>
          <p:nvPr/>
        </p:nvSpPr>
        <p:spPr>
          <a:xfrm>
            <a:off x="841155" y="2793752"/>
            <a:ext cx="4825519" cy="954107"/>
          </a:xfrm>
          <a:prstGeom prst="rect">
            <a:avLst/>
          </a:prstGeom>
        </p:spPr>
        <p:txBody>
          <a:bodyPr wrap="square" lIns="91440" tIns="45720" rIns="91440" bIns="45720" anchor="t">
            <a:spAutoFit/>
          </a:bodyPr>
          <a:lstStyle/>
          <a:p>
            <a:r>
              <a:rPr lang="el-GR" sz="1400" kern="0" dirty="0">
                <a:solidFill>
                  <a:srgbClr val="002060"/>
                </a:solidFill>
                <a:cs typeface="Arial"/>
              </a:rPr>
              <a:t>Με απόφαση του Δ.Σ. του Ελληνικού Γεωργικού Οργανισμού (ΕΛ.ΓΟ.) ΔΗΜΗΤΡΑ έγινε αποδεκτή η παραχώρηση κτηρίου που θα στεγάσει τις Υπηρεσίες του Πυροσβεστικού. </a:t>
            </a:r>
            <a:endParaRPr lang="el-GR" dirty="0">
              <a:cs typeface="Arial"/>
            </a:endParaRPr>
          </a:p>
        </p:txBody>
      </p:sp>
      <p:sp>
        <p:nvSpPr>
          <p:cNvPr id="17" name="Google Shape;1275;p29">
            <a:extLst>
              <a:ext uri="{FF2B5EF4-FFF2-40B4-BE49-F238E27FC236}">
                <a16:creationId xmlns:a16="http://schemas.microsoft.com/office/drawing/2014/main" id="{C390D075-8BDF-E5C3-E2C1-733C73D6649B}"/>
              </a:ext>
            </a:extLst>
          </p:cNvPr>
          <p:cNvSpPr/>
          <p:nvPr/>
        </p:nvSpPr>
        <p:spPr>
          <a:xfrm>
            <a:off x="6301567" y="2562720"/>
            <a:ext cx="5184822" cy="2634868"/>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8" name="Google Shape;1282;p29">
            <a:extLst>
              <a:ext uri="{FF2B5EF4-FFF2-40B4-BE49-F238E27FC236}">
                <a16:creationId xmlns:a16="http://schemas.microsoft.com/office/drawing/2014/main" id="{15C338DC-C1EB-DFB7-E502-BDFEE4E7517C}"/>
              </a:ext>
            </a:extLst>
          </p:cNvPr>
          <p:cNvSpPr/>
          <p:nvPr/>
        </p:nvSpPr>
        <p:spPr>
          <a:xfrm>
            <a:off x="6300210" y="1531696"/>
            <a:ext cx="5178236" cy="121915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b="1" kern="0">
                <a:solidFill>
                  <a:srgbClr val="002060"/>
                </a:solidFill>
                <a:ea typeface="+mn-lt"/>
                <a:cs typeface="+mn-lt"/>
                <a:sym typeface="Arial"/>
              </a:rPr>
              <a:t>Στέγαση Διοίκησης Πυροσβεστικών Υπηρεσιών </a:t>
            </a:r>
            <a:r>
              <a:rPr lang="el-GR" b="1" kern="0">
                <a:solidFill>
                  <a:srgbClr val="00B0F0"/>
                </a:solidFill>
                <a:ea typeface="+mn-lt"/>
                <a:cs typeface="+mn-lt"/>
                <a:sym typeface="Arial"/>
              </a:rPr>
              <a:t>Π.Ε. Καστοριάς </a:t>
            </a:r>
            <a:r>
              <a:rPr lang="el-GR" b="1" kern="0">
                <a:solidFill>
                  <a:srgbClr val="002060"/>
                </a:solidFill>
                <a:ea typeface="+mn-lt"/>
                <a:cs typeface="+mn-lt"/>
                <a:sym typeface="Arial"/>
              </a:rPr>
              <a:t>&amp; Πυροσβεστικής Υπηρεσίας Καστοριάς</a:t>
            </a:r>
            <a:endParaRPr lang="el-GR"/>
          </a:p>
        </p:txBody>
      </p:sp>
      <p:sp>
        <p:nvSpPr>
          <p:cNvPr id="19" name="Ορθογώνιο 18">
            <a:extLst>
              <a:ext uri="{FF2B5EF4-FFF2-40B4-BE49-F238E27FC236}">
                <a16:creationId xmlns:a16="http://schemas.microsoft.com/office/drawing/2014/main" id="{D18F7219-103A-C31E-7FBB-93F508DAABBC}"/>
              </a:ext>
            </a:extLst>
          </p:cNvPr>
          <p:cNvSpPr/>
          <p:nvPr/>
        </p:nvSpPr>
        <p:spPr>
          <a:xfrm>
            <a:off x="6656895" y="3906673"/>
            <a:ext cx="4665098" cy="738664"/>
          </a:xfrm>
          <a:prstGeom prst="rect">
            <a:avLst/>
          </a:prstGeom>
        </p:spPr>
        <p:txBody>
          <a:bodyPr wrap="square" lIns="91440" tIns="45720" rIns="91440" bIns="45720" anchor="t">
            <a:spAutoFit/>
          </a:bodyPr>
          <a:lstStyle/>
          <a:p>
            <a:r>
              <a:rPr lang="el-GR" sz="1400" b="1" kern="0">
                <a:solidFill>
                  <a:srgbClr val="002060"/>
                </a:solidFill>
                <a:cs typeface="Arial"/>
              </a:rPr>
              <a:t>Πρόοδος υλοποίησης: </a:t>
            </a:r>
            <a:r>
              <a:rPr lang="el-GR" sz="1400" kern="0">
                <a:solidFill>
                  <a:srgbClr val="002060"/>
                </a:solidFill>
                <a:cs typeface="Arial"/>
              </a:rPr>
              <a:t>Η πράξη βρίσκεται στο στάδιο της ολοκλήρωσης των απαραίτητων ενεργειών για την τελική παραχώρηση του χώρου στέγασης. </a:t>
            </a:r>
          </a:p>
        </p:txBody>
      </p:sp>
      <p:sp>
        <p:nvSpPr>
          <p:cNvPr id="20" name="Ορθογώνιο 19">
            <a:extLst>
              <a:ext uri="{FF2B5EF4-FFF2-40B4-BE49-F238E27FC236}">
                <a16:creationId xmlns:a16="http://schemas.microsoft.com/office/drawing/2014/main" id="{9004FAE0-9DBD-AC67-21B7-5FB6835CBF8B}"/>
              </a:ext>
            </a:extLst>
          </p:cNvPr>
          <p:cNvSpPr/>
          <p:nvPr/>
        </p:nvSpPr>
        <p:spPr>
          <a:xfrm>
            <a:off x="6656418" y="2823831"/>
            <a:ext cx="4825519" cy="1231106"/>
          </a:xfrm>
          <a:prstGeom prst="rect">
            <a:avLst/>
          </a:prstGeom>
        </p:spPr>
        <p:txBody>
          <a:bodyPr wrap="square" lIns="91440" tIns="45720" rIns="91440" bIns="45720" anchor="t">
            <a:spAutoFit/>
          </a:bodyPr>
          <a:lstStyle/>
          <a:p>
            <a:r>
              <a:rPr lang="el-GR" sz="1400" kern="0" dirty="0">
                <a:solidFill>
                  <a:srgbClr val="002060"/>
                </a:solidFill>
                <a:cs typeface="Arial"/>
              </a:rPr>
              <a:t>Με απόφαση της Διεύθυνσης Δασών Καστοριάς εγκρίθηκε άδεια επέμβασης σε δημόσια έκταση για την ανέγερση σύγχρονου κτηρίου που θα στεγάσει τις ανωτέρω Υπηρεσίες του Πυροσβεστικού Σώματος.  </a:t>
            </a:r>
            <a:endParaRPr lang="el-GR" dirty="0">
              <a:solidFill>
                <a:srgbClr val="000000"/>
              </a:solidFill>
              <a:cs typeface="Arial"/>
            </a:endParaRPr>
          </a:p>
          <a:p>
            <a:endParaRPr lang="el-GR" dirty="0">
              <a:cs typeface="Arial"/>
            </a:endParaRPr>
          </a:p>
        </p:txBody>
      </p:sp>
    </p:spTree>
    <p:extLst>
      <p:ext uri="{BB962C8B-B14F-4D97-AF65-F5344CB8AC3E}">
        <p14:creationId xmlns:p14="http://schemas.microsoft.com/office/powerpoint/2010/main" val="16961393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9C5856-9D0D-1432-2B64-C743BB072A19}"/>
              </a:ext>
            </a:extLst>
          </p:cNvPr>
          <p:cNvSpPr txBox="1"/>
          <p:nvPr/>
        </p:nvSpPr>
        <p:spPr>
          <a:xfrm>
            <a:off x="1324091" y="2981496"/>
            <a:ext cx="10529453"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Υπουργείο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  </a:t>
            </a: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Προστασίας του Πολίτη</a:t>
            </a:r>
          </a:p>
        </p:txBody>
      </p:sp>
    </p:spTree>
    <p:extLst>
      <p:ext uri="{BB962C8B-B14F-4D97-AF65-F5344CB8AC3E}">
        <p14:creationId xmlns:p14="http://schemas.microsoft.com/office/powerpoint/2010/main" val="35200121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414;p13">
            <a:extLst>
              <a:ext uri="{FF2B5EF4-FFF2-40B4-BE49-F238E27FC236}">
                <a16:creationId xmlns:a16="http://schemas.microsoft.com/office/drawing/2014/main" id="{42D900E0-5A42-1464-131C-4705BC1B352D}"/>
              </a:ext>
            </a:extLst>
          </p:cNvPr>
          <p:cNvSpPr/>
          <p:nvPr/>
        </p:nvSpPr>
        <p:spPr>
          <a:xfrm>
            <a:off x="779435" y="158892"/>
            <a:ext cx="11416078"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defRPr/>
            </a:pPr>
            <a:r>
              <a:rPr lang="el-GR" sz="3300" kern="0" dirty="0">
                <a:solidFill>
                  <a:srgbClr val="002060"/>
                </a:solidFill>
                <a:latin typeface="Arial Black"/>
                <a:ea typeface="Arial Black"/>
                <a:cs typeface="Arial Black"/>
                <a:sym typeface="Arial Black"/>
              </a:rPr>
              <a:t>Σχολές Αστυφυλάκων</a:t>
            </a:r>
          </a:p>
        </p:txBody>
      </p:sp>
      <p:cxnSp>
        <p:nvCxnSpPr>
          <p:cNvPr id="9" name="Ευθεία γραμμή σύνδεσης 8">
            <a:extLst>
              <a:ext uri="{FF2B5EF4-FFF2-40B4-BE49-F238E27FC236}">
                <a16:creationId xmlns:a16="http://schemas.microsoft.com/office/drawing/2014/main" id="{5ECA43F3-3FAD-36CA-E98A-E323079492A9}"/>
              </a:ext>
            </a:extLst>
          </p:cNvPr>
          <p:cNvCxnSpPr/>
          <p:nvPr/>
        </p:nvCxnSpPr>
        <p:spPr>
          <a:xfrm>
            <a:off x="381959" y="749874"/>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11" name="Google Shape;1275;p29">
            <a:extLst>
              <a:ext uri="{FF2B5EF4-FFF2-40B4-BE49-F238E27FC236}">
                <a16:creationId xmlns:a16="http://schemas.microsoft.com/office/drawing/2014/main" id="{3CEBBD6B-5994-26D3-8431-8EC598A1A63E}"/>
              </a:ext>
            </a:extLst>
          </p:cNvPr>
          <p:cNvSpPr/>
          <p:nvPr/>
        </p:nvSpPr>
        <p:spPr>
          <a:xfrm>
            <a:off x="1498960" y="2592800"/>
            <a:ext cx="3530482" cy="268500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3" name="Google Shape;1282;p29">
            <a:extLst>
              <a:ext uri="{FF2B5EF4-FFF2-40B4-BE49-F238E27FC236}">
                <a16:creationId xmlns:a16="http://schemas.microsoft.com/office/drawing/2014/main" id="{56AC5970-CEC5-504B-C824-73718DA2C925}"/>
              </a:ext>
            </a:extLst>
          </p:cNvPr>
          <p:cNvSpPr/>
          <p:nvPr/>
        </p:nvSpPr>
        <p:spPr>
          <a:xfrm>
            <a:off x="1658026" y="1591854"/>
            <a:ext cx="3203053" cy="121915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b="1" kern="0" dirty="0">
                <a:solidFill>
                  <a:srgbClr val="002060"/>
                </a:solidFill>
                <a:latin typeface="Arial"/>
                <a:ea typeface="Calibri"/>
                <a:cs typeface="Calibri"/>
              </a:rPr>
              <a:t>Ίδρυση Τμήματος Δοκίμων Αστυφυλάκων στην </a:t>
            </a:r>
            <a:r>
              <a:rPr lang="el-GR" b="1" kern="0" dirty="0">
                <a:solidFill>
                  <a:srgbClr val="00B0F0"/>
                </a:solidFill>
                <a:latin typeface="Arial"/>
                <a:ea typeface="Calibri"/>
                <a:cs typeface="Calibri"/>
              </a:rPr>
              <a:t>Καστοριά</a:t>
            </a:r>
            <a:endParaRPr lang="el-GR" b="1" kern="0" dirty="0">
              <a:solidFill>
                <a:srgbClr val="FF0000"/>
              </a:solidFill>
              <a:latin typeface="Arial"/>
              <a:ea typeface="Calibri"/>
              <a:cs typeface="Calibri"/>
            </a:endParaRPr>
          </a:p>
        </p:txBody>
      </p:sp>
      <p:sp>
        <p:nvSpPr>
          <p:cNvPr id="15" name="Ορθογώνιο 14">
            <a:extLst>
              <a:ext uri="{FF2B5EF4-FFF2-40B4-BE49-F238E27FC236}">
                <a16:creationId xmlns:a16="http://schemas.microsoft.com/office/drawing/2014/main" id="{67F6C22B-9095-D61A-B9A9-21811407917C}"/>
              </a:ext>
            </a:extLst>
          </p:cNvPr>
          <p:cNvSpPr/>
          <p:nvPr/>
        </p:nvSpPr>
        <p:spPr>
          <a:xfrm>
            <a:off x="1573076" y="3740046"/>
            <a:ext cx="3201257" cy="738664"/>
          </a:xfrm>
          <a:prstGeom prst="rect">
            <a:avLst/>
          </a:prstGeom>
        </p:spPr>
        <p:txBody>
          <a:bodyPr wrap="square" lIns="91440" tIns="45720" rIns="91440" bIns="45720" anchor="t">
            <a:spAutoFit/>
          </a:bodyPr>
          <a:lstStyle/>
          <a:p>
            <a:pPr algn="just"/>
            <a:r>
              <a:rPr lang="el-GR" sz="1400" b="1" kern="0" dirty="0">
                <a:solidFill>
                  <a:srgbClr val="002060"/>
                </a:solidFill>
                <a:latin typeface="Calibri"/>
                <a:ea typeface="Calibri"/>
                <a:cs typeface="Calibri"/>
              </a:rPr>
              <a:t>Πρόοδος υλοποίησης</a:t>
            </a:r>
            <a:r>
              <a:rPr lang="el-GR" sz="1400" kern="0" dirty="0">
                <a:solidFill>
                  <a:srgbClr val="002060"/>
                </a:solidFill>
                <a:latin typeface="Calibri"/>
                <a:ea typeface="Calibri"/>
                <a:cs typeface="Calibri"/>
              </a:rPr>
              <a:t>: Υπεγράφη το Προεδρικό Διάταγμα για τη Σχολή Αστυφυλάκων </a:t>
            </a:r>
          </a:p>
        </p:txBody>
      </p:sp>
      <p:sp>
        <p:nvSpPr>
          <p:cNvPr id="17" name="Ορθογώνιο 16">
            <a:extLst>
              <a:ext uri="{FF2B5EF4-FFF2-40B4-BE49-F238E27FC236}">
                <a16:creationId xmlns:a16="http://schemas.microsoft.com/office/drawing/2014/main" id="{BA1EACE6-BB19-CE5C-3D77-9E423585D9E4}"/>
              </a:ext>
            </a:extLst>
          </p:cNvPr>
          <p:cNvSpPr/>
          <p:nvPr/>
        </p:nvSpPr>
        <p:spPr>
          <a:xfrm>
            <a:off x="1573076" y="2904041"/>
            <a:ext cx="2567688" cy="307777"/>
          </a:xfrm>
          <a:prstGeom prst="rect">
            <a:avLst/>
          </a:prstGeom>
        </p:spPr>
        <p:txBody>
          <a:bodyPr wrap="square" lIns="91440" tIns="45720" rIns="91440" bIns="45720" anchor="t">
            <a:spAutoFit/>
          </a:bodyPr>
          <a:lstStyle/>
          <a:p>
            <a:pPr algn="just"/>
            <a:r>
              <a:rPr lang="el-GR" sz="1400" b="1" kern="0" dirty="0">
                <a:solidFill>
                  <a:srgbClr val="242852"/>
                </a:solidFill>
                <a:latin typeface="Calibri"/>
                <a:ea typeface="Calibri"/>
                <a:cs typeface="Calibri"/>
              </a:rPr>
              <a:t>Π/Υ : 8 – 9 εκατ. €</a:t>
            </a:r>
            <a:endParaRPr lang="el-GR" b="1" dirty="0">
              <a:solidFill>
                <a:srgbClr val="000000"/>
              </a:solidFill>
              <a:latin typeface="Calibri"/>
              <a:ea typeface="Calibri"/>
              <a:cs typeface="Calibri"/>
            </a:endParaRPr>
          </a:p>
        </p:txBody>
      </p:sp>
      <p:sp>
        <p:nvSpPr>
          <p:cNvPr id="6" name="Google Shape;1275;p29">
            <a:extLst>
              <a:ext uri="{FF2B5EF4-FFF2-40B4-BE49-F238E27FC236}">
                <a16:creationId xmlns:a16="http://schemas.microsoft.com/office/drawing/2014/main" id="{67DE8A3C-454E-284E-65D4-BE6A995FF015}"/>
              </a:ext>
            </a:extLst>
          </p:cNvPr>
          <p:cNvSpPr/>
          <p:nvPr/>
        </p:nvSpPr>
        <p:spPr>
          <a:xfrm>
            <a:off x="7574907" y="2502562"/>
            <a:ext cx="3530482" cy="3336709"/>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8" name="Google Shape;1282;p29">
            <a:extLst>
              <a:ext uri="{FF2B5EF4-FFF2-40B4-BE49-F238E27FC236}">
                <a16:creationId xmlns:a16="http://schemas.microsoft.com/office/drawing/2014/main" id="{B7A28AEC-C2B9-CA8C-583E-0849D82190B5}"/>
              </a:ext>
            </a:extLst>
          </p:cNvPr>
          <p:cNvSpPr/>
          <p:nvPr/>
        </p:nvSpPr>
        <p:spPr>
          <a:xfrm>
            <a:off x="7366785" y="1466733"/>
            <a:ext cx="3767641" cy="1219160"/>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b="1" kern="0" dirty="0">
                <a:solidFill>
                  <a:srgbClr val="002060"/>
                </a:solidFill>
                <a:latin typeface="Arial"/>
                <a:ea typeface="Calibri"/>
                <a:cs typeface="Calibri"/>
              </a:rPr>
              <a:t>Επαναλειτουργία Τμήματος Δοκίμων Αστυφυλάκων στα </a:t>
            </a:r>
            <a:r>
              <a:rPr lang="el-GR" b="1" kern="0" dirty="0">
                <a:solidFill>
                  <a:srgbClr val="00B0F0"/>
                </a:solidFill>
                <a:latin typeface="Arial"/>
                <a:ea typeface="Calibri"/>
                <a:cs typeface="Calibri"/>
              </a:rPr>
              <a:t>Γρεβενά</a:t>
            </a:r>
          </a:p>
        </p:txBody>
      </p:sp>
      <p:sp>
        <p:nvSpPr>
          <p:cNvPr id="12" name="Ορθογώνιο 11">
            <a:extLst>
              <a:ext uri="{FF2B5EF4-FFF2-40B4-BE49-F238E27FC236}">
                <a16:creationId xmlns:a16="http://schemas.microsoft.com/office/drawing/2014/main" id="{6CD7C697-0F67-9D5E-E9E6-6017710DF89E}"/>
              </a:ext>
            </a:extLst>
          </p:cNvPr>
          <p:cNvSpPr/>
          <p:nvPr/>
        </p:nvSpPr>
        <p:spPr>
          <a:xfrm>
            <a:off x="7659049" y="2708288"/>
            <a:ext cx="3193617" cy="523220"/>
          </a:xfrm>
          <a:prstGeom prst="rect">
            <a:avLst/>
          </a:prstGeom>
        </p:spPr>
        <p:txBody>
          <a:bodyPr wrap="square" lIns="91440" tIns="45720" rIns="91440" bIns="45720" anchor="t">
            <a:spAutoFit/>
          </a:bodyPr>
          <a:lstStyle/>
          <a:p>
            <a:pPr algn="just"/>
            <a:r>
              <a:rPr lang="el-GR" sz="1400" b="1" kern="0">
                <a:solidFill>
                  <a:srgbClr val="242852"/>
                </a:solidFill>
                <a:latin typeface="Calibri"/>
                <a:ea typeface="Calibri"/>
                <a:cs typeface="Calibri"/>
              </a:rPr>
              <a:t>Π/Υ : 950.000 €</a:t>
            </a:r>
          </a:p>
          <a:p>
            <a:pPr algn="just"/>
            <a:r>
              <a:rPr lang="el-GR" sz="1400" kern="0">
                <a:solidFill>
                  <a:srgbClr val="242852"/>
                </a:solidFill>
                <a:ea typeface="Calibri"/>
                <a:cs typeface="Calibri"/>
              </a:rPr>
              <a:t>Εκτιμώμενη ολοκλήρωση: 2025</a:t>
            </a:r>
            <a:endParaRPr lang="en-US" sz="1400" kern="0">
              <a:solidFill>
                <a:srgbClr val="242852"/>
              </a:solidFill>
              <a:ea typeface="Calibri"/>
              <a:cs typeface="Calibri"/>
            </a:endParaRPr>
          </a:p>
        </p:txBody>
      </p:sp>
      <p:sp>
        <p:nvSpPr>
          <p:cNvPr id="14" name="Ορθογώνιο 13">
            <a:extLst>
              <a:ext uri="{FF2B5EF4-FFF2-40B4-BE49-F238E27FC236}">
                <a16:creationId xmlns:a16="http://schemas.microsoft.com/office/drawing/2014/main" id="{FB6DE809-C670-68FC-DE37-5EFF04F2EACB}"/>
              </a:ext>
            </a:extLst>
          </p:cNvPr>
          <p:cNvSpPr/>
          <p:nvPr/>
        </p:nvSpPr>
        <p:spPr>
          <a:xfrm>
            <a:off x="7659049" y="4326347"/>
            <a:ext cx="3201257" cy="1384995"/>
          </a:xfrm>
          <a:prstGeom prst="rect">
            <a:avLst/>
          </a:prstGeom>
        </p:spPr>
        <p:txBody>
          <a:bodyPr wrap="square" lIns="91440" tIns="45720" rIns="91440" bIns="45720" anchor="t">
            <a:spAutoFit/>
          </a:bodyPr>
          <a:lstStyle/>
          <a:p>
            <a:pPr algn="just"/>
            <a:r>
              <a:rPr lang="el-GR" sz="1400" kern="0">
                <a:solidFill>
                  <a:srgbClr val="002060"/>
                </a:solidFill>
                <a:latin typeface="Calibri"/>
                <a:ea typeface="Calibri"/>
                <a:cs typeface="Calibri"/>
              </a:rPr>
              <a:t>Πρόοδος υλοποίησης: Η δράση υλοποιείται από τη Δ/</a:t>
            </a:r>
            <a:r>
              <a:rPr lang="el-GR" sz="1400" kern="0" err="1">
                <a:solidFill>
                  <a:srgbClr val="002060"/>
                </a:solidFill>
                <a:latin typeface="Calibri"/>
                <a:ea typeface="Calibri"/>
                <a:cs typeface="Calibri"/>
              </a:rPr>
              <a:t>νση</a:t>
            </a:r>
            <a:r>
              <a:rPr lang="el-GR" sz="1400" kern="0">
                <a:solidFill>
                  <a:srgbClr val="002060"/>
                </a:solidFill>
                <a:latin typeface="Calibri"/>
                <a:ea typeface="Calibri"/>
                <a:cs typeface="Calibri"/>
              </a:rPr>
              <a:t> Τεχνικών Υπηρεσιών της Περιφέρειας Δυτικής Μακεδονίας. Έχει δημοσιευθεί διαγωνισμός με λήξη προθεσμίας προσφορών τον Οκτώβριο 2024. </a:t>
            </a:r>
          </a:p>
        </p:txBody>
      </p:sp>
      <p:sp>
        <p:nvSpPr>
          <p:cNvPr id="16" name="Ορθογώνιο 15">
            <a:extLst>
              <a:ext uri="{FF2B5EF4-FFF2-40B4-BE49-F238E27FC236}">
                <a16:creationId xmlns:a16="http://schemas.microsoft.com/office/drawing/2014/main" id="{806761AA-C4AC-4897-4589-03237A753379}"/>
              </a:ext>
            </a:extLst>
          </p:cNvPr>
          <p:cNvSpPr/>
          <p:nvPr/>
        </p:nvSpPr>
        <p:spPr>
          <a:xfrm>
            <a:off x="7649978" y="3163293"/>
            <a:ext cx="3201257" cy="1169551"/>
          </a:xfrm>
          <a:prstGeom prst="rect">
            <a:avLst/>
          </a:prstGeom>
        </p:spPr>
        <p:txBody>
          <a:bodyPr wrap="square" lIns="91440" tIns="45720" rIns="91440" bIns="45720" anchor="t">
            <a:spAutoFit/>
          </a:bodyPr>
          <a:lstStyle/>
          <a:p>
            <a:pPr algn="just"/>
            <a:r>
              <a:rPr lang="el-GR" sz="1400" kern="0" dirty="0">
                <a:solidFill>
                  <a:srgbClr val="002060"/>
                </a:solidFill>
                <a:ea typeface="+mn-lt"/>
                <a:cs typeface="+mn-lt"/>
              </a:rPr>
              <a:t>Εργασίες παρέμβασης για την αποπεράτωση του 2</a:t>
            </a:r>
            <a:r>
              <a:rPr lang="el-GR" sz="1400" kern="0" baseline="30000" dirty="0">
                <a:solidFill>
                  <a:srgbClr val="002060"/>
                </a:solidFill>
                <a:ea typeface="+mn-lt"/>
                <a:cs typeface="+mn-lt"/>
              </a:rPr>
              <a:t>ου</a:t>
            </a:r>
            <a:r>
              <a:rPr lang="el-GR" sz="1400" kern="0" dirty="0">
                <a:solidFill>
                  <a:srgbClr val="002060"/>
                </a:solidFill>
                <a:ea typeface="+mn-lt"/>
                <a:cs typeface="+mn-lt"/>
              </a:rPr>
              <a:t> ορόφου του νέου κτιρίου που στεγάζεται το Τμήμα Δοκίμων Αστυφυλάκων Γρεβενών (</a:t>
            </a:r>
            <a:r>
              <a:rPr lang="el-GR" sz="1400" b="1" kern="0" dirty="0">
                <a:solidFill>
                  <a:srgbClr val="002060"/>
                </a:solidFill>
                <a:ea typeface="+mn-lt"/>
                <a:cs typeface="+mn-lt"/>
              </a:rPr>
              <a:t>Στέγαση 180-200 Εκπαιδευομένων</a:t>
            </a:r>
            <a:r>
              <a:rPr lang="el-GR" sz="1400" kern="0" dirty="0">
                <a:solidFill>
                  <a:srgbClr val="002060"/>
                </a:solidFill>
                <a:ea typeface="+mn-lt"/>
                <a:cs typeface="+mn-lt"/>
              </a:rPr>
              <a:t>)</a:t>
            </a:r>
            <a:r>
              <a:rPr lang="el-GR" sz="1400" kern="0" dirty="0">
                <a:solidFill>
                  <a:srgbClr val="242852"/>
                </a:solidFill>
                <a:ea typeface="+mn-lt"/>
                <a:cs typeface="+mn-lt"/>
              </a:rPr>
              <a:t> </a:t>
            </a:r>
            <a:endParaRPr lang="el-GR" dirty="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9C5856-9D0D-1432-2B64-C743BB072A19}"/>
              </a:ext>
            </a:extLst>
          </p:cNvPr>
          <p:cNvSpPr txBox="1"/>
          <p:nvPr/>
        </p:nvSpPr>
        <p:spPr>
          <a:xfrm>
            <a:off x="1211588" y="2786038"/>
            <a:ext cx="10529453"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Υπουργείο Υγείας</a:t>
            </a:r>
            <a:endParaRPr kumimoji="0" lang="x-none"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endParaRPr>
          </a:p>
        </p:txBody>
      </p:sp>
    </p:spTree>
    <p:extLst>
      <p:ext uri="{BB962C8B-B14F-4D97-AF65-F5344CB8AC3E}">
        <p14:creationId xmlns:p14="http://schemas.microsoft.com/office/powerpoint/2010/main" val="37913066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414;p13">
            <a:extLst>
              <a:ext uri="{FF2B5EF4-FFF2-40B4-BE49-F238E27FC236}">
                <a16:creationId xmlns:a16="http://schemas.microsoft.com/office/drawing/2014/main" id="{FFD9B3FF-8EBD-16B4-056A-3F13C0471384}"/>
              </a:ext>
            </a:extLst>
          </p:cNvPr>
          <p:cNvSpPr/>
          <p:nvPr/>
        </p:nvSpPr>
        <p:spPr>
          <a:xfrm>
            <a:off x="338278" y="309287"/>
            <a:ext cx="11676761" cy="371184"/>
          </a:xfrm>
          <a:prstGeom prst="rect">
            <a:avLst/>
          </a:prstGeom>
          <a:noFill/>
          <a:ln>
            <a:noFill/>
          </a:ln>
        </p:spPr>
        <p:txBody>
          <a:bodyPr spcFirstLastPara="1" wrap="square" lIns="0" tIns="0" rIns="0" bIns="0" anchor="t" anchorCtr="0">
            <a:noAutofit/>
          </a:bodyPr>
          <a:lstStyle/>
          <a:p>
            <a:pPr defTabSz="609630">
              <a:lnSpc>
                <a:spcPct val="117222"/>
              </a:lnSpc>
              <a:defRPr/>
            </a:pPr>
            <a:r>
              <a:rPr lang="el-GR" sz="2500" kern="0">
                <a:solidFill>
                  <a:srgbClr val="002060"/>
                </a:solidFill>
                <a:latin typeface="Arial Black"/>
                <a:cs typeface="Arial"/>
                <a:sym typeface="Arial Black"/>
              </a:rPr>
              <a:t>Περιφέρεια Δυτικής Μακεδονίας</a:t>
            </a:r>
            <a:endParaRPr lang="el-GR">
              <a:latin typeface="Arial Black"/>
              <a:ea typeface="Calibri"/>
              <a:cs typeface="Calibri"/>
            </a:endParaRPr>
          </a:p>
        </p:txBody>
      </p:sp>
      <p:cxnSp>
        <p:nvCxnSpPr>
          <p:cNvPr id="9" name="Ευθεία γραμμή σύνδεσης 8">
            <a:extLst>
              <a:ext uri="{FF2B5EF4-FFF2-40B4-BE49-F238E27FC236}">
                <a16:creationId xmlns:a16="http://schemas.microsoft.com/office/drawing/2014/main" id="{8B3AF0DF-04BF-5D85-4A1D-E40D68BC5A41}"/>
              </a:ext>
            </a:extLst>
          </p:cNvPr>
          <p:cNvCxnSpPr/>
          <p:nvPr/>
        </p:nvCxnSpPr>
        <p:spPr>
          <a:xfrm>
            <a:off x="341854" y="850137"/>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11" name="Google Shape;1275;p29">
            <a:extLst>
              <a:ext uri="{FF2B5EF4-FFF2-40B4-BE49-F238E27FC236}">
                <a16:creationId xmlns:a16="http://schemas.microsoft.com/office/drawing/2014/main" id="{200DB468-9AD7-307B-48D2-E84065ED9B7F}"/>
              </a:ext>
            </a:extLst>
          </p:cNvPr>
          <p:cNvSpPr/>
          <p:nvPr/>
        </p:nvSpPr>
        <p:spPr>
          <a:xfrm>
            <a:off x="1208197" y="2482510"/>
            <a:ext cx="4583247" cy="2263895"/>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3" name="Google Shape;1282;p29">
            <a:extLst>
              <a:ext uri="{FF2B5EF4-FFF2-40B4-BE49-F238E27FC236}">
                <a16:creationId xmlns:a16="http://schemas.microsoft.com/office/drawing/2014/main" id="{FC43719C-3A7E-116D-CC57-776F07595E32}"/>
              </a:ext>
            </a:extLst>
          </p:cNvPr>
          <p:cNvSpPr/>
          <p:nvPr/>
        </p:nvSpPr>
        <p:spPr>
          <a:xfrm>
            <a:off x="1407368" y="1511643"/>
            <a:ext cx="4386158" cy="129936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mn-lt"/>
                <a:cs typeface="+mn-lt"/>
                <a:sym typeface="Arial"/>
              </a:rPr>
              <a:t>Προμήθεια και εγκατάσταση εξοπλισμού Τηλεϊατρικής- Περιφέρειες Δυτικής και Κεντρικής Μακεδονίας, Ανατολικής Μακεδονίας &amp; Θράκης και Κρήτης</a:t>
            </a:r>
            <a:endParaRPr lang="el-GR" sz="1400" b="1">
              <a:solidFill>
                <a:srgbClr val="000000"/>
              </a:solidFill>
              <a:latin typeface="Arial"/>
              <a:ea typeface="Calibri"/>
              <a:cs typeface="Calibri"/>
            </a:endParaRPr>
          </a:p>
        </p:txBody>
      </p:sp>
      <p:sp>
        <p:nvSpPr>
          <p:cNvPr id="15" name="Ορθογώνιο 14">
            <a:extLst>
              <a:ext uri="{FF2B5EF4-FFF2-40B4-BE49-F238E27FC236}">
                <a16:creationId xmlns:a16="http://schemas.microsoft.com/office/drawing/2014/main" id="{3BE62FD4-6A10-2F45-5A04-2847ED1761DF}"/>
              </a:ext>
            </a:extLst>
          </p:cNvPr>
          <p:cNvSpPr/>
          <p:nvPr/>
        </p:nvSpPr>
        <p:spPr>
          <a:xfrm>
            <a:off x="1212129" y="4311544"/>
            <a:ext cx="4695178" cy="307777"/>
          </a:xfrm>
          <a:prstGeom prst="rect">
            <a:avLst/>
          </a:prstGeom>
        </p:spPr>
        <p:txBody>
          <a:bodyPr wrap="square" lIns="91440" tIns="45720" rIns="91440" bIns="45720" anchor="t">
            <a:spAutoFit/>
          </a:bodyPr>
          <a:lstStyle/>
          <a:p>
            <a:pPr algn="just"/>
            <a:r>
              <a:rPr lang="el-GR" sz="1400" b="1" kern="0" dirty="0">
                <a:solidFill>
                  <a:srgbClr val="242852"/>
                </a:solidFill>
                <a:latin typeface="Calibri"/>
                <a:ea typeface="Calibri"/>
                <a:cs typeface="Calibri"/>
              </a:rPr>
              <a:t>Πρόοδος υλοποίησης: </a:t>
            </a:r>
            <a:r>
              <a:rPr lang="el-GR" sz="1400" kern="0" dirty="0">
                <a:solidFill>
                  <a:srgbClr val="242852"/>
                </a:solidFill>
                <a:latin typeface="Calibri"/>
                <a:ea typeface="Calibri"/>
                <a:cs typeface="Calibri"/>
              </a:rPr>
              <a:t>Το έργο βρίσκεται υπό υλοποίηση. </a:t>
            </a:r>
            <a:endParaRPr lang="el-GR" sz="1400" kern="0" dirty="0">
              <a:solidFill>
                <a:srgbClr val="242852"/>
              </a:solidFill>
              <a:ea typeface="Calibri"/>
              <a:cs typeface="Calibri"/>
            </a:endParaRPr>
          </a:p>
        </p:txBody>
      </p:sp>
      <p:sp>
        <p:nvSpPr>
          <p:cNvPr id="17" name="Ορθογώνιο 16">
            <a:extLst>
              <a:ext uri="{FF2B5EF4-FFF2-40B4-BE49-F238E27FC236}">
                <a16:creationId xmlns:a16="http://schemas.microsoft.com/office/drawing/2014/main" id="{10D46CA2-4AD8-E9CB-BCF8-813205E52C71}"/>
              </a:ext>
            </a:extLst>
          </p:cNvPr>
          <p:cNvSpPr/>
          <p:nvPr/>
        </p:nvSpPr>
        <p:spPr>
          <a:xfrm>
            <a:off x="1292339" y="2904040"/>
            <a:ext cx="4825519" cy="523220"/>
          </a:xfrm>
          <a:prstGeom prst="rect">
            <a:avLst/>
          </a:prstGeom>
        </p:spPr>
        <p:txBody>
          <a:bodyPr wrap="square" lIns="91440" tIns="45720" rIns="91440" bIns="45720" anchor="t">
            <a:spAutoFit/>
          </a:bodyPr>
          <a:lstStyle/>
          <a:p>
            <a:pPr algn="just"/>
            <a:r>
              <a:rPr lang="el-GR" sz="1400" b="1" kern="0">
                <a:solidFill>
                  <a:srgbClr val="002060"/>
                </a:solidFill>
                <a:latin typeface="Calibri"/>
                <a:ea typeface="Calibri"/>
                <a:cs typeface="Calibri"/>
              </a:rPr>
              <a:t>Π/Υ : 5,9 εκατ. €</a:t>
            </a:r>
            <a:endParaRPr lang="el-GR" b="1">
              <a:solidFill>
                <a:srgbClr val="002060"/>
              </a:solidFill>
              <a:latin typeface="Calibri"/>
              <a:ea typeface="Calibri"/>
              <a:cs typeface="Calibri"/>
            </a:endParaRPr>
          </a:p>
          <a:p>
            <a:pPr algn="just"/>
            <a:r>
              <a:rPr lang="el-GR" sz="1400" kern="0">
                <a:solidFill>
                  <a:srgbClr val="002060"/>
                </a:solidFill>
                <a:ea typeface="Calibri"/>
                <a:cs typeface="Calibri"/>
              </a:rPr>
              <a:t>Εκτιμώμενη ολοκλήρωση: Οκτώβριος 2025</a:t>
            </a:r>
          </a:p>
        </p:txBody>
      </p:sp>
      <p:sp>
        <p:nvSpPr>
          <p:cNvPr id="18" name="Ορθογώνιο 17">
            <a:extLst>
              <a:ext uri="{FF2B5EF4-FFF2-40B4-BE49-F238E27FC236}">
                <a16:creationId xmlns:a16="http://schemas.microsoft.com/office/drawing/2014/main" id="{C1F424DE-3F95-8701-F974-B7A44E845B6C}"/>
              </a:ext>
            </a:extLst>
          </p:cNvPr>
          <p:cNvSpPr/>
          <p:nvPr/>
        </p:nvSpPr>
        <p:spPr>
          <a:xfrm>
            <a:off x="1292339" y="3359043"/>
            <a:ext cx="4414441" cy="954107"/>
          </a:xfrm>
          <a:prstGeom prst="rect">
            <a:avLst/>
          </a:prstGeom>
        </p:spPr>
        <p:txBody>
          <a:bodyPr wrap="square" lIns="91440" tIns="45720" rIns="91440" bIns="45720" anchor="t">
            <a:spAutoFit/>
          </a:bodyPr>
          <a:lstStyle/>
          <a:p>
            <a:pPr algn="just"/>
            <a:r>
              <a:rPr lang="el-GR" sz="1400" kern="0">
                <a:solidFill>
                  <a:srgbClr val="002060"/>
                </a:solidFill>
                <a:latin typeface="Calibri"/>
                <a:ea typeface="Calibri"/>
                <a:cs typeface="Calibri"/>
              </a:rPr>
              <a:t>Στην Κοζάνη θα τοποθετηθούν ΣΤΙΣ στο Γενικό Νοσοκομείο Πτολεμαΐδας «</a:t>
            </a:r>
            <a:r>
              <a:rPr lang="el-GR" sz="1400" kern="0" err="1">
                <a:solidFill>
                  <a:srgbClr val="002060"/>
                </a:solidFill>
                <a:latin typeface="Calibri"/>
                <a:ea typeface="Calibri"/>
                <a:cs typeface="Calibri"/>
              </a:rPr>
              <a:t>Μποδοσάκειο</a:t>
            </a:r>
            <a:r>
              <a:rPr lang="el-GR" sz="1400" kern="0">
                <a:solidFill>
                  <a:srgbClr val="002060"/>
                </a:solidFill>
                <a:latin typeface="Calibri"/>
                <a:ea typeface="Calibri"/>
                <a:cs typeface="Calibri"/>
              </a:rPr>
              <a:t>» και ΣΤΙΑ στα Κέντρα Υγείας </a:t>
            </a:r>
            <a:r>
              <a:rPr lang="el-GR" sz="1400" kern="0" err="1">
                <a:solidFill>
                  <a:srgbClr val="002060"/>
                </a:solidFill>
                <a:latin typeface="Calibri"/>
                <a:ea typeface="Calibri"/>
                <a:cs typeface="Calibri"/>
              </a:rPr>
              <a:t>Σερβίων</a:t>
            </a:r>
            <a:r>
              <a:rPr lang="el-GR" sz="1400" kern="0">
                <a:solidFill>
                  <a:srgbClr val="002060"/>
                </a:solidFill>
                <a:latin typeface="Calibri"/>
                <a:ea typeface="Calibri"/>
                <a:cs typeface="Calibri"/>
              </a:rPr>
              <a:t>, Σιάτιστας και </a:t>
            </a:r>
            <a:r>
              <a:rPr lang="el-GR" sz="1400" kern="0" err="1">
                <a:solidFill>
                  <a:srgbClr val="002060"/>
                </a:solidFill>
                <a:latin typeface="Calibri"/>
                <a:ea typeface="Calibri"/>
                <a:cs typeface="Calibri"/>
              </a:rPr>
              <a:t>Τσοτυλίου</a:t>
            </a:r>
            <a:r>
              <a:rPr lang="el-GR" sz="1400" kern="0">
                <a:solidFill>
                  <a:srgbClr val="002060"/>
                </a:solidFill>
                <a:latin typeface="Calibri"/>
                <a:ea typeface="Calibri"/>
                <a:cs typeface="Calibri"/>
              </a:rPr>
              <a:t>, και στα Περιφερειακά Ιατρεία </a:t>
            </a:r>
            <a:r>
              <a:rPr lang="el-GR" sz="1400" kern="0" err="1">
                <a:solidFill>
                  <a:srgbClr val="002060"/>
                </a:solidFill>
                <a:latin typeface="Calibri"/>
                <a:ea typeface="Calibri"/>
                <a:cs typeface="Calibri"/>
              </a:rPr>
              <a:t>Βελβεντού</a:t>
            </a:r>
            <a:r>
              <a:rPr lang="el-GR" sz="1400" kern="0">
                <a:solidFill>
                  <a:srgbClr val="002060"/>
                </a:solidFill>
                <a:latin typeface="Calibri"/>
                <a:ea typeface="Calibri"/>
                <a:cs typeface="Calibri"/>
              </a:rPr>
              <a:t> και </a:t>
            </a:r>
            <a:r>
              <a:rPr lang="el-GR" sz="1400" kern="0" err="1">
                <a:solidFill>
                  <a:srgbClr val="002060"/>
                </a:solidFill>
                <a:latin typeface="Calibri"/>
                <a:ea typeface="Calibri"/>
                <a:cs typeface="Calibri"/>
              </a:rPr>
              <a:t>Πενταλόφου</a:t>
            </a:r>
            <a:r>
              <a:rPr lang="el-GR" sz="1400" kern="0">
                <a:solidFill>
                  <a:srgbClr val="002060"/>
                </a:solidFill>
                <a:latin typeface="Calibri"/>
                <a:ea typeface="Calibri"/>
                <a:cs typeface="Calibri"/>
              </a:rPr>
              <a:t>.</a:t>
            </a:r>
          </a:p>
        </p:txBody>
      </p:sp>
      <p:sp>
        <p:nvSpPr>
          <p:cNvPr id="19" name="Google Shape;1275;p29">
            <a:extLst>
              <a:ext uri="{FF2B5EF4-FFF2-40B4-BE49-F238E27FC236}">
                <a16:creationId xmlns:a16="http://schemas.microsoft.com/office/drawing/2014/main" id="{08D3D342-1A9D-3AB2-2F08-049FA6AFC1E2}"/>
              </a:ext>
            </a:extLst>
          </p:cNvPr>
          <p:cNvSpPr/>
          <p:nvPr/>
        </p:nvSpPr>
        <p:spPr>
          <a:xfrm>
            <a:off x="6602354" y="2552694"/>
            <a:ext cx="4392748" cy="2263895"/>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22" name="Ορθογώνιο 21">
            <a:extLst>
              <a:ext uri="{FF2B5EF4-FFF2-40B4-BE49-F238E27FC236}">
                <a16:creationId xmlns:a16="http://schemas.microsoft.com/office/drawing/2014/main" id="{083D2D35-BB8F-B4B4-4B0D-C71CA088EC0F}"/>
              </a:ext>
            </a:extLst>
          </p:cNvPr>
          <p:cNvSpPr/>
          <p:nvPr/>
        </p:nvSpPr>
        <p:spPr>
          <a:xfrm>
            <a:off x="6596261" y="2901653"/>
            <a:ext cx="4825519" cy="523220"/>
          </a:xfrm>
          <a:prstGeom prst="rect">
            <a:avLst/>
          </a:prstGeom>
        </p:spPr>
        <p:txBody>
          <a:bodyPr wrap="square" lIns="91440" tIns="45720" rIns="91440" bIns="45720" anchor="t">
            <a:spAutoFit/>
          </a:bodyPr>
          <a:lstStyle/>
          <a:p>
            <a:pPr algn="just"/>
            <a:r>
              <a:rPr lang="el-GR" sz="1400" b="1" kern="0">
                <a:solidFill>
                  <a:srgbClr val="002060"/>
                </a:solidFill>
                <a:latin typeface="Calibri"/>
                <a:ea typeface="Calibri"/>
                <a:cs typeface="Calibri"/>
              </a:rPr>
              <a:t>Π/Υ : </a:t>
            </a:r>
            <a:r>
              <a:rPr lang="el-GR" sz="1400" b="1" kern="0">
                <a:solidFill>
                  <a:srgbClr val="002060"/>
                </a:solidFill>
                <a:ea typeface="+mn-lt"/>
                <a:cs typeface="+mn-lt"/>
              </a:rPr>
              <a:t>4.271.192</a:t>
            </a:r>
            <a:r>
              <a:rPr lang="el-GR" sz="1400" b="1" kern="0">
                <a:solidFill>
                  <a:srgbClr val="002060"/>
                </a:solidFill>
                <a:latin typeface="Calibri"/>
                <a:ea typeface="Calibri"/>
                <a:cs typeface="Calibri"/>
              </a:rPr>
              <a:t> € από το ΤΑΑ</a:t>
            </a:r>
          </a:p>
          <a:p>
            <a:pPr algn="just"/>
            <a:r>
              <a:rPr lang="el-GR" sz="1400" kern="0">
                <a:solidFill>
                  <a:srgbClr val="002060"/>
                </a:solidFill>
                <a:ea typeface="Calibri"/>
                <a:cs typeface="Calibri"/>
              </a:rPr>
              <a:t>Εκτιμώμενη ολοκλήρωση: 2025</a:t>
            </a:r>
          </a:p>
        </p:txBody>
      </p:sp>
      <p:sp>
        <p:nvSpPr>
          <p:cNvPr id="23" name="Ορθογώνιο 22">
            <a:extLst>
              <a:ext uri="{FF2B5EF4-FFF2-40B4-BE49-F238E27FC236}">
                <a16:creationId xmlns:a16="http://schemas.microsoft.com/office/drawing/2014/main" id="{6106CDB5-1DF3-31E5-0ADE-8CE12C35E6B3}"/>
              </a:ext>
            </a:extLst>
          </p:cNvPr>
          <p:cNvSpPr/>
          <p:nvPr/>
        </p:nvSpPr>
        <p:spPr>
          <a:xfrm>
            <a:off x="6597215" y="3356656"/>
            <a:ext cx="4604941" cy="738664"/>
          </a:xfrm>
          <a:prstGeom prst="rect">
            <a:avLst/>
          </a:prstGeom>
        </p:spPr>
        <p:txBody>
          <a:bodyPr wrap="square" lIns="91440" tIns="45720" rIns="91440" bIns="45720" anchor="t">
            <a:spAutoFit/>
          </a:bodyPr>
          <a:lstStyle/>
          <a:p>
            <a:r>
              <a:rPr lang="el-GR" sz="1400" kern="0">
                <a:solidFill>
                  <a:srgbClr val="002060"/>
                </a:solidFill>
                <a:ea typeface="+mn-lt"/>
                <a:cs typeface="+mn-lt"/>
              </a:rPr>
              <a:t>Νοσοκομεία που συμμετέχουν: </a:t>
            </a:r>
            <a:endParaRPr lang="en-US" sz="1400" kern="0">
              <a:solidFill>
                <a:srgbClr val="002060"/>
              </a:solidFill>
              <a:ea typeface="+mn-lt"/>
              <a:cs typeface="+mn-lt"/>
            </a:endParaRPr>
          </a:p>
          <a:p>
            <a:r>
              <a:rPr lang="el-GR" sz="1400" b="1" kern="0">
                <a:solidFill>
                  <a:srgbClr val="002060"/>
                </a:solidFill>
                <a:ea typeface="+mn-lt"/>
                <a:cs typeface="+mn-lt"/>
              </a:rPr>
              <a:t>Γ.Ν. ΓΡΕΒΕΝΩΝ</a:t>
            </a:r>
            <a:r>
              <a:rPr lang="el-GR" sz="1400" kern="0">
                <a:solidFill>
                  <a:srgbClr val="002060"/>
                </a:solidFill>
                <a:ea typeface="+mn-lt"/>
                <a:cs typeface="+mn-lt"/>
              </a:rPr>
              <a:t>, </a:t>
            </a:r>
            <a:r>
              <a:rPr lang="el-GR" sz="1400" b="1" kern="0">
                <a:solidFill>
                  <a:srgbClr val="002060"/>
                </a:solidFill>
                <a:ea typeface="+mn-lt"/>
                <a:cs typeface="+mn-lt"/>
              </a:rPr>
              <a:t>Γ.Ν. ΚΑΣΤΟΡΙΑΣ</a:t>
            </a:r>
            <a:r>
              <a:rPr lang="el-GR" sz="1400" kern="0">
                <a:solidFill>
                  <a:srgbClr val="002060"/>
                </a:solidFill>
                <a:ea typeface="+mn-lt"/>
                <a:cs typeface="+mn-lt"/>
              </a:rPr>
              <a:t>, </a:t>
            </a:r>
            <a:r>
              <a:rPr lang="el-GR" sz="1400" b="1" kern="0">
                <a:solidFill>
                  <a:srgbClr val="002060"/>
                </a:solidFill>
                <a:ea typeface="+mn-lt"/>
                <a:cs typeface="+mn-lt"/>
              </a:rPr>
              <a:t>Γ.Ν. ΚΟΖΑΝΗΣ «ΜΑΜΑΤΣΕΙΟ»</a:t>
            </a:r>
            <a:r>
              <a:rPr lang="el-GR" sz="1400" kern="0">
                <a:solidFill>
                  <a:srgbClr val="002060"/>
                </a:solidFill>
                <a:ea typeface="+mn-lt"/>
                <a:cs typeface="+mn-lt"/>
              </a:rPr>
              <a:t>, </a:t>
            </a:r>
            <a:r>
              <a:rPr lang="el-GR" sz="1400" b="1" kern="0">
                <a:solidFill>
                  <a:srgbClr val="002060"/>
                </a:solidFill>
                <a:ea typeface="+mn-lt"/>
                <a:cs typeface="+mn-lt"/>
              </a:rPr>
              <a:t>Γ.Ν. ΠΤΟΛΕΜΑΪΔΑΣ «ΜΠΟΔΟΣΑΚΕΙΟ»</a:t>
            </a:r>
            <a:endParaRPr lang="el-GR" sz="1400" kern="0">
              <a:solidFill>
                <a:srgbClr val="002060"/>
              </a:solidFill>
              <a:ea typeface="+mn-lt"/>
              <a:cs typeface="+mn-lt"/>
            </a:endParaRPr>
          </a:p>
        </p:txBody>
      </p:sp>
      <p:sp>
        <p:nvSpPr>
          <p:cNvPr id="24" name="Google Shape;1282;p29">
            <a:extLst>
              <a:ext uri="{FF2B5EF4-FFF2-40B4-BE49-F238E27FC236}">
                <a16:creationId xmlns:a16="http://schemas.microsoft.com/office/drawing/2014/main" id="{5E5971E1-B485-B2E9-0396-74DD0423D881}"/>
              </a:ext>
            </a:extLst>
          </p:cNvPr>
          <p:cNvSpPr/>
          <p:nvPr/>
        </p:nvSpPr>
        <p:spPr>
          <a:xfrm>
            <a:off x="6500737" y="1531696"/>
            <a:ext cx="4386158" cy="129936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mn-lt"/>
                <a:cs typeface="+mn-lt"/>
                <a:sym typeface="Arial"/>
              </a:rPr>
              <a:t>Ανακαίνιση, αναβάθμιση, εκσυγχρονισμός και </a:t>
            </a:r>
            <a:r>
              <a:rPr lang="el-GR" sz="1400" b="1" kern="0" err="1">
                <a:solidFill>
                  <a:srgbClr val="002060"/>
                </a:solidFill>
                <a:latin typeface="Arial"/>
                <a:ea typeface="+mn-lt"/>
                <a:cs typeface="+mn-lt"/>
                <a:sym typeface="Arial"/>
              </a:rPr>
              <a:t>αναδιαρρύθμιση</a:t>
            </a:r>
            <a:r>
              <a:rPr lang="el-GR" sz="1400" b="1" kern="0">
                <a:solidFill>
                  <a:srgbClr val="002060"/>
                </a:solidFill>
                <a:latin typeface="Arial"/>
                <a:ea typeface="+mn-lt"/>
                <a:cs typeface="+mn-lt"/>
                <a:sym typeface="Arial"/>
              </a:rPr>
              <a:t> τμήματος επειγόντων περιστατικών (Τ.Ε.Π) σε 4 νοσοκομεία της 3ης Υ.Π.Ε</a:t>
            </a:r>
            <a:endParaRPr lang="el-GR"/>
          </a:p>
        </p:txBody>
      </p:sp>
      <p:sp>
        <p:nvSpPr>
          <p:cNvPr id="25" name="Ορθογώνιο 24">
            <a:extLst>
              <a:ext uri="{FF2B5EF4-FFF2-40B4-BE49-F238E27FC236}">
                <a16:creationId xmlns:a16="http://schemas.microsoft.com/office/drawing/2014/main" id="{7531C973-372F-5071-ECD4-5E10EB7D75AE}"/>
              </a:ext>
            </a:extLst>
          </p:cNvPr>
          <p:cNvSpPr/>
          <p:nvPr/>
        </p:nvSpPr>
        <p:spPr>
          <a:xfrm>
            <a:off x="6596261" y="4311544"/>
            <a:ext cx="4695178" cy="307777"/>
          </a:xfrm>
          <a:prstGeom prst="rect">
            <a:avLst/>
          </a:prstGeom>
        </p:spPr>
        <p:txBody>
          <a:bodyPr wrap="square" lIns="91440" tIns="45720" rIns="91440" bIns="45720" anchor="t">
            <a:spAutoFit/>
          </a:bodyPr>
          <a:lstStyle/>
          <a:p>
            <a:pPr algn="just"/>
            <a:r>
              <a:rPr lang="el-GR" sz="1400" b="1" kern="0" dirty="0">
                <a:solidFill>
                  <a:srgbClr val="242852"/>
                </a:solidFill>
                <a:latin typeface="Calibri"/>
                <a:ea typeface="Calibri"/>
                <a:cs typeface="Calibri"/>
              </a:rPr>
              <a:t>Πρόοδος υλοποίησης: </a:t>
            </a:r>
            <a:r>
              <a:rPr lang="el-GR" sz="1400" kern="0" dirty="0">
                <a:solidFill>
                  <a:srgbClr val="242852"/>
                </a:solidFill>
                <a:latin typeface="Calibri"/>
                <a:ea typeface="Calibri"/>
                <a:cs typeface="Calibri"/>
              </a:rPr>
              <a:t>Το έργο βρίσκεται υπό υλοποίηση. </a:t>
            </a:r>
            <a:endParaRPr lang="el-GR" sz="1400" kern="0" dirty="0">
              <a:solidFill>
                <a:srgbClr val="242852"/>
              </a:solidFill>
              <a:ea typeface="Calibri"/>
              <a:cs typeface="Calibri"/>
            </a:endParaRPr>
          </a:p>
        </p:txBody>
      </p:sp>
    </p:spTree>
    <p:extLst>
      <p:ext uri="{BB962C8B-B14F-4D97-AF65-F5344CB8AC3E}">
        <p14:creationId xmlns:p14="http://schemas.microsoft.com/office/powerpoint/2010/main" val="34636348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473">
          <a:extLst>
            <a:ext uri="{FF2B5EF4-FFF2-40B4-BE49-F238E27FC236}">
              <a16:creationId xmlns:a16="http://schemas.microsoft.com/office/drawing/2014/main" id="{7D7C714C-ECC6-2295-EC4B-4573070B2FB8}"/>
            </a:ext>
          </a:extLst>
        </p:cNvPr>
        <p:cNvGrpSpPr/>
        <p:nvPr/>
      </p:nvGrpSpPr>
      <p:grpSpPr>
        <a:xfrm>
          <a:off x="0" y="0"/>
          <a:ext cx="0" cy="0"/>
          <a:chOff x="0" y="0"/>
          <a:chExt cx="0" cy="0"/>
        </a:xfrm>
      </p:grpSpPr>
      <p:grpSp>
        <p:nvGrpSpPr>
          <p:cNvPr id="1475" name="Google Shape;1475;p38">
            <a:extLst>
              <a:ext uri="{FF2B5EF4-FFF2-40B4-BE49-F238E27FC236}">
                <a16:creationId xmlns:a16="http://schemas.microsoft.com/office/drawing/2014/main" id="{3928F199-FF9B-C95A-E0DC-77CBD543751D}"/>
              </a:ext>
            </a:extLst>
          </p:cNvPr>
          <p:cNvGrpSpPr/>
          <p:nvPr/>
        </p:nvGrpSpPr>
        <p:grpSpPr>
          <a:xfrm>
            <a:off x="5018830" y="863030"/>
            <a:ext cx="6936287" cy="1928961"/>
            <a:chOff x="3755838" y="647155"/>
            <a:chExt cx="5202212" cy="1446720"/>
          </a:xfrm>
        </p:grpSpPr>
        <p:sp>
          <p:nvSpPr>
            <p:cNvPr id="1476" name="Google Shape;1476;p38">
              <a:extLst>
                <a:ext uri="{FF2B5EF4-FFF2-40B4-BE49-F238E27FC236}">
                  <a16:creationId xmlns:a16="http://schemas.microsoft.com/office/drawing/2014/main" id="{A60BE08E-5A84-208D-66A4-A44DC826F417}"/>
                </a:ext>
              </a:extLst>
            </p:cNvPr>
            <p:cNvSpPr/>
            <p:nvPr/>
          </p:nvSpPr>
          <p:spPr>
            <a:xfrm>
              <a:off x="3755838" y="1279575"/>
              <a:ext cx="528350" cy="571000"/>
            </a:xfrm>
            <a:custGeom>
              <a:avLst/>
              <a:gdLst/>
              <a:ahLst/>
              <a:cxnLst/>
              <a:rect l="l" t="t" r="r" b="b"/>
              <a:pathLst>
                <a:path w="21134" h="22840" extrusionOk="0">
                  <a:moveTo>
                    <a:pt x="10576" y="1528"/>
                  </a:moveTo>
                  <a:cubicBezTo>
                    <a:pt x="11644" y="1528"/>
                    <a:pt x="12729" y="1750"/>
                    <a:pt x="13764" y="2218"/>
                  </a:cubicBezTo>
                  <a:cubicBezTo>
                    <a:pt x="17669" y="3992"/>
                    <a:pt x="19395" y="8576"/>
                    <a:pt x="17633" y="12481"/>
                  </a:cubicBezTo>
                  <a:cubicBezTo>
                    <a:pt x="16331" y="15339"/>
                    <a:pt x="13515" y="17030"/>
                    <a:pt x="10564" y="17030"/>
                  </a:cubicBezTo>
                  <a:cubicBezTo>
                    <a:pt x="9495" y="17030"/>
                    <a:pt x="8409" y="16808"/>
                    <a:pt x="7370" y="16339"/>
                  </a:cubicBezTo>
                  <a:cubicBezTo>
                    <a:pt x="3477" y="14577"/>
                    <a:pt x="1750" y="9981"/>
                    <a:pt x="3512" y="6088"/>
                  </a:cubicBezTo>
                  <a:cubicBezTo>
                    <a:pt x="4806" y="3221"/>
                    <a:pt x="7627" y="1528"/>
                    <a:pt x="10576" y="1528"/>
                  </a:cubicBezTo>
                  <a:close/>
                  <a:moveTo>
                    <a:pt x="10580" y="1"/>
                  </a:moveTo>
                  <a:cubicBezTo>
                    <a:pt x="7046" y="1"/>
                    <a:pt x="3667" y="2029"/>
                    <a:pt x="2119" y="5457"/>
                  </a:cubicBezTo>
                  <a:cubicBezTo>
                    <a:pt x="0" y="10124"/>
                    <a:pt x="2072" y="15613"/>
                    <a:pt x="6739" y="17732"/>
                  </a:cubicBezTo>
                  <a:cubicBezTo>
                    <a:pt x="7972" y="18295"/>
                    <a:pt x="9261" y="18558"/>
                    <a:pt x="10534" y="18558"/>
                  </a:cubicBezTo>
                  <a:cubicBezTo>
                    <a:pt x="10822" y="18558"/>
                    <a:pt x="11109" y="18544"/>
                    <a:pt x="11394" y="18518"/>
                  </a:cubicBezTo>
                  <a:lnTo>
                    <a:pt x="15669" y="22840"/>
                  </a:lnTo>
                  <a:lnTo>
                    <a:pt x="16050" y="16768"/>
                  </a:lnTo>
                  <a:cubicBezTo>
                    <a:pt x="17300" y="15851"/>
                    <a:pt x="18336" y="14625"/>
                    <a:pt x="19026" y="13112"/>
                  </a:cubicBezTo>
                  <a:cubicBezTo>
                    <a:pt x="21134" y="8445"/>
                    <a:pt x="19062" y="2944"/>
                    <a:pt x="14395" y="825"/>
                  </a:cubicBezTo>
                  <a:cubicBezTo>
                    <a:pt x="13156" y="266"/>
                    <a:pt x="11858" y="1"/>
                    <a:pt x="10580" y="1"/>
                  </a:cubicBezTo>
                  <a:close/>
                </a:path>
              </a:pathLst>
            </a:custGeom>
            <a:solidFill>
              <a:srgbClr val="69E78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sp>
          <p:nvSpPr>
            <p:cNvPr id="1477" name="Google Shape;1477;p38">
              <a:extLst>
                <a:ext uri="{FF2B5EF4-FFF2-40B4-BE49-F238E27FC236}">
                  <a16:creationId xmlns:a16="http://schemas.microsoft.com/office/drawing/2014/main" id="{577A07D1-19F1-3197-C8AD-EA092B95942B}"/>
                </a:ext>
              </a:extLst>
            </p:cNvPr>
            <p:cNvSpPr/>
            <p:nvPr/>
          </p:nvSpPr>
          <p:spPr>
            <a:xfrm>
              <a:off x="3854963" y="1694700"/>
              <a:ext cx="616775" cy="399175"/>
            </a:xfrm>
            <a:custGeom>
              <a:avLst/>
              <a:gdLst/>
              <a:ahLst/>
              <a:cxnLst/>
              <a:rect l="l" t="t" r="r" b="b"/>
              <a:pathLst>
                <a:path w="24671" h="15967" extrusionOk="0">
                  <a:moveTo>
                    <a:pt x="24670" y="0"/>
                  </a:moveTo>
                  <a:cubicBezTo>
                    <a:pt x="15252" y="715"/>
                    <a:pt x="6692" y="4501"/>
                    <a:pt x="1" y="10383"/>
                  </a:cubicBezTo>
                  <a:lnTo>
                    <a:pt x="5585" y="15967"/>
                  </a:lnTo>
                  <a:cubicBezTo>
                    <a:pt x="10823" y="11502"/>
                    <a:pt x="17419" y="8573"/>
                    <a:pt x="24670" y="7906"/>
                  </a:cubicBezTo>
                  <a:lnTo>
                    <a:pt x="24670" y="0"/>
                  </a:lnTo>
                  <a:close/>
                </a:path>
              </a:pathLst>
            </a:custGeom>
            <a:solidFill>
              <a:srgbClr val="69E78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sp>
          <p:nvSpPr>
            <p:cNvPr id="1480" name="Google Shape;1480;p38">
              <a:extLst>
                <a:ext uri="{FF2B5EF4-FFF2-40B4-BE49-F238E27FC236}">
                  <a16:creationId xmlns:a16="http://schemas.microsoft.com/office/drawing/2014/main" id="{D97555DB-A771-9F1F-62F8-637398738136}"/>
                </a:ext>
              </a:extLst>
            </p:cNvPr>
            <p:cNvSpPr txBox="1"/>
            <p:nvPr/>
          </p:nvSpPr>
          <p:spPr>
            <a:xfrm>
              <a:off x="5783566" y="647155"/>
              <a:ext cx="3174484" cy="661512"/>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i="0" u="none" strike="noStrike" kern="1200" cap="none" spc="0" normalizeH="0" baseline="0" noProof="0" dirty="0">
                  <a:ln>
                    <a:noFill/>
                  </a:ln>
                  <a:solidFill>
                    <a:srgbClr val="0070C0"/>
                  </a:solidFill>
                  <a:effectLst/>
                  <a:uLnTx/>
                  <a:uFillTx/>
                  <a:latin typeface="Calibri"/>
                  <a:ea typeface="+mn-lt"/>
                  <a:cs typeface="+mn-lt"/>
                  <a:sym typeface="Fira Sans Extra Condensed Medium"/>
                </a:rPr>
                <a:t>Συνοριακός σταθμός Λαιμού</a:t>
              </a:r>
              <a:endParaRPr lang="el-GR" sz="2000" i="0" u="none" strike="noStrike" kern="1200" cap="none" spc="0" normalizeH="0" baseline="0" noProof="0" dirty="0">
                <a:ln>
                  <a:noFill/>
                </a:ln>
                <a:solidFill>
                  <a:srgbClr val="0070C0"/>
                </a:solidFill>
                <a:effectLst/>
                <a:uLnTx/>
                <a:uFillTx/>
                <a:latin typeface="Calibri"/>
                <a:ea typeface="+mn-lt"/>
                <a:cs typeface="+mn-lt"/>
              </a:endParaRPr>
            </a:p>
          </p:txBody>
        </p:sp>
      </p:grpSp>
      <p:grpSp>
        <p:nvGrpSpPr>
          <p:cNvPr id="1482" name="Google Shape;1482;p38">
            <a:extLst>
              <a:ext uri="{FF2B5EF4-FFF2-40B4-BE49-F238E27FC236}">
                <a16:creationId xmlns:a16="http://schemas.microsoft.com/office/drawing/2014/main" id="{5A2393A6-73FA-C209-D4A2-5B95EF25E241}"/>
              </a:ext>
            </a:extLst>
          </p:cNvPr>
          <p:cNvGrpSpPr/>
          <p:nvPr/>
        </p:nvGrpSpPr>
        <p:grpSpPr>
          <a:xfrm>
            <a:off x="4054790" y="3800475"/>
            <a:ext cx="1117874" cy="813540"/>
            <a:chOff x="3053963" y="2843650"/>
            <a:chExt cx="842100" cy="649988"/>
          </a:xfrm>
        </p:grpSpPr>
        <p:sp>
          <p:nvSpPr>
            <p:cNvPr id="1483" name="Google Shape;1483;p38">
              <a:extLst>
                <a:ext uri="{FF2B5EF4-FFF2-40B4-BE49-F238E27FC236}">
                  <a16:creationId xmlns:a16="http://schemas.microsoft.com/office/drawing/2014/main" id="{35427DBE-5139-0DE1-B3FC-8BE608D75397}"/>
                </a:ext>
              </a:extLst>
            </p:cNvPr>
            <p:cNvSpPr/>
            <p:nvPr/>
          </p:nvSpPr>
          <p:spPr>
            <a:xfrm>
              <a:off x="3053963" y="3029513"/>
              <a:ext cx="607850" cy="464125"/>
            </a:xfrm>
            <a:custGeom>
              <a:avLst/>
              <a:gdLst/>
              <a:ahLst/>
              <a:cxnLst/>
              <a:rect l="l" t="t" r="r" b="b"/>
              <a:pathLst>
                <a:path w="24314" h="18565" extrusionOk="0">
                  <a:moveTo>
                    <a:pt x="10603" y="1533"/>
                  </a:moveTo>
                  <a:cubicBezTo>
                    <a:pt x="11755" y="1533"/>
                    <a:pt x="12924" y="1791"/>
                    <a:pt x="14026" y="2335"/>
                  </a:cubicBezTo>
                  <a:cubicBezTo>
                    <a:pt x="17860" y="4240"/>
                    <a:pt x="19432" y="8884"/>
                    <a:pt x="17527" y="12729"/>
                  </a:cubicBezTo>
                  <a:cubicBezTo>
                    <a:pt x="16180" y="15458"/>
                    <a:pt x="13439" y="17034"/>
                    <a:pt x="10585" y="17034"/>
                  </a:cubicBezTo>
                  <a:cubicBezTo>
                    <a:pt x="9429" y="17034"/>
                    <a:pt x="8253" y="16776"/>
                    <a:pt x="7145" y="16230"/>
                  </a:cubicBezTo>
                  <a:cubicBezTo>
                    <a:pt x="3311" y="14325"/>
                    <a:pt x="1739" y="9681"/>
                    <a:pt x="3644" y="5848"/>
                  </a:cubicBezTo>
                  <a:cubicBezTo>
                    <a:pt x="5001" y="3116"/>
                    <a:pt x="7749" y="1533"/>
                    <a:pt x="10603" y="1533"/>
                  </a:cubicBezTo>
                  <a:close/>
                  <a:moveTo>
                    <a:pt x="10596" y="1"/>
                  </a:moveTo>
                  <a:cubicBezTo>
                    <a:pt x="7179" y="1"/>
                    <a:pt x="3894" y="1897"/>
                    <a:pt x="2275" y="5169"/>
                  </a:cubicBezTo>
                  <a:cubicBezTo>
                    <a:pt x="1" y="9765"/>
                    <a:pt x="1882" y="15325"/>
                    <a:pt x="6466" y="17599"/>
                  </a:cubicBezTo>
                  <a:cubicBezTo>
                    <a:pt x="7790" y="18254"/>
                    <a:pt x="9194" y="18564"/>
                    <a:pt x="10578" y="18564"/>
                  </a:cubicBezTo>
                  <a:cubicBezTo>
                    <a:pt x="13998" y="18564"/>
                    <a:pt x="17289" y="16668"/>
                    <a:pt x="18908" y="13396"/>
                  </a:cubicBezTo>
                  <a:cubicBezTo>
                    <a:pt x="19634" y="11920"/>
                    <a:pt x="19932" y="10324"/>
                    <a:pt x="19849" y="8788"/>
                  </a:cubicBezTo>
                  <a:lnTo>
                    <a:pt x="24313" y="4645"/>
                  </a:lnTo>
                  <a:lnTo>
                    <a:pt x="18265" y="4062"/>
                  </a:lnTo>
                  <a:cubicBezTo>
                    <a:pt x="17396" y="2788"/>
                    <a:pt x="16193" y="1704"/>
                    <a:pt x="14705" y="966"/>
                  </a:cubicBezTo>
                  <a:cubicBezTo>
                    <a:pt x="13381" y="311"/>
                    <a:pt x="11978" y="1"/>
                    <a:pt x="10596" y="1"/>
                  </a:cubicBezTo>
                  <a:close/>
                </a:path>
              </a:pathLst>
            </a:custGeom>
            <a:solidFill>
              <a:srgbClr val="4949E7"/>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sp>
          <p:nvSpPr>
            <p:cNvPr id="1484" name="Google Shape;1484;p38">
              <a:extLst>
                <a:ext uri="{FF2B5EF4-FFF2-40B4-BE49-F238E27FC236}">
                  <a16:creationId xmlns:a16="http://schemas.microsoft.com/office/drawing/2014/main" id="{DEAABC7B-F19E-4D04-80A1-A5A53358BE80}"/>
                </a:ext>
              </a:extLst>
            </p:cNvPr>
            <p:cNvSpPr/>
            <p:nvPr/>
          </p:nvSpPr>
          <p:spPr>
            <a:xfrm>
              <a:off x="3498963" y="2843650"/>
              <a:ext cx="397100" cy="602175"/>
            </a:xfrm>
            <a:custGeom>
              <a:avLst/>
              <a:gdLst/>
              <a:ahLst/>
              <a:cxnLst/>
              <a:rect l="l" t="t" r="r" b="b"/>
              <a:pathLst>
                <a:path w="15884" h="24087" extrusionOk="0">
                  <a:moveTo>
                    <a:pt x="1" y="0"/>
                  </a:moveTo>
                  <a:cubicBezTo>
                    <a:pt x="810" y="9192"/>
                    <a:pt x="4561" y="17538"/>
                    <a:pt x="10300" y="24087"/>
                  </a:cubicBezTo>
                  <a:lnTo>
                    <a:pt x="15884" y="18503"/>
                  </a:lnTo>
                  <a:cubicBezTo>
                    <a:pt x="11550" y="13395"/>
                    <a:pt x="8680" y="7025"/>
                    <a:pt x="7918" y="0"/>
                  </a:cubicBezTo>
                  <a:close/>
                </a:path>
              </a:pathLst>
            </a:custGeom>
            <a:solidFill>
              <a:srgbClr val="4949E7"/>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93" name="Google Shape;1493;p38">
            <a:extLst>
              <a:ext uri="{FF2B5EF4-FFF2-40B4-BE49-F238E27FC236}">
                <a16:creationId xmlns:a16="http://schemas.microsoft.com/office/drawing/2014/main" id="{00CE4643-AECD-FEC9-EBD6-39F46262937A}"/>
              </a:ext>
            </a:extLst>
          </p:cNvPr>
          <p:cNvGrpSpPr/>
          <p:nvPr/>
        </p:nvGrpSpPr>
        <p:grpSpPr>
          <a:xfrm>
            <a:off x="4071968" y="2671667"/>
            <a:ext cx="1105318" cy="906766"/>
            <a:chOff x="3053975" y="2003750"/>
            <a:chExt cx="828988" cy="680075"/>
          </a:xfrm>
        </p:grpSpPr>
        <p:sp>
          <p:nvSpPr>
            <p:cNvPr id="1494" name="Google Shape;1494;p38">
              <a:extLst>
                <a:ext uri="{FF2B5EF4-FFF2-40B4-BE49-F238E27FC236}">
                  <a16:creationId xmlns:a16="http://schemas.microsoft.com/office/drawing/2014/main" id="{37D6D611-B9A9-170F-EACC-D809AFD4B647}"/>
                </a:ext>
              </a:extLst>
            </p:cNvPr>
            <p:cNvSpPr/>
            <p:nvPr/>
          </p:nvSpPr>
          <p:spPr>
            <a:xfrm>
              <a:off x="3053975" y="2003750"/>
              <a:ext cx="583425" cy="464175"/>
            </a:xfrm>
            <a:custGeom>
              <a:avLst/>
              <a:gdLst/>
              <a:ahLst/>
              <a:cxnLst/>
              <a:rect l="l" t="t" r="r" b="b"/>
              <a:pathLst>
                <a:path w="23337" h="18567" extrusionOk="0">
                  <a:moveTo>
                    <a:pt x="10410" y="1534"/>
                  </a:moveTo>
                  <a:cubicBezTo>
                    <a:pt x="13672" y="1534"/>
                    <a:pt x="16706" y="3604"/>
                    <a:pt x="17777" y="6863"/>
                  </a:cubicBezTo>
                  <a:cubicBezTo>
                    <a:pt x="19110" y="10935"/>
                    <a:pt x="16896" y="15305"/>
                    <a:pt x="12824" y="16638"/>
                  </a:cubicBezTo>
                  <a:cubicBezTo>
                    <a:pt x="12020" y="16905"/>
                    <a:pt x="11204" y="17031"/>
                    <a:pt x="10402" y="17031"/>
                  </a:cubicBezTo>
                  <a:cubicBezTo>
                    <a:pt x="7149" y="17031"/>
                    <a:pt x="4118" y="14954"/>
                    <a:pt x="3049" y="11697"/>
                  </a:cubicBezTo>
                  <a:cubicBezTo>
                    <a:pt x="1715" y="7625"/>
                    <a:pt x="3930" y="3256"/>
                    <a:pt x="7990" y="1922"/>
                  </a:cubicBezTo>
                  <a:cubicBezTo>
                    <a:pt x="8793" y="1659"/>
                    <a:pt x="9608" y="1534"/>
                    <a:pt x="10410" y="1534"/>
                  </a:cubicBezTo>
                  <a:close/>
                  <a:moveTo>
                    <a:pt x="10419" y="0"/>
                  </a:moveTo>
                  <a:cubicBezTo>
                    <a:pt x="9456" y="0"/>
                    <a:pt x="8477" y="152"/>
                    <a:pt x="7513" y="470"/>
                  </a:cubicBezTo>
                  <a:cubicBezTo>
                    <a:pt x="2644" y="2065"/>
                    <a:pt x="1" y="7304"/>
                    <a:pt x="1596" y="12174"/>
                  </a:cubicBezTo>
                  <a:cubicBezTo>
                    <a:pt x="2877" y="16084"/>
                    <a:pt x="6508" y="18567"/>
                    <a:pt x="10410" y="18567"/>
                  </a:cubicBezTo>
                  <a:cubicBezTo>
                    <a:pt x="11367" y="18567"/>
                    <a:pt x="12341" y="18417"/>
                    <a:pt x="13300" y="18103"/>
                  </a:cubicBezTo>
                  <a:cubicBezTo>
                    <a:pt x="14871" y="17579"/>
                    <a:pt x="16217" y="16686"/>
                    <a:pt x="17265" y="15543"/>
                  </a:cubicBezTo>
                  <a:lnTo>
                    <a:pt x="23337" y="15817"/>
                  </a:lnTo>
                  <a:lnTo>
                    <a:pt x="19503" y="11090"/>
                  </a:lnTo>
                  <a:cubicBezTo>
                    <a:pt x="19813" y="9578"/>
                    <a:pt x="19741" y="7959"/>
                    <a:pt x="19229" y="6387"/>
                  </a:cubicBezTo>
                  <a:cubicBezTo>
                    <a:pt x="17950" y="2482"/>
                    <a:pt x="14319" y="0"/>
                    <a:pt x="10419" y="0"/>
                  </a:cubicBezTo>
                  <a:close/>
                </a:path>
              </a:pathLst>
            </a:custGeom>
            <a:solidFill>
              <a:srgbClr val="5EB2F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sp>
          <p:nvSpPr>
            <p:cNvPr id="1495" name="Google Shape;1495;p38">
              <a:extLst>
                <a:ext uri="{FF2B5EF4-FFF2-40B4-BE49-F238E27FC236}">
                  <a16:creationId xmlns:a16="http://schemas.microsoft.com/office/drawing/2014/main" id="{8DF90F56-6EAE-D9D1-D6E1-5CA143DBE031}"/>
                </a:ext>
              </a:extLst>
            </p:cNvPr>
            <p:cNvSpPr/>
            <p:nvPr/>
          </p:nvSpPr>
          <p:spPr>
            <a:xfrm>
              <a:off x="3496888" y="2068250"/>
              <a:ext cx="386075" cy="615575"/>
            </a:xfrm>
            <a:custGeom>
              <a:avLst/>
              <a:gdLst/>
              <a:ahLst/>
              <a:cxnLst/>
              <a:rect l="l" t="t" r="r" b="b"/>
              <a:pathLst>
                <a:path w="15443" h="24623" extrusionOk="0">
                  <a:moveTo>
                    <a:pt x="9847" y="1"/>
                  </a:moveTo>
                  <a:cubicBezTo>
                    <a:pt x="4179" y="6740"/>
                    <a:pt x="572" y="15276"/>
                    <a:pt x="0" y="24623"/>
                  </a:cubicBezTo>
                  <a:lnTo>
                    <a:pt x="7882" y="24623"/>
                  </a:lnTo>
                  <a:cubicBezTo>
                    <a:pt x="8430" y="17443"/>
                    <a:pt x="11168" y="10883"/>
                    <a:pt x="15443" y="5597"/>
                  </a:cubicBezTo>
                  <a:lnTo>
                    <a:pt x="9847" y="1"/>
                  </a:lnTo>
                  <a:close/>
                </a:path>
              </a:pathLst>
            </a:custGeom>
            <a:solidFill>
              <a:srgbClr val="5EB2F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01" name="Google Shape;1501;p38">
            <a:extLst>
              <a:ext uri="{FF2B5EF4-FFF2-40B4-BE49-F238E27FC236}">
                <a16:creationId xmlns:a16="http://schemas.microsoft.com/office/drawing/2014/main" id="{02844D86-F1EF-23CC-A4AE-42295066AABF}"/>
              </a:ext>
            </a:extLst>
          </p:cNvPr>
          <p:cNvGrpSpPr/>
          <p:nvPr/>
        </p:nvGrpSpPr>
        <p:grpSpPr>
          <a:xfrm>
            <a:off x="-530420" y="3168050"/>
            <a:ext cx="6492737" cy="2465877"/>
            <a:chOff x="-397815" y="2376040"/>
            <a:chExt cx="4869553" cy="1849410"/>
          </a:xfrm>
        </p:grpSpPr>
        <p:sp>
          <p:nvSpPr>
            <p:cNvPr id="1502" name="Google Shape;1502;p38">
              <a:extLst>
                <a:ext uri="{FF2B5EF4-FFF2-40B4-BE49-F238E27FC236}">
                  <a16:creationId xmlns:a16="http://schemas.microsoft.com/office/drawing/2014/main" id="{9493A091-B866-A25E-CBC3-C6EAA3255965}"/>
                </a:ext>
              </a:extLst>
            </p:cNvPr>
            <p:cNvSpPr/>
            <p:nvPr/>
          </p:nvSpPr>
          <p:spPr>
            <a:xfrm>
              <a:off x="3769225" y="3663475"/>
              <a:ext cx="524500" cy="561975"/>
            </a:xfrm>
            <a:custGeom>
              <a:avLst/>
              <a:gdLst/>
              <a:ahLst/>
              <a:cxnLst/>
              <a:rect l="l" t="t" r="r" b="b"/>
              <a:pathLst>
                <a:path w="20980" h="22479" extrusionOk="0">
                  <a:moveTo>
                    <a:pt x="10481" y="5447"/>
                  </a:moveTo>
                  <a:cubicBezTo>
                    <a:pt x="13615" y="5447"/>
                    <a:pt x="16567" y="7361"/>
                    <a:pt x="17741" y="10466"/>
                  </a:cubicBezTo>
                  <a:cubicBezTo>
                    <a:pt x="19253" y="14467"/>
                    <a:pt x="17229" y="18944"/>
                    <a:pt x="13217" y="20444"/>
                  </a:cubicBezTo>
                  <a:cubicBezTo>
                    <a:pt x="12317" y="20784"/>
                    <a:pt x="11392" y="20945"/>
                    <a:pt x="10484" y="20945"/>
                  </a:cubicBezTo>
                  <a:cubicBezTo>
                    <a:pt x="7352" y="20945"/>
                    <a:pt x="4402" y="19032"/>
                    <a:pt x="3239" y="15931"/>
                  </a:cubicBezTo>
                  <a:cubicBezTo>
                    <a:pt x="1727" y="11919"/>
                    <a:pt x="3751" y="7454"/>
                    <a:pt x="7763" y="5942"/>
                  </a:cubicBezTo>
                  <a:cubicBezTo>
                    <a:pt x="8659" y="5606"/>
                    <a:pt x="9578" y="5447"/>
                    <a:pt x="10481" y="5447"/>
                  </a:cubicBezTo>
                  <a:close/>
                  <a:moveTo>
                    <a:pt x="16467" y="1"/>
                  </a:moveTo>
                  <a:lnTo>
                    <a:pt x="11907" y="4025"/>
                  </a:lnTo>
                  <a:cubicBezTo>
                    <a:pt x="11442" y="3952"/>
                    <a:pt x="10969" y="3915"/>
                    <a:pt x="10492" y="3915"/>
                  </a:cubicBezTo>
                  <a:cubicBezTo>
                    <a:pt x="9406" y="3915"/>
                    <a:pt x="8299" y="4108"/>
                    <a:pt x="7216" y="4513"/>
                  </a:cubicBezTo>
                  <a:cubicBezTo>
                    <a:pt x="2429" y="6323"/>
                    <a:pt x="1" y="11669"/>
                    <a:pt x="1810" y="16467"/>
                  </a:cubicBezTo>
                  <a:cubicBezTo>
                    <a:pt x="3205" y="20189"/>
                    <a:pt x="6742" y="22479"/>
                    <a:pt x="10499" y="22479"/>
                  </a:cubicBezTo>
                  <a:cubicBezTo>
                    <a:pt x="11584" y="22479"/>
                    <a:pt x="12688" y="22287"/>
                    <a:pt x="13764" y="21884"/>
                  </a:cubicBezTo>
                  <a:cubicBezTo>
                    <a:pt x="18551" y="20075"/>
                    <a:pt x="20979" y="14717"/>
                    <a:pt x="19170" y="9931"/>
                  </a:cubicBezTo>
                  <a:cubicBezTo>
                    <a:pt x="18586" y="8371"/>
                    <a:pt x="17634" y="7073"/>
                    <a:pt x="16443" y="6085"/>
                  </a:cubicBezTo>
                  <a:lnTo>
                    <a:pt x="16467" y="1"/>
                  </a:lnTo>
                  <a:close/>
                </a:path>
              </a:pathLst>
            </a:custGeom>
            <a:solidFill>
              <a:srgbClr val="FCBD2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sp>
          <p:nvSpPr>
            <p:cNvPr id="1503" name="Google Shape;1503;p38">
              <a:extLst>
                <a:ext uri="{FF2B5EF4-FFF2-40B4-BE49-F238E27FC236}">
                  <a16:creationId xmlns:a16="http://schemas.microsoft.com/office/drawing/2014/main" id="{DE8C578E-1D95-8998-0EBB-888184705715}"/>
                </a:ext>
              </a:extLst>
            </p:cNvPr>
            <p:cNvSpPr/>
            <p:nvPr/>
          </p:nvSpPr>
          <p:spPr>
            <a:xfrm>
              <a:off x="3870738" y="3417825"/>
              <a:ext cx="601000" cy="386075"/>
            </a:xfrm>
            <a:custGeom>
              <a:avLst/>
              <a:gdLst/>
              <a:ahLst/>
              <a:cxnLst/>
              <a:rect l="l" t="t" r="r" b="b"/>
              <a:pathLst>
                <a:path w="24040" h="15443" extrusionOk="0">
                  <a:moveTo>
                    <a:pt x="5585" y="1"/>
                  </a:moveTo>
                  <a:lnTo>
                    <a:pt x="1" y="5596"/>
                  </a:lnTo>
                  <a:cubicBezTo>
                    <a:pt x="6585" y="11169"/>
                    <a:pt x="14907" y="14752"/>
                    <a:pt x="24039" y="15443"/>
                  </a:cubicBezTo>
                  <a:lnTo>
                    <a:pt x="24039" y="7537"/>
                  </a:lnTo>
                  <a:cubicBezTo>
                    <a:pt x="17074" y="6894"/>
                    <a:pt x="10728" y="4168"/>
                    <a:pt x="5585" y="1"/>
                  </a:cubicBezTo>
                  <a:close/>
                </a:path>
              </a:pathLst>
            </a:custGeom>
            <a:solidFill>
              <a:srgbClr val="FCBD2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sp>
          <p:nvSpPr>
            <p:cNvPr id="1510" name="Google Shape;1510;p38">
              <a:extLst>
                <a:ext uri="{FF2B5EF4-FFF2-40B4-BE49-F238E27FC236}">
                  <a16:creationId xmlns:a16="http://schemas.microsoft.com/office/drawing/2014/main" id="{4DBE8B12-A9DD-2362-7C9B-5D023D4683D4}"/>
                </a:ext>
              </a:extLst>
            </p:cNvPr>
            <p:cNvSpPr txBox="1"/>
            <p:nvPr/>
          </p:nvSpPr>
          <p:spPr>
            <a:xfrm>
              <a:off x="-397815" y="2376040"/>
              <a:ext cx="3225944" cy="4296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2000" i="0" u="none" strike="noStrike" kern="1200" cap="none" spc="0" normalizeH="0" baseline="0" noProof="0" dirty="0">
                  <a:ln>
                    <a:noFill/>
                  </a:ln>
                  <a:solidFill>
                    <a:srgbClr val="0070C0"/>
                  </a:solidFill>
                  <a:effectLst/>
                  <a:uLnTx/>
                  <a:uFillTx/>
                  <a:latin typeface="Calibri"/>
                  <a:ea typeface="Calibri"/>
                  <a:cs typeface="Calibri"/>
                  <a:sym typeface="Fira Sans Extra Condensed Medium"/>
                </a:rPr>
                <a:t>   Επαναλειτουργία επιβατικής αμαξοστοιχίας Δήμου Αμυνταίου</a:t>
              </a:r>
              <a:endParaRPr lang="el-GR" sz="2000" i="0" u="none" strike="noStrike" kern="1200" cap="none" spc="0" normalizeH="0" baseline="0" noProof="0" dirty="0">
                <a:ln>
                  <a:noFill/>
                </a:ln>
                <a:solidFill>
                  <a:srgbClr val="0070C0"/>
                </a:solidFill>
                <a:effectLst/>
                <a:uLnTx/>
                <a:uFillTx/>
                <a:latin typeface="Calibri"/>
                <a:ea typeface="Calibri"/>
                <a:cs typeface="Calibri"/>
              </a:endParaRPr>
            </a:p>
          </p:txBody>
        </p:sp>
      </p:grpSp>
      <p:grpSp>
        <p:nvGrpSpPr>
          <p:cNvPr id="1512" name="Google Shape;1512;p38">
            <a:extLst>
              <a:ext uri="{FF2B5EF4-FFF2-40B4-BE49-F238E27FC236}">
                <a16:creationId xmlns:a16="http://schemas.microsoft.com/office/drawing/2014/main" id="{AE632AFF-895F-1632-CF1E-C2BE05BA56AF}"/>
              </a:ext>
            </a:extLst>
          </p:cNvPr>
          <p:cNvGrpSpPr/>
          <p:nvPr/>
        </p:nvGrpSpPr>
        <p:grpSpPr>
          <a:xfrm>
            <a:off x="6176731" y="1683933"/>
            <a:ext cx="948992" cy="1107900"/>
            <a:chOff x="4632548" y="1262950"/>
            <a:chExt cx="711744" cy="830925"/>
          </a:xfrm>
        </p:grpSpPr>
        <p:sp>
          <p:nvSpPr>
            <p:cNvPr id="1517" name="Google Shape;1517;p38">
              <a:extLst>
                <a:ext uri="{FF2B5EF4-FFF2-40B4-BE49-F238E27FC236}">
                  <a16:creationId xmlns:a16="http://schemas.microsoft.com/office/drawing/2014/main" id="{967CF3E3-7295-0793-0CFB-B811BDCA3A46}"/>
                </a:ext>
              </a:extLst>
            </p:cNvPr>
            <p:cNvSpPr/>
            <p:nvPr/>
          </p:nvSpPr>
          <p:spPr>
            <a:xfrm flipH="1">
              <a:off x="4815942" y="1262950"/>
              <a:ext cx="528350" cy="571000"/>
            </a:xfrm>
            <a:custGeom>
              <a:avLst/>
              <a:gdLst/>
              <a:ahLst/>
              <a:cxnLst/>
              <a:rect l="l" t="t" r="r" b="b"/>
              <a:pathLst>
                <a:path w="21134" h="22840" extrusionOk="0">
                  <a:moveTo>
                    <a:pt x="10576" y="1528"/>
                  </a:moveTo>
                  <a:cubicBezTo>
                    <a:pt x="11644" y="1528"/>
                    <a:pt x="12729" y="1750"/>
                    <a:pt x="13764" y="2218"/>
                  </a:cubicBezTo>
                  <a:cubicBezTo>
                    <a:pt x="17669" y="3992"/>
                    <a:pt x="19395" y="8576"/>
                    <a:pt x="17633" y="12481"/>
                  </a:cubicBezTo>
                  <a:cubicBezTo>
                    <a:pt x="16331" y="15339"/>
                    <a:pt x="13515" y="17030"/>
                    <a:pt x="10564" y="17030"/>
                  </a:cubicBezTo>
                  <a:cubicBezTo>
                    <a:pt x="9495" y="17030"/>
                    <a:pt x="8409" y="16808"/>
                    <a:pt x="7370" y="16339"/>
                  </a:cubicBezTo>
                  <a:cubicBezTo>
                    <a:pt x="3477" y="14577"/>
                    <a:pt x="1750" y="9981"/>
                    <a:pt x="3512" y="6088"/>
                  </a:cubicBezTo>
                  <a:cubicBezTo>
                    <a:pt x="4806" y="3221"/>
                    <a:pt x="7627" y="1528"/>
                    <a:pt x="10576" y="1528"/>
                  </a:cubicBezTo>
                  <a:close/>
                  <a:moveTo>
                    <a:pt x="10580" y="1"/>
                  </a:moveTo>
                  <a:cubicBezTo>
                    <a:pt x="7046" y="1"/>
                    <a:pt x="3667" y="2029"/>
                    <a:pt x="2119" y="5457"/>
                  </a:cubicBezTo>
                  <a:cubicBezTo>
                    <a:pt x="0" y="10124"/>
                    <a:pt x="2072" y="15613"/>
                    <a:pt x="6739" y="17732"/>
                  </a:cubicBezTo>
                  <a:cubicBezTo>
                    <a:pt x="7972" y="18295"/>
                    <a:pt x="9261" y="18558"/>
                    <a:pt x="10534" y="18558"/>
                  </a:cubicBezTo>
                  <a:cubicBezTo>
                    <a:pt x="10822" y="18558"/>
                    <a:pt x="11109" y="18544"/>
                    <a:pt x="11394" y="18518"/>
                  </a:cubicBezTo>
                  <a:lnTo>
                    <a:pt x="15669" y="22840"/>
                  </a:lnTo>
                  <a:lnTo>
                    <a:pt x="16050" y="16768"/>
                  </a:lnTo>
                  <a:cubicBezTo>
                    <a:pt x="17300" y="15851"/>
                    <a:pt x="18336" y="14625"/>
                    <a:pt x="19026" y="13112"/>
                  </a:cubicBezTo>
                  <a:cubicBezTo>
                    <a:pt x="21134" y="8445"/>
                    <a:pt x="19062" y="2944"/>
                    <a:pt x="14395" y="825"/>
                  </a:cubicBezTo>
                  <a:cubicBezTo>
                    <a:pt x="13156" y="266"/>
                    <a:pt x="11858" y="1"/>
                    <a:pt x="10580" y="1"/>
                  </a:cubicBezTo>
                  <a:close/>
                </a:path>
              </a:pathLst>
            </a:custGeom>
            <a:solidFill>
              <a:schemeClr val="accent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sp>
          <p:nvSpPr>
            <p:cNvPr id="1518" name="Google Shape;1518;p38">
              <a:extLst>
                <a:ext uri="{FF2B5EF4-FFF2-40B4-BE49-F238E27FC236}">
                  <a16:creationId xmlns:a16="http://schemas.microsoft.com/office/drawing/2014/main" id="{E1F6103D-71F9-C6A8-A971-328C563A90F4}"/>
                </a:ext>
              </a:extLst>
            </p:cNvPr>
            <p:cNvSpPr/>
            <p:nvPr/>
          </p:nvSpPr>
          <p:spPr>
            <a:xfrm flipH="1">
              <a:off x="4632548" y="1694700"/>
              <a:ext cx="616775" cy="399175"/>
            </a:xfrm>
            <a:custGeom>
              <a:avLst/>
              <a:gdLst/>
              <a:ahLst/>
              <a:cxnLst/>
              <a:rect l="l" t="t" r="r" b="b"/>
              <a:pathLst>
                <a:path w="24671" h="15967" extrusionOk="0">
                  <a:moveTo>
                    <a:pt x="24670" y="0"/>
                  </a:moveTo>
                  <a:cubicBezTo>
                    <a:pt x="15252" y="715"/>
                    <a:pt x="6692" y="4501"/>
                    <a:pt x="1" y="10383"/>
                  </a:cubicBezTo>
                  <a:lnTo>
                    <a:pt x="5585" y="15967"/>
                  </a:lnTo>
                  <a:cubicBezTo>
                    <a:pt x="10823" y="11502"/>
                    <a:pt x="17419" y="8573"/>
                    <a:pt x="24670" y="7906"/>
                  </a:cubicBezTo>
                  <a:lnTo>
                    <a:pt x="24670" y="0"/>
                  </a:lnTo>
                  <a:close/>
                </a:path>
              </a:pathLst>
            </a:custGeom>
            <a:solidFill>
              <a:schemeClr val="accent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19" name="Google Shape;1519;p38">
            <a:extLst>
              <a:ext uri="{FF2B5EF4-FFF2-40B4-BE49-F238E27FC236}">
                <a16:creationId xmlns:a16="http://schemas.microsoft.com/office/drawing/2014/main" id="{2E9280D7-0D64-84F5-2D04-58D27DFA5F2C}"/>
              </a:ext>
            </a:extLst>
          </p:cNvPr>
          <p:cNvGrpSpPr/>
          <p:nvPr/>
        </p:nvGrpSpPr>
        <p:grpSpPr>
          <a:xfrm>
            <a:off x="175502" y="2671669"/>
            <a:ext cx="7935917" cy="2570529"/>
            <a:chOff x="131626" y="2003750"/>
            <a:chExt cx="5951937" cy="1927896"/>
          </a:xfrm>
        </p:grpSpPr>
        <p:sp>
          <p:nvSpPr>
            <p:cNvPr id="1522" name="Google Shape;1522;p38">
              <a:extLst>
                <a:ext uri="{FF2B5EF4-FFF2-40B4-BE49-F238E27FC236}">
                  <a16:creationId xmlns:a16="http://schemas.microsoft.com/office/drawing/2014/main" id="{082F8036-FC8F-3719-D713-B88E6F4CA429}"/>
                </a:ext>
              </a:extLst>
            </p:cNvPr>
            <p:cNvSpPr txBox="1"/>
            <p:nvPr/>
          </p:nvSpPr>
          <p:spPr>
            <a:xfrm>
              <a:off x="131626" y="3502046"/>
              <a:ext cx="3814748" cy="4296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i="0" u="none" strike="noStrike" kern="1200" cap="none" spc="0" normalizeH="0" baseline="0" noProof="0" dirty="0">
                  <a:ln>
                    <a:noFill/>
                  </a:ln>
                  <a:solidFill>
                    <a:srgbClr val="0070C0"/>
                  </a:solidFill>
                  <a:effectLst/>
                  <a:uLnTx/>
                  <a:uFillTx/>
                  <a:latin typeface="Calibri"/>
                  <a:ea typeface="Calibri"/>
                  <a:cs typeface="Calibri"/>
                  <a:sym typeface="Fira Sans Extra Condensed Medium"/>
                </a:rPr>
                <a:t> Σιδηροδρομική σύνδεση Φλώρινα- Θεσσαλονίκη</a:t>
              </a:r>
              <a:endParaRPr lang="el-GR" sz="2000" i="0" u="none" strike="noStrike" kern="1200" cap="none" spc="0" normalizeH="0" baseline="0" noProof="0" dirty="0">
                <a:ln>
                  <a:noFill/>
                </a:ln>
                <a:solidFill>
                  <a:srgbClr val="0070C0"/>
                </a:solidFill>
                <a:effectLst/>
                <a:uLnTx/>
                <a:uFillTx/>
                <a:latin typeface="Calibri"/>
                <a:ea typeface="Calibri"/>
                <a:cs typeface="Calibri"/>
              </a:endParaRPr>
            </a:p>
          </p:txBody>
        </p:sp>
        <p:sp>
          <p:nvSpPr>
            <p:cNvPr id="1524" name="Google Shape;1524;p38">
              <a:extLst>
                <a:ext uri="{FF2B5EF4-FFF2-40B4-BE49-F238E27FC236}">
                  <a16:creationId xmlns:a16="http://schemas.microsoft.com/office/drawing/2014/main" id="{EAEDA5C8-FC50-0B4E-47DF-06BDCC6B9927}"/>
                </a:ext>
              </a:extLst>
            </p:cNvPr>
            <p:cNvSpPr/>
            <p:nvPr/>
          </p:nvSpPr>
          <p:spPr>
            <a:xfrm flipH="1">
              <a:off x="5500138" y="2003750"/>
              <a:ext cx="583425" cy="464175"/>
            </a:xfrm>
            <a:custGeom>
              <a:avLst/>
              <a:gdLst/>
              <a:ahLst/>
              <a:cxnLst/>
              <a:rect l="l" t="t" r="r" b="b"/>
              <a:pathLst>
                <a:path w="23337" h="18567" extrusionOk="0">
                  <a:moveTo>
                    <a:pt x="10410" y="1534"/>
                  </a:moveTo>
                  <a:cubicBezTo>
                    <a:pt x="13672" y="1534"/>
                    <a:pt x="16706" y="3604"/>
                    <a:pt x="17777" y="6863"/>
                  </a:cubicBezTo>
                  <a:cubicBezTo>
                    <a:pt x="19110" y="10935"/>
                    <a:pt x="16896" y="15305"/>
                    <a:pt x="12824" y="16638"/>
                  </a:cubicBezTo>
                  <a:cubicBezTo>
                    <a:pt x="12020" y="16905"/>
                    <a:pt x="11204" y="17031"/>
                    <a:pt x="10402" y="17031"/>
                  </a:cubicBezTo>
                  <a:cubicBezTo>
                    <a:pt x="7149" y="17031"/>
                    <a:pt x="4118" y="14954"/>
                    <a:pt x="3049" y="11697"/>
                  </a:cubicBezTo>
                  <a:cubicBezTo>
                    <a:pt x="1715" y="7625"/>
                    <a:pt x="3930" y="3256"/>
                    <a:pt x="7990" y="1922"/>
                  </a:cubicBezTo>
                  <a:cubicBezTo>
                    <a:pt x="8793" y="1659"/>
                    <a:pt x="9608" y="1534"/>
                    <a:pt x="10410" y="1534"/>
                  </a:cubicBezTo>
                  <a:close/>
                  <a:moveTo>
                    <a:pt x="10419" y="0"/>
                  </a:moveTo>
                  <a:cubicBezTo>
                    <a:pt x="9456" y="0"/>
                    <a:pt x="8477" y="152"/>
                    <a:pt x="7513" y="470"/>
                  </a:cubicBezTo>
                  <a:cubicBezTo>
                    <a:pt x="2644" y="2065"/>
                    <a:pt x="1" y="7304"/>
                    <a:pt x="1596" y="12174"/>
                  </a:cubicBezTo>
                  <a:cubicBezTo>
                    <a:pt x="2877" y="16084"/>
                    <a:pt x="6508" y="18567"/>
                    <a:pt x="10410" y="18567"/>
                  </a:cubicBezTo>
                  <a:cubicBezTo>
                    <a:pt x="11367" y="18567"/>
                    <a:pt x="12341" y="18417"/>
                    <a:pt x="13300" y="18103"/>
                  </a:cubicBezTo>
                  <a:cubicBezTo>
                    <a:pt x="14871" y="17579"/>
                    <a:pt x="16217" y="16686"/>
                    <a:pt x="17265" y="15543"/>
                  </a:cubicBezTo>
                  <a:lnTo>
                    <a:pt x="23337" y="15817"/>
                  </a:lnTo>
                  <a:lnTo>
                    <a:pt x="19503" y="11090"/>
                  </a:lnTo>
                  <a:cubicBezTo>
                    <a:pt x="19813" y="9578"/>
                    <a:pt x="19741" y="7959"/>
                    <a:pt x="19229" y="6387"/>
                  </a:cubicBezTo>
                  <a:cubicBezTo>
                    <a:pt x="17950" y="2482"/>
                    <a:pt x="14319" y="0"/>
                    <a:pt x="10419" y="0"/>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sp>
          <p:nvSpPr>
            <p:cNvPr id="1525" name="Google Shape;1525;p38">
              <a:extLst>
                <a:ext uri="{FF2B5EF4-FFF2-40B4-BE49-F238E27FC236}">
                  <a16:creationId xmlns:a16="http://schemas.microsoft.com/office/drawing/2014/main" id="{AADFBB99-F9F1-3AA3-DB02-2FE653E41B25}"/>
                </a:ext>
              </a:extLst>
            </p:cNvPr>
            <p:cNvSpPr/>
            <p:nvPr/>
          </p:nvSpPr>
          <p:spPr>
            <a:xfrm flipH="1">
              <a:off x="5254575" y="2068250"/>
              <a:ext cx="386075" cy="615575"/>
            </a:xfrm>
            <a:custGeom>
              <a:avLst/>
              <a:gdLst/>
              <a:ahLst/>
              <a:cxnLst/>
              <a:rect l="l" t="t" r="r" b="b"/>
              <a:pathLst>
                <a:path w="15443" h="24623" extrusionOk="0">
                  <a:moveTo>
                    <a:pt x="9847" y="1"/>
                  </a:moveTo>
                  <a:cubicBezTo>
                    <a:pt x="4179" y="6740"/>
                    <a:pt x="572" y="15276"/>
                    <a:pt x="0" y="24623"/>
                  </a:cubicBezTo>
                  <a:lnTo>
                    <a:pt x="7882" y="24623"/>
                  </a:lnTo>
                  <a:cubicBezTo>
                    <a:pt x="8430" y="17443"/>
                    <a:pt x="11168" y="10883"/>
                    <a:pt x="15443" y="5597"/>
                  </a:cubicBezTo>
                  <a:lnTo>
                    <a:pt x="9847" y="1"/>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6" name="Google Shape;1526;p38">
            <a:extLst>
              <a:ext uri="{FF2B5EF4-FFF2-40B4-BE49-F238E27FC236}">
                <a16:creationId xmlns:a16="http://schemas.microsoft.com/office/drawing/2014/main" id="{05154BB4-F45B-CA4E-E180-381A24CE0EB2}"/>
              </a:ext>
            </a:extLst>
          </p:cNvPr>
          <p:cNvGrpSpPr/>
          <p:nvPr/>
        </p:nvGrpSpPr>
        <p:grpSpPr>
          <a:xfrm>
            <a:off x="6988632" y="3791534"/>
            <a:ext cx="1122800" cy="866651"/>
            <a:chOff x="5241475" y="2843650"/>
            <a:chExt cx="842100" cy="649988"/>
          </a:xfrm>
        </p:grpSpPr>
        <p:sp>
          <p:nvSpPr>
            <p:cNvPr id="1533" name="Google Shape;1533;p38">
              <a:extLst>
                <a:ext uri="{FF2B5EF4-FFF2-40B4-BE49-F238E27FC236}">
                  <a16:creationId xmlns:a16="http://schemas.microsoft.com/office/drawing/2014/main" id="{B0372687-CCC9-9FF8-5BCB-D320447D755A}"/>
                </a:ext>
              </a:extLst>
            </p:cNvPr>
            <p:cNvSpPr/>
            <p:nvPr/>
          </p:nvSpPr>
          <p:spPr>
            <a:xfrm flipH="1">
              <a:off x="5475725" y="3029513"/>
              <a:ext cx="607850" cy="464125"/>
            </a:xfrm>
            <a:custGeom>
              <a:avLst/>
              <a:gdLst/>
              <a:ahLst/>
              <a:cxnLst/>
              <a:rect l="l" t="t" r="r" b="b"/>
              <a:pathLst>
                <a:path w="24314" h="18565" extrusionOk="0">
                  <a:moveTo>
                    <a:pt x="10603" y="1533"/>
                  </a:moveTo>
                  <a:cubicBezTo>
                    <a:pt x="11755" y="1533"/>
                    <a:pt x="12924" y="1791"/>
                    <a:pt x="14026" y="2335"/>
                  </a:cubicBezTo>
                  <a:cubicBezTo>
                    <a:pt x="17860" y="4240"/>
                    <a:pt x="19432" y="8884"/>
                    <a:pt x="17527" y="12729"/>
                  </a:cubicBezTo>
                  <a:cubicBezTo>
                    <a:pt x="16180" y="15458"/>
                    <a:pt x="13439" y="17034"/>
                    <a:pt x="10585" y="17034"/>
                  </a:cubicBezTo>
                  <a:cubicBezTo>
                    <a:pt x="9429" y="17034"/>
                    <a:pt x="8253" y="16776"/>
                    <a:pt x="7145" y="16230"/>
                  </a:cubicBezTo>
                  <a:cubicBezTo>
                    <a:pt x="3311" y="14325"/>
                    <a:pt x="1739" y="9681"/>
                    <a:pt x="3644" y="5848"/>
                  </a:cubicBezTo>
                  <a:cubicBezTo>
                    <a:pt x="5001" y="3116"/>
                    <a:pt x="7749" y="1533"/>
                    <a:pt x="10603" y="1533"/>
                  </a:cubicBezTo>
                  <a:close/>
                  <a:moveTo>
                    <a:pt x="10596" y="1"/>
                  </a:moveTo>
                  <a:cubicBezTo>
                    <a:pt x="7179" y="1"/>
                    <a:pt x="3894" y="1897"/>
                    <a:pt x="2275" y="5169"/>
                  </a:cubicBezTo>
                  <a:cubicBezTo>
                    <a:pt x="1" y="9765"/>
                    <a:pt x="1882" y="15325"/>
                    <a:pt x="6466" y="17599"/>
                  </a:cubicBezTo>
                  <a:cubicBezTo>
                    <a:pt x="7790" y="18254"/>
                    <a:pt x="9194" y="18564"/>
                    <a:pt x="10578" y="18564"/>
                  </a:cubicBezTo>
                  <a:cubicBezTo>
                    <a:pt x="13998" y="18564"/>
                    <a:pt x="17289" y="16668"/>
                    <a:pt x="18908" y="13396"/>
                  </a:cubicBezTo>
                  <a:cubicBezTo>
                    <a:pt x="19634" y="11920"/>
                    <a:pt x="19932" y="10324"/>
                    <a:pt x="19849" y="8788"/>
                  </a:cubicBezTo>
                  <a:lnTo>
                    <a:pt x="24313" y="4645"/>
                  </a:lnTo>
                  <a:lnTo>
                    <a:pt x="18265" y="4062"/>
                  </a:lnTo>
                  <a:cubicBezTo>
                    <a:pt x="17396" y="2788"/>
                    <a:pt x="16193" y="1704"/>
                    <a:pt x="14705" y="966"/>
                  </a:cubicBezTo>
                  <a:cubicBezTo>
                    <a:pt x="13381" y="311"/>
                    <a:pt x="11978" y="1"/>
                    <a:pt x="1059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sp>
          <p:nvSpPr>
            <p:cNvPr id="1534" name="Google Shape;1534;p38">
              <a:extLst>
                <a:ext uri="{FF2B5EF4-FFF2-40B4-BE49-F238E27FC236}">
                  <a16:creationId xmlns:a16="http://schemas.microsoft.com/office/drawing/2014/main" id="{1A5672CE-AACD-D8FB-DBE4-A75D85CF0374}"/>
                </a:ext>
              </a:extLst>
            </p:cNvPr>
            <p:cNvSpPr/>
            <p:nvPr/>
          </p:nvSpPr>
          <p:spPr>
            <a:xfrm flipH="1">
              <a:off x="5241475" y="2843650"/>
              <a:ext cx="397100" cy="602175"/>
            </a:xfrm>
            <a:custGeom>
              <a:avLst/>
              <a:gdLst/>
              <a:ahLst/>
              <a:cxnLst/>
              <a:rect l="l" t="t" r="r" b="b"/>
              <a:pathLst>
                <a:path w="15884" h="24087" extrusionOk="0">
                  <a:moveTo>
                    <a:pt x="1" y="0"/>
                  </a:moveTo>
                  <a:cubicBezTo>
                    <a:pt x="810" y="9192"/>
                    <a:pt x="4561" y="17538"/>
                    <a:pt x="10300" y="24087"/>
                  </a:cubicBezTo>
                  <a:lnTo>
                    <a:pt x="15884" y="18503"/>
                  </a:lnTo>
                  <a:cubicBezTo>
                    <a:pt x="11550" y="13395"/>
                    <a:pt x="8680" y="7025"/>
                    <a:pt x="791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35" name="Google Shape;1535;p38">
            <a:extLst>
              <a:ext uri="{FF2B5EF4-FFF2-40B4-BE49-F238E27FC236}">
                <a16:creationId xmlns:a16="http://schemas.microsoft.com/office/drawing/2014/main" id="{E1E97677-C559-0E19-A960-D280AB2B6270}"/>
              </a:ext>
            </a:extLst>
          </p:cNvPr>
          <p:cNvGrpSpPr/>
          <p:nvPr/>
        </p:nvGrpSpPr>
        <p:grpSpPr>
          <a:xfrm>
            <a:off x="6176892" y="4612316"/>
            <a:ext cx="980857" cy="1010573"/>
            <a:chOff x="4632670" y="3459238"/>
            <a:chExt cx="735643" cy="757930"/>
          </a:xfrm>
        </p:grpSpPr>
        <p:sp>
          <p:nvSpPr>
            <p:cNvPr id="1540" name="Google Shape;1540;p38">
              <a:extLst>
                <a:ext uri="{FF2B5EF4-FFF2-40B4-BE49-F238E27FC236}">
                  <a16:creationId xmlns:a16="http://schemas.microsoft.com/office/drawing/2014/main" id="{64F3599E-EF1E-F165-74B9-39D1B552F2AF}"/>
                </a:ext>
              </a:extLst>
            </p:cNvPr>
            <p:cNvSpPr/>
            <p:nvPr/>
          </p:nvSpPr>
          <p:spPr>
            <a:xfrm flipH="1">
              <a:off x="4843813" y="3696605"/>
              <a:ext cx="524500" cy="520563"/>
            </a:xfrm>
            <a:custGeom>
              <a:avLst/>
              <a:gdLst/>
              <a:ahLst/>
              <a:cxnLst/>
              <a:rect l="l" t="t" r="r" b="b"/>
              <a:pathLst>
                <a:path w="20980" h="22479" extrusionOk="0">
                  <a:moveTo>
                    <a:pt x="10481" y="5447"/>
                  </a:moveTo>
                  <a:cubicBezTo>
                    <a:pt x="13615" y="5447"/>
                    <a:pt x="16567" y="7361"/>
                    <a:pt x="17741" y="10466"/>
                  </a:cubicBezTo>
                  <a:cubicBezTo>
                    <a:pt x="19253" y="14467"/>
                    <a:pt x="17229" y="18944"/>
                    <a:pt x="13217" y="20444"/>
                  </a:cubicBezTo>
                  <a:cubicBezTo>
                    <a:pt x="12317" y="20784"/>
                    <a:pt x="11392" y="20945"/>
                    <a:pt x="10484" y="20945"/>
                  </a:cubicBezTo>
                  <a:cubicBezTo>
                    <a:pt x="7352" y="20945"/>
                    <a:pt x="4402" y="19032"/>
                    <a:pt x="3239" y="15931"/>
                  </a:cubicBezTo>
                  <a:cubicBezTo>
                    <a:pt x="1727" y="11919"/>
                    <a:pt x="3751" y="7454"/>
                    <a:pt x="7763" y="5942"/>
                  </a:cubicBezTo>
                  <a:cubicBezTo>
                    <a:pt x="8659" y="5606"/>
                    <a:pt x="9578" y="5447"/>
                    <a:pt x="10481" y="5447"/>
                  </a:cubicBezTo>
                  <a:close/>
                  <a:moveTo>
                    <a:pt x="16467" y="1"/>
                  </a:moveTo>
                  <a:lnTo>
                    <a:pt x="11907" y="4025"/>
                  </a:lnTo>
                  <a:cubicBezTo>
                    <a:pt x="11442" y="3952"/>
                    <a:pt x="10969" y="3915"/>
                    <a:pt x="10492" y="3915"/>
                  </a:cubicBezTo>
                  <a:cubicBezTo>
                    <a:pt x="9406" y="3915"/>
                    <a:pt x="8299" y="4108"/>
                    <a:pt x="7216" y="4513"/>
                  </a:cubicBezTo>
                  <a:cubicBezTo>
                    <a:pt x="2429" y="6323"/>
                    <a:pt x="1" y="11669"/>
                    <a:pt x="1810" y="16467"/>
                  </a:cubicBezTo>
                  <a:cubicBezTo>
                    <a:pt x="3205" y="20189"/>
                    <a:pt x="6742" y="22479"/>
                    <a:pt x="10499" y="22479"/>
                  </a:cubicBezTo>
                  <a:cubicBezTo>
                    <a:pt x="11584" y="22479"/>
                    <a:pt x="12688" y="22287"/>
                    <a:pt x="13764" y="21884"/>
                  </a:cubicBezTo>
                  <a:cubicBezTo>
                    <a:pt x="18551" y="20075"/>
                    <a:pt x="20979" y="14717"/>
                    <a:pt x="19170" y="9931"/>
                  </a:cubicBezTo>
                  <a:cubicBezTo>
                    <a:pt x="18586" y="8371"/>
                    <a:pt x="17634" y="7073"/>
                    <a:pt x="16443" y="6085"/>
                  </a:cubicBezTo>
                  <a:lnTo>
                    <a:pt x="16467" y="1"/>
                  </a:ln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sp>
          <p:nvSpPr>
            <p:cNvPr id="1541" name="Google Shape;1541;p38">
              <a:extLst>
                <a:ext uri="{FF2B5EF4-FFF2-40B4-BE49-F238E27FC236}">
                  <a16:creationId xmlns:a16="http://schemas.microsoft.com/office/drawing/2014/main" id="{24F5F19E-EFB8-A064-4AFD-695958EF1302}"/>
                </a:ext>
              </a:extLst>
            </p:cNvPr>
            <p:cNvSpPr/>
            <p:nvPr/>
          </p:nvSpPr>
          <p:spPr>
            <a:xfrm flipH="1">
              <a:off x="4632670" y="3459238"/>
              <a:ext cx="609282" cy="369510"/>
            </a:xfrm>
            <a:custGeom>
              <a:avLst/>
              <a:gdLst/>
              <a:ahLst/>
              <a:cxnLst/>
              <a:rect l="l" t="t" r="r" b="b"/>
              <a:pathLst>
                <a:path w="24040" h="15443" extrusionOk="0">
                  <a:moveTo>
                    <a:pt x="5585" y="1"/>
                  </a:moveTo>
                  <a:lnTo>
                    <a:pt x="1" y="5596"/>
                  </a:lnTo>
                  <a:cubicBezTo>
                    <a:pt x="6585" y="11169"/>
                    <a:pt x="14907" y="14752"/>
                    <a:pt x="24039" y="15443"/>
                  </a:cubicBezTo>
                  <a:lnTo>
                    <a:pt x="24039" y="7537"/>
                  </a:lnTo>
                  <a:cubicBezTo>
                    <a:pt x="17074" y="6894"/>
                    <a:pt x="10728" y="4168"/>
                    <a:pt x="5585"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000000"/>
                </a:solidFill>
                <a:effectLst/>
                <a:uLnTx/>
                <a:uFillTx/>
                <a:latin typeface="Arial"/>
                <a:ea typeface="+mn-ea"/>
                <a:cs typeface="+mn-cs"/>
              </a:endParaRPr>
            </a:p>
          </p:txBody>
        </p:sp>
      </p:grpSp>
      <p:grpSp>
        <p:nvGrpSpPr>
          <p:cNvPr id="2" name="Google Shape;8734;p72">
            <a:extLst>
              <a:ext uri="{FF2B5EF4-FFF2-40B4-BE49-F238E27FC236}">
                <a16:creationId xmlns:a16="http://schemas.microsoft.com/office/drawing/2014/main" id="{E8888DE0-D6F8-BDCC-EE85-B2184542194D}"/>
              </a:ext>
            </a:extLst>
          </p:cNvPr>
          <p:cNvGrpSpPr/>
          <p:nvPr/>
        </p:nvGrpSpPr>
        <p:grpSpPr>
          <a:xfrm>
            <a:off x="286061" y="1045298"/>
            <a:ext cx="707615" cy="616173"/>
            <a:chOff x="-1951475" y="3273100"/>
            <a:chExt cx="291875" cy="222775"/>
          </a:xfrm>
          <a:solidFill>
            <a:srgbClr val="00B0F0"/>
          </a:solidFill>
        </p:grpSpPr>
        <p:sp>
          <p:nvSpPr>
            <p:cNvPr id="4" name="Google Shape;8735;p72">
              <a:extLst>
                <a:ext uri="{FF2B5EF4-FFF2-40B4-BE49-F238E27FC236}">
                  <a16:creationId xmlns:a16="http://schemas.microsoft.com/office/drawing/2014/main" id="{C1F25146-73AD-E148-6FF5-4BCFCCCDFCD4}"/>
                </a:ext>
              </a:extLst>
            </p:cNvPr>
            <p:cNvSpPr/>
            <p:nvPr/>
          </p:nvSpPr>
          <p:spPr>
            <a:xfrm>
              <a:off x="-1951475" y="3325050"/>
              <a:ext cx="51225" cy="119250"/>
            </a:xfrm>
            <a:custGeom>
              <a:avLst/>
              <a:gdLst/>
              <a:ahLst/>
              <a:cxnLst/>
              <a:rect l="l" t="t" r="r" b="b"/>
              <a:pathLst>
                <a:path w="2049" h="4770" extrusionOk="0">
                  <a:moveTo>
                    <a:pt x="1033" y="0"/>
                  </a:moveTo>
                  <a:cubicBezTo>
                    <a:pt x="518" y="0"/>
                    <a:pt x="0" y="339"/>
                    <a:pt x="0" y="1004"/>
                  </a:cubicBezTo>
                  <a:lnTo>
                    <a:pt x="0" y="3777"/>
                  </a:lnTo>
                  <a:cubicBezTo>
                    <a:pt x="0" y="4438"/>
                    <a:pt x="512" y="4769"/>
                    <a:pt x="1024" y="4769"/>
                  </a:cubicBezTo>
                  <a:cubicBezTo>
                    <a:pt x="1536" y="4769"/>
                    <a:pt x="2048" y="4438"/>
                    <a:pt x="2048" y="3777"/>
                  </a:cubicBezTo>
                  <a:lnTo>
                    <a:pt x="2048" y="1004"/>
                  </a:lnTo>
                  <a:cubicBezTo>
                    <a:pt x="2048" y="331"/>
                    <a:pt x="1542" y="0"/>
                    <a:pt x="1033"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Google Shape;8736;p72">
              <a:extLst>
                <a:ext uri="{FF2B5EF4-FFF2-40B4-BE49-F238E27FC236}">
                  <a16:creationId xmlns:a16="http://schemas.microsoft.com/office/drawing/2014/main" id="{5FA054C9-6391-830C-B63A-619EAC109B00}"/>
                </a:ext>
              </a:extLst>
            </p:cNvPr>
            <p:cNvSpPr/>
            <p:nvPr/>
          </p:nvSpPr>
          <p:spPr>
            <a:xfrm>
              <a:off x="-1711250" y="3273100"/>
              <a:ext cx="51650" cy="221725"/>
            </a:xfrm>
            <a:custGeom>
              <a:avLst/>
              <a:gdLst/>
              <a:ahLst/>
              <a:cxnLst/>
              <a:rect l="l" t="t" r="r" b="b"/>
              <a:pathLst>
                <a:path w="2066" h="8869" extrusionOk="0">
                  <a:moveTo>
                    <a:pt x="1027" y="0"/>
                  </a:moveTo>
                  <a:cubicBezTo>
                    <a:pt x="608" y="0"/>
                    <a:pt x="186" y="229"/>
                    <a:pt x="32" y="719"/>
                  </a:cubicBezTo>
                  <a:cubicBezTo>
                    <a:pt x="0" y="814"/>
                    <a:pt x="0" y="940"/>
                    <a:pt x="0" y="1003"/>
                  </a:cubicBezTo>
                  <a:lnTo>
                    <a:pt x="0" y="7871"/>
                  </a:lnTo>
                  <a:cubicBezTo>
                    <a:pt x="0" y="7934"/>
                    <a:pt x="0" y="8060"/>
                    <a:pt x="32" y="8123"/>
                  </a:cubicBezTo>
                  <a:cubicBezTo>
                    <a:pt x="173" y="8632"/>
                    <a:pt x="594" y="8869"/>
                    <a:pt x="1015" y="8869"/>
                  </a:cubicBezTo>
                  <a:cubicBezTo>
                    <a:pt x="1532" y="8869"/>
                    <a:pt x="2048" y="8513"/>
                    <a:pt x="2048" y="7871"/>
                  </a:cubicBezTo>
                  <a:lnTo>
                    <a:pt x="2048" y="1003"/>
                  </a:lnTo>
                  <a:cubicBezTo>
                    <a:pt x="2066" y="356"/>
                    <a:pt x="1549" y="0"/>
                    <a:pt x="1027"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8737;p72">
              <a:extLst>
                <a:ext uri="{FF2B5EF4-FFF2-40B4-BE49-F238E27FC236}">
                  <a16:creationId xmlns:a16="http://schemas.microsoft.com/office/drawing/2014/main" id="{B4C6D4AC-C71D-3EE2-0696-AB2B1105A993}"/>
                </a:ext>
              </a:extLst>
            </p:cNvPr>
            <p:cNvSpPr/>
            <p:nvPr/>
          </p:nvSpPr>
          <p:spPr>
            <a:xfrm>
              <a:off x="-1886900" y="3296575"/>
              <a:ext cx="156775" cy="199300"/>
            </a:xfrm>
            <a:custGeom>
              <a:avLst/>
              <a:gdLst/>
              <a:ahLst/>
              <a:cxnLst/>
              <a:rect l="l" t="t" r="r" b="b"/>
              <a:pathLst>
                <a:path w="6271" h="7972" extrusionOk="0">
                  <a:moveTo>
                    <a:pt x="851" y="5672"/>
                  </a:moveTo>
                  <a:lnTo>
                    <a:pt x="3466" y="6333"/>
                  </a:lnTo>
                  <a:cubicBezTo>
                    <a:pt x="3277" y="6869"/>
                    <a:pt x="2773" y="7279"/>
                    <a:pt x="2174" y="7279"/>
                  </a:cubicBezTo>
                  <a:cubicBezTo>
                    <a:pt x="1418" y="7279"/>
                    <a:pt x="788" y="6648"/>
                    <a:pt x="788" y="5892"/>
                  </a:cubicBezTo>
                  <a:cubicBezTo>
                    <a:pt x="851" y="5798"/>
                    <a:pt x="851" y="5735"/>
                    <a:pt x="851" y="5672"/>
                  </a:cubicBezTo>
                  <a:close/>
                  <a:moveTo>
                    <a:pt x="6270" y="1"/>
                  </a:moveTo>
                  <a:lnTo>
                    <a:pt x="1" y="1576"/>
                  </a:lnTo>
                  <a:cubicBezTo>
                    <a:pt x="95" y="1734"/>
                    <a:pt x="127" y="1923"/>
                    <a:pt x="127" y="2143"/>
                  </a:cubicBezTo>
                  <a:lnTo>
                    <a:pt x="127" y="4916"/>
                  </a:lnTo>
                  <a:cubicBezTo>
                    <a:pt x="127" y="5105"/>
                    <a:pt x="95" y="5294"/>
                    <a:pt x="1" y="5514"/>
                  </a:cubicBezTo>
                  <a:lnTo>
                    <a:pt x="158" y="5546"/>
                  </a:lnTo>
                  <a:cubicBezTo>
                    <a:pt x="127" y="5672"/>
                    <a:pt x="127" y="5829"/>
                    <a:pt x="127" y="5924"/>
                  </a:cubicBezTo>
                  <a:cubicBezTo>
                    <a:pt x="127" y="7090"/>
                    <a:pt x="1040" y="7972"/>
                    <a:pt x="2174" y="7972"/>
                  </a:cubicBezTo>
                  <a:cubicBezTo>
                    <a:pt x="3120" y="7972"/>
                    <a:pt x="3907" y="7405"/>
                    <a:pt x="4159" y="6522"/>
                  </a:cubicBezTo>
                  <a:lnTo>
                    <a:pt x="6270" y="7090"/>
                  </a:lnTo>
                  <a:lnTo>
                    <a:pt x="6270" y="5672"/>
                  </a:lnTo>
                  <a:lnTo>
                    <a:pt x="6270" y="2238"/>
                  </a:lnTo>
                  <a:lnTo>
                    <a:pt x="6270"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 name="Google Shape;1510;p38">
            <a:extLst>
              <a:ext uri="{FF2B5EF4-FFF2-40B4-BE49-F238E27FC236}">
                <a16:creationId xmlns:a16="http://schemas.microsoft.com/office/drawing/2014/main" id="{81D34EB3-FF1F-7665-FDD8-180C03ACC9B7}"/>
              </a:ext>
            </a:extLst>
          </p:cNvPr>
          <p:cNvSpPr txBox="1"/>
          <p:nvPr/>
        </p:nvSpPr>
        <p:spPr>
          <a:xfrm>
            <a:off x="1185771" y="1792287"/>
            <a:ext cx="3965226" cy="572800"/>
          </a:xfrm>
          <a:prstGeom prst="rect">
            <a:avLst/>
          </a:prstGeom>
          <a:noFill/>
          <a:ln>
            <a:noFill/>
          </a:ln>
        </p:spPr>
        <p:txBody>
          <a:bodyPr spcFirstLastPara="1" wrap="square" lIns="121900" tIns="121900" rIns="121900" bIns="121900" anchor="ctr" anchorCtr="0">
            <a:noAutofit/>
          </a:bodyPr>
          <a:lstStyle/>
          <a:p>
            <a:pPr marL="0" marR="0" lvl="0" indent="0" algn="l" defTabSz="266700" rtl="0" eaLnBrk="1" fontAlgn="auto" latinLnBrk="0" hangingPunct="1">
              <a:lnSpc>
                <a:spcPct val="100000"/>
              </a:lnSpc>
              <a:spcBef>
                <a:spcPts val="0"/>
              </a:spcBef>
              <a:spcAft>
                <a:spcPts val="0"/>
              </a:spcAft>
              <a:buClrTx/>
              <a:buSzTx/>
              <a:buFontTx/>
              <a:buNone/>
              <a:tabLst/>
              <a:defRPr/>
            </a:pPr>
            <a:r>
              <a:rPr kumimoji="0" lang="el-GR" sz="2000" u="none" strike="noStrike" kern="1200" cap="none" spc="0" normalizeH="0" baseline="0" noProof="0" dirty="0">
                <a:ln>
                  <a:noFill/>
                </a:ln>
                <a:solidFill>
                  <a:srgbClr val="0070C0"/>
                </a:solidFill>
                <a:effectLst/>
                <a:uLnTx/>
                <a:uFillTx/>
                <a:latin typeface="Calibri"/>
                <a:ea typeface="Calibri"/>
                <a:cs typeface="Calibri"/>
                <a:sym typeface="Fira Sans Extra Condensed Medium"/>
              </a:rPr>
              <a:t>Εθνικό οδικό δίκτυο (σύνδεση με Εγνατία οδό - Πτολεμαΐδα - Αμύνταιο) | Τμήμα Πτολεμαΐδα – Ξινό Νερό</a:t>
            </a:r>
            <a:endParaRPr lang="el-GR" sz="1800" u="none" strike="noStrike" kern="1200" cap="none" spc="0" normalizeH="0" baseline="0" noProof="0" dirty="0">
              <a:ln>
                <a:noFill/>
              </a:ln>
              <a:solidFill>
                <a:srgbClr val="000000"/>
              </a:solidFill>
              <a:effectLst/>
              <a:uLnTx/>
              <a:uFillTx/>
              <a:latin typeface="Aptos"/>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2000" b="1" i="0" u="none" strike="noStrike" kern="1200" cap="none" spc="0" normalizeH="0" baseline="0" noProof="0" dirty="0">
              <a:ln>
                <a:noFill/>
              </a:ln>
              <a:solidFill>
                <a:srgbClr val="0070C0"/>
              </a:solidFill>
              <a:effectLst/>
              <a:uLnTx/>
              <a:uFillTx/>
              <a:latin typeface="Calibri"/>
              <a:ea typeface="Calibri"/>
              <a:cs typeface="Calibri"/>
            </a:endParaRPr>
          </a:p>
        </p:txBody>
      </p:sp>
      <p:sp>
        <p:nvSpPr>
          <p:cNvPr id="8" name="Google Shape;1499;p38">
            <a:extLst>
              <a:ext uri="{FF2B5EF4-FFF2-40B4-BE49-F238E27FC236}">
                <a16:creationId xmlns:a16="http://schemas.microsoft.com/office/drawing/2014/main" id="{9AFD8FE8-C7FF-4928-DFF4-A1F4B5A64D12}"/>
              </a:ext>
            </a:extLst>
          </p:cNvPr>
          <p:cNvSpPr txBox="1"/>
          <p:nvPr/>
        </p:nvSpPr>
        <p:spPr>
          <a:xfrm>
            <a:off x="7393387" y="5789410"/>
            <a:ext cx="4078038" cy="628017"/>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i="0" u="none" strike="noStrike" kern="1200" cap="none" spc="0" normalizeH="0" baseline="0" noProof="0" dirty="0">
                <a:ln>
                  <a:noFill/>
                </a:ln>
                <a:solidFill>
                  <a:srgbClr val="0070C0"/>
                </a:solidFill>
                <a:effectLst/>
                <a:uLnTx/>
                <a:uFillTx/>
                <a:latin typeface="Calibri"/>
                <a:ea typeface="Fira Sans Extra Condensed Medium"/>
                <a:cs typeface="Fira Sans Extra Condensed Medium"/>
              </a:rPr>
              <a:t>Επιχειρηματικότητα σε παραμεθόριες περιοχές</a:t>
            </a:r>
            <a:endParaRPr lang="el-GR" sz="2000" i="0" u="none" strike="noStrike" kern="1200" cap="none" spc="0" normalizeH="0" baseline="0" noProof="0" dirty="0">
              <a:ln>
                <a:noFill/>
              </a:ln>
              <a:solidFill>
                <a:srgbClr val="0070C0"/>
              </a:solidFill>
              <a:effectLst/>
              <a:uLnTx/>
              <a:uFillTx/>
              <a:latin typeface="Calibri"/>
              <a:ea typeface="Fira Sans Extra Condensed Medium"/>
              <a:cs typeface="Fira Sans Extra Condensed Medium"/>
            </a:endParaRPr>
          </a:p>
        </p:txBody>
      </p:sp>
      <p:sp>
        <p:nvSpPr>
          <p:cNvPr id="11" name="Google Shape;414;p13">
            <a:extLst>
              <a:ext uri="{FF2B5EF4-FFF2-40B4-BE49-F238E27FC236}">
                <a16:creationId xmlns:a16="http://schemas.microsoft.com/office/drawing/2014/main" id="{33876B89-7E2D-BB50-9EC2-E00022F77F56}"/>
              </a:ext>
            </a:extLst>
          </p:cNvPr>
          <p:cNvSpPr/>
          <p:nvPr/>
        </p:nvSpPr>
        <p:spPr>
          <a:xfrm>
            <a:off x="779435" y="158892"/>
            <a:ext cx="7437063"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buFont typeface="Arial"/>
              <a:buNone/>
              <a:defRPr/>
            </a:pPr>
            <a:r>
              <a:rPr lang="el-GR" sz="3300" kern="0">
                <a:solidFill>
                  <a:srgbClr val="002060"/>
                </a:solidFill>
                <a:latin typeface="Arial Black"/>
                <a:ea typeface="Arial Black"/>
                <a:cs typeface="Arial Black"/>
                <a:sym typeface="Arial Black"/>
              </a:rPr>
              <a:t>Άμεσες παρεμβάσεις - Φλώρινα</a:t>
            </a:r>
            <a:endParaRPr lang="el-GR" sz="3334" kern="0">
              <a:solidFill>
                <a:srgbClr val="002060"/>
              </a:solidFill>
              <a:latin typeface="Arial Black"/>
              <a:ea typeface="Arial Black"/>
              <a:cs typeface="Arial Black"/>
              <a:sym typeface="Arial Black"/>
            </a:endParaRPr>
          </a:p>
        </p:txBody>
      </p:sp>
      <p:cxnSp>
        <p:nvCxnSpPr>
          <p:cNvPr id="13" name="Ευθεία γραμμή σύνδεσης 12">
            <a:extLst>
              <a:ext uri="{FF2B5EF4-FFF2-40B4-BE49-F238E27FC236}">
                <a16:creationId xmlns:a16="http://schemas.microsoft.com/office/drawing/2014/main" id="{6A126171-B1E1-989C-CB54-17581AD85A47}"/>
              </a:ext>
            </a:extLst>
          </p:cNvPr>
          <p:cNvCxnSpPr/>
          <p:nvPr/>
        </p:nvCxnSpPr>
        <p:spPr>
          <a:xfrm>
            <a:off x="261643" y="779953"/>
            <a:ext cx="11668715" cy="0"/>
          </a:xfrm>
          <a:prstGeom prst="line">
            <a:avLst/>
          </a:prstGeom>
        </p:spPr>
        <p:style>
          <a:lnRef idx="3">
            <a:schemeClr val="accent1"/>
          </a:lnRef>
          <a:fillRef idx="0">
            <a:schemeClr val="accent1"/>
          </a:fillRef>
          <a:effectRef idx="2">
            <a:schemeClr val="accent1"/>
          </a:effectRef>
          <a:fontRef idx="minor">
            <a:schemeClr val="tx1"/>
          </a:fontRef>
        </p:style>
      </p:cxnSp>
      <p:sp>
        <p:nvSpPr>
          <p:cNvPr id="12" name="Google Shape;1499;p38">
            <a:extLst>
              <a:ext uri="{FF2B5EF4-FFF2-40B4-BE49-F238E27FC236}">
                <a16:creationId xmlns:a16="http://schemas.microsoft.com/office/drawing/2014/main" id="{B8891765-7DA3-B472-FDD5-ECCF59CAC2B1}"/>
              </a:ext>
            </a:extLst>
          </p:cNvPr>
          <p:cNvSpPr txBox="1"/>
          <p:nvPr/>
        </p:nvSpPr>
        <p:spPr>
          <a:xfrm>
            <a:off x="931066" y="5709667"/>
            <a:ext cx="3351393" cy="5728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i="0" u="none" strike="noStrike" kern="1200" cap="none" spc="0" normalizeH="0" baseline="0" noProof="0" dirty="0">
                <a:ln>
                  <a:noFill/>
                </a:ln>
                <a:solidFill>
                  <a:srgbClr val="0070C0"/>
                </a:solidFill>
                <a:effectLst/>
                <a:uLnTx/>
                <a:uFillTx/>
                <a:latin typeface="Calibri"/>
                <a:ea typeface="Calibri"/>
                <a:cs typeface="Calibri"/>
                <a:sym typeface="Fira Sans Extra Condensed Medium"/>
              </a:rPr>
              <a:t>Αναβάθμιση χιονοδρομικού Βίγλας </a:t>
            </a:r>
            <a:r>
              <a:rPr kumimoji="0" lang="el-GR" sz="2000" i="0" u="none" strike="noStrike" kern="1200" cap="none" spc="0" normalizeH="0" baseline="0" noProof="0" dirty="0" err="1">
                <a:ln>
                  <a:noFill/>
                </a:ln>
                <a:solidFill>
                  <a:srgbClr val="0070C0"/>
                </a:solidFill>
                <a:effectLst/>
                <a:uLnTx/>
                <a:uFillTx/>
                <a:latin typeface="Calibri"/>
                <a:ea typeface="Calibri"/>
                <a:cs typeface="Calibri"/>
                <a:sym typeface="Fira Sans Extra Condensed Medium"/>
              </a:rPr>
              <a:t>Πισοδερίου</a:t>
            </a:r>
            <a:endParaRPr lang="el-GR" sz="2000" i="0" u="none" strike="noStrike" kern="1200" cap="none" spc="0" normalizeH="0" baseline="0" noProof="0" dirty="0">
              <a:ln>
                <a:noFill/>
              </a:ln>
              <a:solidFill>
                <a:srgbClr val="0070C0"/>
              </a:solidFill>
              <a:effectLst/>
              <a:uLnTx/>
              <a:uFillTx/>
              <a:latin typeface="Calibri"/>
              <a:ea typeface="Calibri"/>
              <a:cs typeface="Calibri"/>
            </a:endParaRPr>
          </a:p>
        </p:txBody>
      </p:sp>
      <p:sp>
        <p:nvSpPr>
          <p:cNvPr id="15" name="Google Shape;1516;p38">
            <a:extLst>
              <a:ext uri="{FF2B5EF4-FFF2-40B4-BE49-F238E27FC236}">
                <a16:creationId xmlns:a16="http://schemas.microsoft.com/office/drawing/2014/main" id="{9114572C-3316-C090-8605-B82B60A20870}"/>
              </a:ext>
            </a:extLst>
          </p:cNvPr>
          <p:cNvSpPr txBox="1"/>
          <p:nvPr/>
        </p:nvSpPr>
        <p:spPr>
          <a:xfrm>
            <a:off x="7959754" y="2389400"/>
            <a:ext cx="3957799" cy="81412"/>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i="0" u="none" strike="noStrike" kern="1200" cap="none" spc="0" normalizeH="0" baseline="0" noProof="0">
                <a:ln>
                  <a:noFill/>
                </a:ln>
                <a:solidFill>
                  <a:srgbClr val="0070C0"/>
                </a:solidFill>
                <a:effectLst/>
                <a:uLnTx/>
                <a:uFillTx/>
                <a:latin typeface="Fira Sans Extra Condensed Mediu"/>
                <a:ea typeface="Calibri"/>
                <a:cs typeface="Calibri"/>
              </a:rPr>
              <a:t>Φοιτητικές εστίες για 150 φοιτητές</a:t>
            </a:r>
            <a:endParaRPr lang="el-GR" sz="2000" i="0" u="none" strike="noStrike" kern="1200" cap="none" spc="0" normalizeH="0" baseline="0" noProof="0">
              <a:ln>
                <a:noFill/>
              </a:ln>
              <a:solidFill>
                <a:srgbClr val="0070C0"/>
              </a:solidFill>
              <a:effectLst/>
              <a:uLnTx/>
              <a:uFillTx/>
              <a:latin typeface="Fira Sans Extra Condensed Mediu"/>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2000" b="0" i="0" u="none" strike="noStrike" kern="1200" cap="none" spc="0" normalizeH="0" baseline="0" noProof="0">
              <a:ln>
                <a:noFill/>
              </a:ln>
              <a:solidFill>
                <a:srgbClr val="5AA2AE"/>
              </a:solidFill>
              <a:effectLst/>
              <a:uLnTx/>
              <a:uFillTx/>
              <a:latin typeface="Fira Sans Extra Condensed Medium"/>
              <a:ea typeface="+mn-ea"/>
              <a:cs typeface="+mn-cs"/>
            </a:endParaRPr>
          </a:p>
        </p:txBody>
      </p:sp>
      <p:sp>
        <p:nvSpPr>
          <p:cNvPr id="17" name="Google Shape;1538;p38">
            <a:extLst>
              <a:ext uri="{FF2B5EF4-FFF2-40B4-BE49-F238E27FC236}">
                <a16:creationId xmlns:a16="http://schemas.microsoft.com/office/drawing/2014/main" id="{A6788291-91BC-4DC7-66C5-8E35FFA82A9A}"/>
              </a:ext>
            </a:extLst>
          </p:cNvPr>
          <p:cNvSpPr txBox="1"/>
          <p:nvPr/>
        </p:nvSpPr>
        <p:spPr>
          <a:xfrm>
            <a:off x="8298108" y="4572256"/>
            <a:ext cx="3913076" cy="5728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i="0" u="none" strike="noStrike" kern="1200" cap="none" spc="0" normalizeH="0" baseline="0" noProof="0" dirty="0">
                <a:ln>
                  <a:noFill/>
                </a:ln>
                <a:solidFill>
                  <a:srgbClr val="0070C0"/>
                </a:solidFill>
                <a:effectLst/>
                <a:uLnTx/>
                <a:uFillTx/>
                <a:latin typeface="Calibri"/>
                <a:ea typeface="Calibri"/>
                <a:cs typeface="Calibri"/>
                <a:sym typeface="Fira Sans Extra Condensed Medium"/>
              </a:rPr>
              <a:t>Αναβάθμιση ΚΕΦΙΑΠ Αμυνταίου | Αναβάθμιση ΓΝΑ Φλώρινας </a:t>
            </a:r>
            <a:r>
              <a:rPr kumimoji="0" lang="en-GB" sz="2000" i="0" u="none" strike="noStrike" kern="1200" cap="none" spc="0" normalizeH="0" baseline="0" noProof="0" dirty="0">
                <a:ln>
                  <a:noFill/>
                </a:ln>
                <a:solidFill>
                  <a:srgbClr val="0070C0"/>
                </a:solidFill>
                <a:effectLst/>
                <a:uLnTx/>
                <a:uFillTx/>
                <a:latin typeface="Calibri"/>
                <a:ea typeface="Calibri"/>
                <a:cs typeface="Calibri"/>
                <a:sym typeface="Fira Sans Extra Condensed Medium"/>
              </a:rPr>
              <a:t>&amp;</a:t>
            </a:r>
            <a:r>
              <a:rPr kumimoji="0" lang="el-GR" sz="2000" i="0" u="none" strike="noStrike" kern="1200" cap="none" spc="0" normalizeH="0" baseline="0" noProof="0" dirty="0">
                <a:ln>
                  <a:noFill/>
                </a:ln>
                <a:solidFill>
                  <a:srgbClr val="0070C0"/>
                </a:solidFill>
                <a:effectLst/>
                <a:uLnTx/>
                <a:uFillTx/>
                <a:latin typeface="Calibri"/>
                <a:ea typeface="Calibri"/>
                <a:cs typeface="Calibri"/>
                <a:sym typeface="Fira Sans Extra Condensed Medium"/>
              </a:rPr>
              <a:t> ΚΥ Αμύνταιο</a:t>
            </a:r>
            <a:endParaRPr lang="el-GR" sz="2000" i="0" u="none" strike="noStrike" kern="1200" cap="none" spc="0" normalizeH="0" baseline="0" noProof="0" dirty="0">
              <a:ln>
                <a:noFill/>
              </a:ln>
              <a:solidFill>
                <a:srgbClr val="0070C0"/>
              </a:solidFill>
              <a:effectLst/>
              <a:uLnTx/>
              <a:uFillTx/>
              <a:latin typeface="Calibri"/>
              <a:ea typeface="Calibri"/>
              <a:cs typeface="Calibri"/>
            </a:endParaRPr>
          </a:p>
        </p:txBody>
      </p:sp>
      <p:sp>
        <p:nvSpPr>
          <p:cNvPr id="19" name="Google Shape;1516;p38">
            <a:extLst>
              <a:ext uri="{FF2B5EF4-FFF2-40B4-BE49-F238E27FC236}">
                <a16:creationId xmlns:a16="http://schemas.microsoft.com/office/drawing/2014/main" id="{8C9B7FB4-E5B5-1C68-E83A-A62229C6A212}"/>
              </a:ext>
            </a:extLst>
          </p:cNvPr>
          <p:cNvSpPr txBox="1"/>
          <p:nvPr/>
        </p:nvSpPr>
        <p:spPr>
          <a:xfrm>
            <a:off x="8298108" y="3228240"/>
            <a:ext cx="4021299" cy="19934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i="0" u="none" strike="noStrike" kern="1200" cap="none" spc="0" normalizeH="0" baseline="0" noProof="0" dirty="0">
                <a:ln>
                  <a:noFill/>
                </a:ln>
                <a:solidFill>
                  <a:srgbClr val="0070C0"/>
                </a:solidFill>
                <a:effectLst/>
                <a:uLnTx/>
                <a:uFillTx/>
                <a:latin typeface="Fira Sans Extra Condensed Mediu"/>
                <a:ea typeface="Calibri"/>
                <a:cs typeface="Calibri"/>
              </a:rPr>
              <a:t>Νέα Κατεύθυνση Συμπεριληπτική Εκπαίδευση – Ειδική Αγωγή στο Παιδαγωγικό Τμήμα | 100 φοιτητές</a:t>
            </a:r>
            <a:endParaRPr lang="el-GR" sz="2000" i="0" u="none" strike="noStrike" kern="1200" cap="none" spc="0" normalizeH="0" baseline="0" noProof="0" dirty="0">
              <a:ln>
                <a:noFill/>
              </a:ln>
              <a:solidFill>
                <a:srgbClr val="5AA2AE"/>
              </a:solidFill>
              <a:effectLst/>
              <a:uLnTx/>
              <a:uFillTx/>
              <a:latin typeface="Fira Sans Extra Condensed Medium"/>
            </a:endParaRPr>
          </a:p>
        </p:txBody>
      </p:sp>
      <p:sp>
        <p:nvSpPr>
          <p:cNvPr id="21" name="Google Shape;1531;p38">
            <a:extLst>
              <a:ext uri="{FF2B5EF4-FFF2-40B4-BE49-F238E27FC236}">
                <a16:creationId xmlns:a16="http://schemas.microsoft.com/office/drawing/2014/main" id="{76270BEE-3502-B9DB-5FD0-B96851F5CDB1}"/>
              </a:ext>
            </a:extLst>
          </p:cNvPr>
          <p:cNvSpPr txBox="1"/>
          <p:nvPr/>
        </p:nvSpPr>
        <p:spPr>
          <a:xfrm>
            <a:off x="4574566" y="5996067"/>
            <a:ext cx="1798542" cy="5728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i="0" u="none" strike="noStrike" kern="1200" cap="none" spc="0" normalizeH="0" baseline="0" noProof="0" dirty="0">
                <a:ln>
                  <a:noFill/>
                </a:ln>
                <a:solidFill>
                  <a:srgbClr val="0070C0"/>
                </a:solidFill>
                <a:effectLst/>
                <a:uLnTx/>
                <a:uFillTx/>
                <a:latin typeface="Calibri"/>
                <a:ea typeface="Fira Sans Extra Condensed Medium"/>
                <a:cs typeface="Fira Sans Extra Condensed Medium"/>
              </a:rPr>
              <a:t>Τηλεθέρμανση</a:t>
            </a:r>
            <a:endParaRPr lang="el-GR" sz="2000" i="0" u="none" strike="noStrike" kern="1200" cap="none" spc="0" normalizeH="0" baseline="0" noProof="0" dirty="0">
              <a:ln>
                <a:noFill/>
              </a:ln>
              <a:solidFill>
                <a:srgbClr val="0070C0"/>
              </a:solidFill>
              <a:effectLst/>
              <a:uLnTx/>
              <a:uFillTx/>
              <a:latin typeface="Calibri"/>
              <a:ea typeface="Fira Sans Extra Condensed Medium"/>
              <a:cs typeface="Fira Sans Extra Condensed Medium"/>
            </a:endParaRPr>
          </a:p>
        </p:txBody>
      </p:sp>
    </p:spTree>
    <p:extLst>
      <p:ext uri="{BB962C8B-B14F-4D97-AF65-F5344CB8AC3E}">
        <p14:creationId xmlns:p14="http://schemas.microsoft.com/office/powerpoint/2010/main" val="23954537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414;p13">
            <a:extLst>
              <a:ext uri="{FF2B5EF4-FFF2-40B4-BE49-F238E27FC236}">
                <a16:creationId xmlns:a16="http://schemas.microsoft.com/office/drawing/2014/main" id="{9BC96FFB-AF72-1B7A-6ED7-DE08CAE51648}"/>
              </a:ext>
            </a:extLst>
          </p:cNvPr>
          <p:cNvSpPr/>
          <p:nvPr/>
        </p:nvSpPr>
        <p:spPr>
          <a:xfrm>
            <a:off x="438541" y="289234"/>
            <a:ext cx="11676761" cy="371184"/>
          </a:xfrm>
          <a:prstGeom prst="rect">
            <a:avLst/>
          </a:prstGeom>
          <a:noFill/>
          <a:ln>
            <a:noFill/>
          </a:ln>
        </p:spPr>
        <p:txBody>
          <a:bodyPr spcFirstLastPara="1" wrap="square" lIns="0" tIns="0" rIns="0" bIns="0" anchor="t" anchorCtr="0">
            <a:noAutofit/>
          </a:bodyPr>
          <a:lstStyle/>
          <a:p>
            <a:pPr defTabSz="609630">
              <a:lnSpc>
                <a:spcPct val="117222"/>
              </a:lnSpc>
              <a:defRPr/>
            </a:pPr>
            <a:r>
              <a:rPr lang="el-GR" sz="2500" kern="0">
                <a:solidFill>
                  <a:srgbClr val="002060"/>
                </a:solidFill>
                <a:latin typeface="Arial Black"/>
                <a:cs typeface="Arial"/>
                <a:sym typeface="Arial Black"/>
              </a:rPr>
              <a:t>Γρεβενά &amp; Καστοριά</a:t>
            </a:r>
            <a:endParaRPr lang="el-GR"/>
          </a:p>
        </p:txBody>
      </p:sp>
      <p:cxnSp>
        <p:nvCxnSpPr>
          <p:cNvPr id="10" name="Ευθεία γραμμή σύνδεσης 9">
            <a:extLst>
              <a:ext uri="{FF2B5EF4-FFF2-40B4-BE49-F238E27FC236}">
                <a16:creationId xmlns:a16="http://schemas.microsoft.com/office/drawing/2014/main" id="{80EF63AD-E907-9BB3-1EDF-C7D1624AABE6}"/>
              </a:ext>
            </a:extLst>
          </p:cNvPr>
          <p:cNvCxnSpPr/>
          <p:nvPr/>
        </p:nvCxnSpPr>
        <p:spPr>
          <a:xfrm>
            <a:off x="341854" y="850137"/>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12" name="Google Shape;1275;p29">
            <a:extLst>
              <a:ext uri="{FF2B5EF4-FFF2-40B4-BE49-F238E27FC236}">
                <a16:creationId xmlns:a16="http://schemas.microsoft.com/office/drawing/2014/main" id="{708E6212-95E0-7DA3-77B8-13539E19A495}"/>
              </a:ext>
            </a:extLst>
          </p:cNvPr>
          <p:cNvSpPr/>
          <p:nvPr/>
        </p:nvSpPr>
        <p:spPr>
          <a:xfrm>
            <a:off x="546460" y="2001247"/>
            <a:ext cx="3139460" cy="165229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4" name="Google Shape;1282;p29">
            <a:extLst>
              <a:ext uri="{FF2B5EF4-FFF2-40B4-BE49-F238E27FC236}">
                <a16:creationId xmlns:a16="http://schemas.microsoft.com/office/drawing/2014/main" id="{E8904F37-5797-F6C3-D9DC-975CEE0AEB34}"/>
              </a:ext>
            </a:extLst>
          </p:cNvPr>
          <p:cNvSpPr/>
          <p:nvPr/>
        </p:nvSpPr>
        <p:spPr>
          <a:xfrm>
            <a:off x="434816" y="1100564"/>
            <a:ext cx="3323369" cy="122918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mn-lt"/>
                <a:cs typeface="+mn-lt"/>
                <a:sym typeface="Arial"/>
              </a:rPr>
              <a:t>Ενεργειακή και λειτουργική αναβάθμιση Κέντρου Υγείας </a:t>
            </a:r>
            <a:r>
              <a:rPr lang="el-GR" sz="1400" b="1" kern="0" err="1">
                <a:solidFill>
                  <a:srgbClr val="002060"/>
                </a:solidFill>
                <a:latin typeface="Arial"/>
                <a:ea typeface="+mn-lt"/>
                <a:cs typeface="+mn-lt"/>
                <a:sym typeface="Arial"/>
              </a:rPr>
              <a:t>Δεσκάτης</a:t>
            </a:r>
            <a:endParaRPr lang="el-GR" err="1"/>
          </a:p>
        </p:txBody>
      </p:sp>
      <p:sp>
        <p:nvSpPr>
          <p:cNvPr id="16" name="Ορθογώνιο 15">
            <a:extLst>
              <a:ext uri="{FF2B5EF4-FFF2-40B4-BE49-F238E27FC236}">
                <a16:creationId xmlns:a16="http://schemas.microsoft.com/office/drawing/2014/main" id="{CC14ED2B-D108-7501-B40C-93C1828F4DB0}"/>
              </a:ext>
            </a:extLst>
          </p:cNvPr>
          <p:cNvSpPr/>
          <p:nvPr/>
        </p:nvSpPr>
        <p:spPr>
          <a:xfrm>
            <a:off x="550393" y="3005259"/>
            <a:ext cx="2529494" cy="523220"/>
          </a:xfrm>
          <a:prstGeom prst="rect">
            <a:avLst/>
          </a:prstGeom>
        </p:spPr>
        <p:txBody>
          <a:bodyPr wrap="square" lIns="91440" tIns="45720" rIns="91440" bIns="45720" anchor="t">
            <a:spAutoFit/>
          </a:bodyPr>
          <a:lstStyle/>
          <a:p>
            <a:pPr algn="just"/>
            <a:r>
              <a:rPr lang="el-GR" sz="1400" b="1" kern="0">
                <a:solidFill>
                  <a:srgbClr val="242852"/>
                </a:solidFill>
                <a:latin typeface="Calibri"/>
                <a:ea typeface="Calibri"/>
                <a:cs typeface="Calibri"/>
              </a:rPr>
              <a:t>Πρόοδος </a:t>
            </a:r>
            <a:r>
              <a:rPr lang="el-GR" sz="1400" b="1" kern="0">
                <a:solidFill>
                  <a:srgbClr val="002060"/>
                </a:solidFill>
                <a:latin typeface="Calibri"/>
                <a:ea typeface="Calibri"/>
                <a:cs typeface="Calibri"/>
              </a:rPr>
              <a:t>υλοποίησης</a:t>
            </a:r>
            <a:r>
              <a:rPr lang="el-GR" sz="1400" b="1" kern="0">
                <a:solidFill>
                  <a:srgbClr val="242852"/>
                </a:solidFill>
                <a:latin typeface="Calibri"/>
                <a:ea typeface="Calibri"/>
                <a:cs typeface="Calibri"/>
              </a:rPr>
              <a:t>: </a:t>
            </a:r>
            <a:r>
              <a:rPr lang="el-GR" sz="1400" kern="0">
                <a:solidFill>
                  <a:srgbClr val="242852"/>
                </a:solidFill>
                <a:latin typeface="Calibri"/>
                <a:ea typeface="Calibri"/>
                <a:cs typeface="Calibri"/>
              </a:rPr>
              <a:t>Το έργο βρίσκεται υπό υλοποίηση. </a:t>
            </a:r>
            <a:endParaRPr lang="el-GR" sz="1400" kern="0">
              <a:solidFill>
                <a:srgbClr val="242852"/>
              </a:solidFill>
              <a:ea typeface="Calibri"/>
              <a:cs typeface="Calibri"/>
            </a:endParaRPr>
          </a:p>
        </p:txBody>
      </p:sp>
      <p:sp>
        <p:nvSpPr>
          <p:cNvPr id="18" name="Ορθογώνιο 17">
            <a:extLst>
              <a:ext uri="{FF2B5EF4-FFF2-40B4-BE49-F238E27FC236}">
                <a16:creationId xmlns:a16="http://schemas.microsoft.com/office/drawing/2014/main" id="{9E9EEF10-89A0-DECF-190E-6AE9C18E2C65}"/>
              </a:ext>
            </a:extLst>
          </p:cNvPr>
          <p:cNvSpPr/>
          <p:nvPr/>
        </p:nvSpPr>
        <p:spPr>
          <a:xfrm>
            <a:off x="550392" y="2337315"/>
            <a:ext cx="2281223" cy="756807"/>
          </a:xfrm>
          <a:prstGeom prst="rect">
            <a:avLst/>
          </a:prstGeom>
        </p:spPr>
        <p:txBody>
          <a:bodyPr wrap="square" lIns="91440" tIns="45720" rIns="91440" bIns="45720" anchor="t">
            <a:spAutoFit/>
          </a:bodyPr>
          <a:lstStyle/>
          <a:p>
            <a:pPr algn="just"/>
            <a:r>
              <a:rPr lang="el-GR" sz="1400" b="1" kern="0">
                <a:solidFill>
                  <a:srgbClr val="002060"/>
                </a:solidFill>
                <a:latin typeface="Calibri"/>
                <a:ea typeface="Calibri"/>
                <a:cs typeface="Calibri"/>
              </a:rPr>
              <a:t>Π/Υ : 1 εκατ. € από ΤΑΑ</a:t>
            </a:r>
          </a:p>
          <a:p>
            <a:pPr algn="just"/>
            <a:r>
              <a:rPr lang="el-GR" sz="1400" kern="0">
                <a:solidFill>
                  <a:srgbClr val="002060"/>
                </a:solidFill>
                <a:ea typeface="Calibri"/>
                <a:cs typeface="Calibri"/>
              </a:rPr>
              <a:t>Εκτιμώμενη ολοκλήρωση: </a:t>
            </a:r>
          </a:p>
          <a:p>
            <a:pPr algn="just"/>
            <a:r>
              <a:rPr lang="el-GR" sz="1400" kern="0">
                <a:solidFill>
                  <a:srgbClr val="002060"/>
                </a:solidFill>
                <a:ea typeface="Calibri"/>
                <a:cs typeface="Calibri"/>
              </a:rPr>
              <a:t>Δεκέμβριος 2025 </a:t>
            </a:r>
            <a:endParaRPr lang="el-GR"/>
          </a:p>
        </p:txBody>
      </p:sp>
      <p:sp>
        <p:nvSpPr>
          <p:cNvPr id="21" name="Google Shape;1275;p29">
            <a:extLst>
              <a:ext uri="{FF2B5EF4-FFF2-40B4-BE49-F238E27FC236}">
                <a16:creationId xmlns:a16="http://schemas.microsoft.com/office/drawing/2014/main" id="{3DDE8D0A-F495-D15A-2479-B01A79AFA6E3}"/>
              </a:ext>
            </a:extLst>
          </p:cNvPr>
          <p:cNvSpPr/>
          <p:nvPr/>
        </p:nvSpPr>
        <p:spPr>
          <a:xfrm>
            <a:off x="4226117" y="2051379"/>
            <a:ext cx="3350012" cy="1602159"/>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22" name="Google Shape;1282;p29">
            <a:extLst>
              <a:ext uri="{FF2B5EF4-FFF2-40B4-BE49-F238E27FC236}">
                <a16:creationId xmlns:a16="http://schemas.microsoft.com/office/drawing/2014/main" id="{F294B223-4997-6895-3C00-C78DF4AB0D16}"/>
              </a:ext>
            </a:extLst>
          </p:cNvPr>
          <p:cNvSpPr/>
          <p:nvPr/>
        </p:nvSpPr>
        <p:spPr>
          <a:xfrm>
            <a:off x="3883868" y="1100564"/>
            <a:ext cx="4105421" cy="1429711"/>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Calibri"/>
                <a:cs typeface="Calibri"/>
              </a:rPr>
              <a:t>Ίδρυση εκπαιδευτικού κέντρου επαγγελματικής εκπαίδευσης, κατάρτισης, επιστημονικής έρευνας και δια βίου μάθησης του Ε.Κ.Α.Β. στις κτηριακές εγκαταστάσεις του παλαιού νοσοκομείου Γρεβενών</a:t>
            </a:r>
          </a:p>
        </p:txBody>
      </p:sp>
      <p:sp>
        <p:nvSpPr>
          <p:cNvPr id="23" name="Ορθογώνιο 22">
            <a:extLst>
              <a:ext uri="{FF2B5EF4-FFF2-40B4-BE49-F238E27FC236}">
                <a16:creationId xmlns:a16="http://schemas.microsoft.com/office/drawing/2014/main" id="{3D1713FF-B158-0502-CA59-EB8EC736B45B}"/>
              </a:ext>
            </a:extLst>
          </p:cNvPr>
          <p:cNvSpPr/>
          <p:nvPr/>
        </p:nvSpPr>
        <p:spPr>
          <a:xfrm>
            <a:off x="4320287" y="2823830"/>
            <a:ext cx="2529494" cy="523220"/>
          </a:xfrm>
          <a:prstGeom prst="rect">
            <a:avLst/>
          </a:prstGeom>
        </p:spPr>
        <p:txBody>
          <a:bodyPr wrap="square" lIns="91440" tIns="45720" rIns="91440" bIns="45720" anchor="t">
            <a:spAutoFit/>
          </a:bodyPr>
          <a:lstStyle/>
          <a:p>
            <a:pPr algn="just"/>
            <a:r>
              <a:rPr lang="el-GR" sz="1400" b="1" kern="0">
                <a:solidFill>
                  <a:srgbClr val="242852"/>
                </a:solidFill>
                <a:latin typeface="Calibri"/>
                <a:ea typeface="Calibri"/>
                <a:cs typeface="Calibri"/>
              </a:rPr>
              <a:t>Πρόοδος </a:t>
            </a:r>
            <a:r>
              <a:rPr lang="el-GR" sz="1400" b="1" kern="0">
                <a:solidFill>
                  <a:srgbClr val="002060"/>
                </a:solidFill>
                <a:latin typeface="Calibri"/>
                <a:ea typeface="Calibri"/>
                <a:cs typeface="Calibri"/>
              </a:rPr>
              <a:t>υλοποίησης</a:t>
            </a:r>
            <a:r>
              <a:rPr lang="el-GR" sz="1400" b="1" kern="0">
                <a:solidFill>
                  <a:srgbClr val="242852"/>
                </a:solidFill>
                <a:latin typeface="Calibri"/>
                <a:ea typeface="Calibri"/>
                <a:cs typeface="Calibri"/>
              </a:rPr>
              <a:t>: </a:t>
            </a:r>
            <a:r>
              <a:rPr lang="el-GR" sz="1400" kern="0">
                <a:solidFill>
                  <a:srgbClr val="242852"/>
                </a:solidFill>
                <a:latin typeface="Calibri"/>
                <a:ea typeface="Calibri"/>
                <a:cs typeface="Calibri"/>
              </a:rPr>
              <a:t>Το έργο βρίσκεται υπό σχεδιασμό. </a:t>
            </a:r>
            <a:endParaRPr lang="el-GR" sz="1400" kern="0">
              <a:solidFill>
                <a:srgbClr val="242852"/>
              </a:solidFill>
              <a:ea typeface="Calibri"/>
              <a:cs typeface="Calibri"/>
            </a:endParaRPr>
          </a:p>
        </p:txBody>
      </p:sp>
      <p:sp>
        <p:nvSpPr>
          <p:cNvPr id="27" name="Google Shape;1275;p29">
            <a:extLst>
              <a:ext uri="{FF2B5EF4-FFF2-40B4-BE49-F238E27FC236}">
                <a16:creationId xmlns:a16="http://schemas.microsoft.com/office/drawing/2014/main" id="{0BA31584-2438-DBE6-E5E8-5DC9B76A0346}"/>
              </a:ext>
            </a:extLst>
          </p:cNvPr>
          <p:cNvSpPr/>
          <p:nvPr/>
        </p:nvSpPr>
        <p:spPr>
          <a:xfrm>
            <a:off x="8437170" y="2051378"/>
            <a:ext cx="3309907" cy="1912974"/>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28" name="Google Shape;1282;p29">
            <a:extLst>
              <a:ext uri="{FF2B5EF4-FFF2-40B4-BE49-F238E27FC236}">
                <a16:creationId xmlns:a16="http://schemas.microsoft.com/office/drawing/2014/main" id="{A2D68E18-F01C-2087-E4BB-428726E0843A}"/>
              </a:ext>
            </a:extLst>
          </p:cNvPr>
          <p:cNvSpPr/>
          <p:nvPr/>
        </p:nvSpPr>
        <p:spPr>
          <a:xfrm>
            <a:off x="8435816" y="1000777"/>
            <a:ext cx="3303317" cy="1429712"/>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Calibri"/>
                <a:cs typeface="Calibri"/>
              </a:rPr>
              <a:t>Νέο κτήριο στέγασης Ε.Κ.Α.Β.</a:t>
            </a:r>
            <a:endParaRPr lang="el-GR"/>
          </a:p>
        </p:txBody>
      </p:sp>
      <p:sp>
        <p:nvSpPr>
          <p:cNvPr id="30" name="Ορθογώνιο 29">
            <a:extLst>
              <a:ext uri="{FF2B5EF4-FFF2-40B4-BE49-F238E27FC236}">
                <a16:creationId xmlns:a16="http://schemas.microsoft.com/office/drawing/2014/main" id="{7BD2E3EA-C787-1433-B5E3-0398FFAC6F0C}"/>
              </a:ext>
            </a:extLst>
          </p:cNvPr>
          <p:cNvSpPr/>
          <p:nvPr/>
        </p:nvSpPr>
        <p:spPr>
          <a:xfrm>
            <a:off x="8571445" y="2502988"/>
            <a:ext cx="2208651" cy="307777"/>
          </a:xfrm>
          <a:prstGeom prst="rect">
            <a:avLst/>
          </a:prstGeom>
        </p:spPr>
        <p:txBody>
          <a:bodyPr wrap="square" lIns="91440" tIns="45720" rIns="91440" bIns="45720" anchor="t">
            <a:spAutoFit/>
          </a:bodyPr>
          <a:lstStyle/>
          <a:p>
            <a:pPr algn="just"/>
            <a:r>
              <a:rPr lang="el-GR" sz="1400" b="1" kern="0">
                <a:solidFill>
                  <a:srgbClr val="002060"/>
                </a:solidFill>
                <a:latin typeface="Calibri"/>
                <a:ea typeface="Calibri"/>
                <a:cs typeface="Calibri"/>
              </a:rPr>
              <a:t>Π/Υ : 100.000 € </a:t>
            </a:r>
            <a:endParaRPr lang="el-GR" sz="1400" b="1" kern="0">
              <a:solidFill>
                <a:srgbClr val="002060"/>
              </a:solidFill>
              <a:ea typeface="Calibri"/>
              <a:cs typeface="Calibri"/>
            </a:endParaRPr>
          </a:p>
        </p:txBody>
      </p:sp>
      <p:sp>
        <p:nvSpPr>
          <p:cNvPr id="32" name="Ορθογώνιο 31">
            <a:extLst>
              <a:ext uri="{FF2B5EF4-FFF2-40B4-BE49-F238E27FC236}">
                <a16:creationId xmlns:a16="http://schemas.microsoft.com/office/drawing/2014/main" id="{9C2ADF62-2C29-53F9-C6C5-056D56BB2A7F}"/>
              </a:ext>
            </a:extLst>
          </p:cNvPr>
          <p:cNvSpPr/>
          <p:nvPr/>
        </p:nvSpPr>
        <p:spPr>
          <a:xfrm>
            <a:off x="8501260" y="2793752"/>
            <a:ext cx="3181204" cy="1169551"/>
          </a:xfrm>
          <a:prstGeom prst="rect">
            <a:avLst/>
          </a:prstGeom>
        </p:spPr>
        <p:txBody>
          <a:bodyPr wrap="square" lIns="91440" tIns="45720" rIns="91440" bIns="45720" anchor="t">
            <a:spAutoFit/>
          </a:bodyPr>
          <a:lstStyle/>
          <a:p>
            <a:pPr algn="just"/>
            <a:r>
              <a:rPr lang="el-GR" sz="1400" b="1" kern="0">
                <a:solidFill>
                  <a:srgbClr val="242852"/>
                </a:solidFill>
                <a:latin typeface="Calibri"/>
                <a:ea typeface="Calibri"/>
                <a:cs typeface="Calibri"/>
              </a:rPr>
              <a:t>Πρόοδος </a:t>
            </a:r>
            <a:r>
              <a:rPr lang="el-GR" sz="1400" b="1" kern="0">
                <a:solidFill>
                  <a:srgbClr val="002060"/>
                </a:solidFill>
                <a:latin typeface="Calibri"/>
                <a:ea typeface="Calibri"/>
                <a:cs typeface="Calibri"/>
              </a:rPr>
              <a:t>υλοποίησης</a:t>
            </a:r>
            <a:r>
              <a:rPr lang="el-GR" sz="1400" b="1" kern="0">
                <a:solidFill>
                  <a:srgbClr val="242852"/>
                </a:solidFill>
                <a:latin typeface="Calibri"/>
                <a:ea typeface="Calibri"/>
                <a:cs typeface="Calibri"/>
              </a:rPr>
              <a:t>: </a:t>
            </a:r>
            <a:r>
              <a:rPr lang="el-GR" sz="1400" kern="0">
                <a:solidFill>
                  <a:srgbClr val="002060"/>
                </a:solidFill>
                <a:latin typeface="Calibri"/>
                <a:ea typeface="Calibri"/>
                <a:cs typeface="Calibri"/>
              </a:rPr>
              <a:t>Έχει προχωρήσει η διαδικασία παραχώρησης του κτηρίου από τον ΕΛΓΟ Δήμητρα για τη Μετεγκατάσταση του Τομέα Ε.Κ.Α.Β Γρεβενών</a:t>
            </a:r>
            <a:endParaRPr lang="el-GR" sz="1400" kern="0">
              <a:solidFill>
                <a:srgbClr val="002060"/>
              </a:solidFill>
              <a:ea typeface="Calibri"/>
              <a:cs typeface="Calibri"/>
            </a:endParaRPr>
          </a:p>
        </p:txBody>
      </p:sp>
      <p:sp>
        <p:nvSpPr>
          <p:cNvPr id="15" name="Google Shape;1275;p29">
            <a:extLst>
              <a:ext uri="{FF2B5EF4-FFF2-40B4-BE49-F238E27FC236}">
                <a16:creationId xmlns:a16="http://schemas.microsoft.com/office/drawing/2014/main" id="{5DFCBFD7-071F-71A5-8C5A-AD53531FCCE8}"/>
              </a:ext>
            </a:extLst>
          </p:cNvPr>
          <p:cNvSpPr/>
          <p:nvPr/>
        </p:nvSpPr>
        <p:spPr>
          <a:xfrm>
            <a:off x="2321117" y="4989089"/>
            <a:ext cx="3249749" cy="1602159"/>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9" name="Google Shape;1282;p29">
            <a:extLst>
              <a:ext uri="{FF2B5EF4-FFF2-40B4-BE49-F238E27FC236}">
                <a16:creationId xmlns:a16="http://schemas.microsoft.com/office/drawing/2014/main" id="{8EF8B937-5F66-4039-380A-E3EABD4FA50E}"/>
              </a:ext>
            </a:extLst>
          </p:cNvPr>
          <p:cNvSpPr/>
          <p:nvPr/>
        </p:nvSpPr>
        <p:spPr>
          <a:xfrm>
            <a:off x="2319762" y="4088407"/>
            <a:ext cx="3323369" cy="122918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mn-lt"/>
                <a:cs typeface="+mn-lt"/>
                <a:sym typeface="Arial"/>
              </a:rPr>
              <a:t>Ενεργειακή αναβάθμιση Γενικού Νοσοκομείου Καστοριάς</a:t>
            </a:r>
            <a:endParaRPr lang="el-GR"/>
          </a:p>
        </p:txBody>
      </p:sp>
      <p:sp>
        <p:nvSpPr>
          <p:cNvPr id="24" name="Ορθογώνιο 23">
            <a:extLst>
              <a:ext uri="{FF2B5EF4-FFF2-40B4-BE49-F238E27FC236}">
                <a16:creationId xmlns:a16="http://schemas.microsoft.com/office/drawing/2014/main" id="{CEE9E3D7-A5CC-C89D-4BCF-35F398896D46}"/>
              </a:ext>
            </a:extLst>
          </p:cNvPr>
          <p:cNvSpPr/>
          <p:nvPr/>
        </p:nvSpPr>
        <p:spPr>
          <a:xfrm>
            <a:off x="2415286" y="5828041"/>
            <a:ext cx="2990704" cy="523220"/>
          </a:xfrm>
          <a:prstGeom prst="rect">
            <a:avLst/>
          </a:prstGeom>
        </p:spPr>
        <p:txBody>
          <a:bodyPr wrap="square" lIns="91440" tIns="45720" rIns="91440" bIns="45720" anchor="t">
            <a:spAutoFit/>
          </a:bodyPr>
          <a:lstStyle/>
          <a:p>
            <a:pPr algn="just"/>
            <a:r>
              <a:rPr lang="el-GR" sz="1400" b="1" kern="0" dirty="0">
                <a:solidFill>
                  <a:srgbClr val="242852"/>
                </a:solidFill>
                <a:latin typeface="Calibri"/>
                <a:ea typeface="Calibri"/>
                <a:cs typeface="Calibri"/>
              </a:rPr>
              <a:t>Πρόοδος </a:t>
            </a:r>
            <a:r>
              <a:rPr lang="el-GR" sz="1400" b="1" kern="0" dirty="0">
                <a:solidFill>
                  <a:srgbClr val="002060"/>
                </a:solidFill>
                <a:latin typeface="Calibri"/>
                <a:ea typeface="Calibri"/>
                <a:cs typeface="Calibri"/>
              </a:rPr>
              <a:t>υλοποίησης</a:t>
            </a:r>
            <a:r>
              <a:rPr lang="el-GR" sz="1400" b="1" kern="0" dirty="0">
                <a:solidFill>
                  <a:srgbClr val="242852"/>
                </a:solidFill>
                <a:latin typeface="Calibri"/>
                <a:ea typeface="Calibri"/>
                <a:cs typeface="Calibri"/>
              </a:rPr>
              <a:t>: </a:t>
            </a:r>
            <a:r>
              <a:rPr lang="el-GR" sz="1400" kern="0" dirty="0">
                <a:solidFill>
                  <a:srgbClr val="242852"/>
                </a:solidFill>
                <a:latin typeface="Calibri"/>
                <a:ea typeface="Calibri"/>
                <a:cs typeface="Calibri"/>
              </a:rPr>
              <a:t>Υπογραφή σύμβασης. </a:t>
            </a:r>
            <a:endParaRPr lang="el-GR" sz="1400" kern="0" dirty="0">
              <a:solidFill>
                <a:srgbClr val="242852"/>
              </a:solidFill>
              <a:ea typeface="Calibri"/>
              <a:cs typeface="Calibri"/>
            </a:endParaRPr>
          </a:p>
        </p:txBody>
      </p:sp>
      <p:sp>
        <p:nvSpPr>
          <p:cNvPr id="26" name="Ορθογώνιο 25">
            <a:extLst>
              <a:ext uri="{FF2B5EF4-FFF2-40B4-BE49-F238E27FC236}">
                <a16:creationId xmlns:a16="http://schemas.microsoft.com/office/drawing/2014/main" id="{005956EE-0EAF-EF13-A147-CF558B020D23}"/>
              </a:ext>
            </a:extLst>
          </p:cNvPr>
          <p:cNvSpPr/>
          <p:nvPr/>
        </p:nvSpPr>
        <p:spPr>
          <a:xfrm>
            <a:off x="2421173" y="5375153"/>
            <a:ext cx="2529493" cy="307777"/>
          </a:xfrm>
          <a:prstGeom prst="rect">
            <a:avLst/>
          </a:prstGeom>
        </p:spPr>
        <p:txBody>
          <a:bodyPr wrap="square" lIns="91440" tIns="45720" rIns="91440" bIns="45720" anchor="t">
            <a:spAutoFit/>
          </a:bodyPr>
          <a:lstStyle/>
          <a:p>
            <a:pPr algn="just"/>
            <a:r>
              <a:rPr lang="el-GR" sz="1400" b="1" kern="0" dirty="0">
                <a:solidFill>
                  <a:srgbClr val="002060"/>
                </a:solidFill>
                <a:latin typeface="Calibri"/>
                <a:ea typeface="Calibri"/>
                <a:cs typeface="Calibri"/>
              </a:rPr>
              <a:t>Π/Υ : 2.054.725 € από ΣΔΑΜ</a:t>
            </a:r>
            <a:endParaRPr lang="el-GR" b="1" dirty="0">
              <a:solidFill>
                <a:srgbClr val="002060"/>
              </a:solidFill>
              <a:ea typeface="Calibri"/>
              <a:cs typeface="Calibri"/>
            </a:endParaRPr>
          </a:p>
        </p:txBody>
      </p:sp>
      <p:sp>
        <p:nvSpPr>
          <p:cNvPr id="31" name="Google Shape;1275;p29">
            <a:extLst>
              <a:ext uri="{FF2B5EF4-FFF2-40B4-BE49-F238E27FC236}">
                <a16:creationId xmlns:a16="http://schemas.microsoft.com/office/drawing/2014/main" id="{275075C8-734C-7599-D4F6-FAB54BD74CCC}"/>
              </a:ext>
            </a:extLst>
          </p:cNvPr>
          <p:cNvSpPr/>
          <p:nvPr/>
        </p:nvSpPr>
        <p:spPr>
          <a:xfrm>
            <a:off x="5990749" y="4989089"/>
            <a:ext cx="3249749" cy="1602159"/>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34" name="Google Shape;1282;p29">
            <a:extLst>
              <a:ext uri="{FF2B5EF4-FFF2-40B4-BE49-F238E27FC236}">
                <a16:creationId xmlns:a16="http://schemas.microsoft.com/office/drawing/2014/main" id="{FF448051-9791-66EF-7AE7-091CF9F22939}"/>
              </a:ext>
            </a:extLst>
          </p:cNvPr>
          <p:cNvSpPr/>
          <p:nvPr/>
        </p:nvSpPr>
        <p:spPr>
          <a:xfrm>
            <a:off x="5989394" y="4088407"/>
            <a:ext cx="3323369" cy="122918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mn-lt"/>
                <a:cs typeface="+mn-lt"/>
                <a:sym typeface="Arial"/>
              </a:rPr>
              <a:t>Ενεργειακή και λειτουργική αναβάθμιση Κέντρου Υγείας Άργους Ορεστικού</a:t>
            </a:r>
            <a:endParaRPr lang="el-GR"/>
          </a:p>
        </p:txBody>
      </p:sp>
      <p:sp>
        <p:nvSpPr>
          <p:cNvPr id="36" name="Ορθογώνιο 35">
            <a:extLst>
              <a:ext uri="{FF2B5EF4-FFF2-40B4-BE49-F238E27FC236}">
                <a16:creationId xmlns:a16="http://schemas.microsoft.com/office/drawing/2014/main" id="{567C8D27-40C0-FC6D-3E45-811DC05D2948}"/>
              </a:ext>
            </a:extLst>
          </p:cNvPr>
          <p:cNvSpPr/>
          <p:nvPr/>
        </p:nvSpPr>
        <p:spPr>
          <a:xfrm>
            <a:off x="6084919" y="6002173"/>
            <a:ext cx="2990704" cy="523220"/>
          </a:xfrm>
          <a:prstGeom prst="rect">
            <a:avLst/>
          </a:prstGeom>
        </p:spPr>
        <p:txBody>
          <a:bodyPr wrap="square" lIns="91440" tIns="45720" rIns="91440" bIns="45720" anchor="t">
            <a:spAutoFit/>
          </a:bodyPr>
          <a:lstStyle/>
          <a:p>
            <a:pPr algn="just"/>
            <a:r>
              <a:rPr lang="el-GR" sz="1400" b="1" kern="0">
                <a:solidFill>
                  <a:srgbClr val="242852"/>
                </a:solidFill>
                <a:latin typeface="Calibri"/>
                <a:ea typeface="Calibri"/>
                <a:cs typeface="Calibri"/>
              </a:rPr>
              <a:t>Πρόοδος </a:t>
            </a:r>
            <a:r>
              <a:rPr lang="el-GR" sz="1400" b="1" kern="0">
                <a:solidFill>
                  <a:srgbClr val="002060"/>
                </a:solidFill>
                <a:latin typeface="Calibri"/>
                <a:ea typeface="Calibri"/>
                <a:cs typeface="Calibri"/>
              </a:rPr>
              <a:t>υλοποίησης</a:t>
            </a:r>
            <a:r>
              <a:rPr lang="el-GR" sz="1400" b="1" kern="0">
                <a:solidFill>
                  <a:srgbClr val="242852"/>
                </a:solidFill>
                <a:latin typeface="Calibri"/>
                <a:ea typeface="Calibri"/>
                <a:cs typeface="Calibri"/>
              </a:rPr>
              <a:t>:</a:t>
            </a:r>
            <a:r>
              <a:rPr lang="el-GR" sz="1400" kern="0">
                <a:solidFill>
                  <a:srgbClr val="242852"/>
                </a:solidFill>
                <a:latin typeface="Calibri"/>
                <a:ea typeface="Calibri"/>
                <a:cs typeface="Calibri"/>
              </a:rPr>
              <a:t> Το έργο υλοποιείται. </a:t>
            </a:r>
            <a:endParaRPr lang="el-GR" sz="1400" kern="0">
              <a:solidFill>
                <a:srgbClr val="242852"/>
              </a:solidFill>
              <a:ea typeface="Calibri"/>
              <a:cs typeface="Calibri"/>
            </a:endParaRPr>
          </a:p>
        </p:txBody>
      </p:sp>
      <p:sp>
        <p:nvSpPr>
          <p:cNvPr id="38" name="Ορθογώνιο 37">
            <a:extLst>
              <a:ext uri="{FF2B5EF4-FFF2-40B4-BE49-F238E27FC236}">
                <a16:creationId xmlns:a16="http://schemas.microsoft.com/office/drawing/2014/main" id="{CC0FF5CB-9B81-7ACB-CA78-CB0EA52EE6E3}"/>
              </a:ext>
            </a:extLst>
          </p:cNvPr>
          <p:cNvSpPr/>
          <p:nvPr/>
        </p:nvSpPr>
        <p:spPr>
          <a:xfrm>
            <a:off x="6084918" y="5280277"/>
            <a:ext cx="2529493" cy="523220"/>
          </a:xfrm>
          <a:prstGeom prst="rect">
            <a:avLst/>
          </a:prstGeom>
        </p:spPr>
        <p:txBody>
          <a:bodyPr wrap="square" lIns="91440" tIns="45720" rIns="91440" bIns="45720" anchor="t">
            <a:spAutoFit/>
          </a:bodyPr>
          <a:lstStyle/>
          <a:p>
            <a:pPr algn="just"/>
            <a:r>
              <a:rPr lang="el-GR" sz="1400" b="1" kern="0" dirty="0">
                <a:solidFill>
                  <a:srgbClr val="002060"/>
                </a:solidFill>
                <a:latin typeface="Calibri"/>
                <a:ea typeface="Calibri"/>
                <a:cs typeface="Calibri"/>
              </a:rPr>
              <a:t>Π/Υ : 1,5 εκατ. € </a:t>
            </a:r>
          </a:p>
          <a:p>
            <a:pPr algn="just"/>
            <a:r>
              <a:rPr lang="el-GR" sz="1400" kern="0" dirty="0">
                <a:solidFill>
                  <a:srgbClr val="002060"/>
                </a:solidFill>
                <a:ea typeface="Calibri"/>
                <a:cs typeface="Calibri"/>
              </a:rPr>
              <a:t>Εκτιμώμενη ολοκλήρωση: 2025</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C9231-F240-D04B-E621-D30E8913422D}"/>
            </a:ext>
          </a:extLst>
        </p:cNvPr>
        <p:cNvGrpSpPr/>
        <p:nvPr/>
      </p:nvGrpSpPr>
      <p:grpSpPr>
        <a:xfrm>
          <a:off x="0" y="0"/>
          <a:ext cx="0" cy="0"/>
          <a:chOff x="0" y="0"/>
          <a:chExt cx="0" cy="0"/>
        </a:xfrm>
      </p:grpSpPr>
      <p:sp>
        <p:nvSpPr>
          <p:cNvPr id="8" name="Google Shape;414;p13">
            <a:extLst>
              <a:ext uri="{FF2B5EF4-FFF2-40B4-BE49-F238E27FC236}">
                <a16:creationId xmlns:a16="http://schemas.microsoft.com/office/drawing/2014/main" id="{0B9EB023-CEC4-76D0-D977-5B3706C300C5}"/>
              </a:ext>
            </a:extLst>
          </p:cNvPr>
          <p:cNvSpPr/>
          <p:nvPr/>
        </p:nvSpPr>
        <p:spPr>
          <a:xfrm>
            <a:off x="438541" y="289234"/>
            <a:ext cx="11676761" cy="371184"/>
          </a:xfrm>
          <a:prstGeom prst="rect">
            <a:avLst/>
          </a:prstGeom>
          <a:noFill/>
          <a:ln>
            <a:noFill/>
          </a:ln>
        </p:spPr>
        <p:txBody>
          <a:bodyPr spcFirstLastPara="1" wrap="square" lIns="0" tIns="0" rIns="0" bIns="0" anchor="t" anchorCtr="0">
            <a:noAutofit/>
          </a:bodyPr>
          <a:lstStyle/>
          <a:p>
            <a:pPr defTabSz="609630">
              <a:lnSpc>
                <a:spcPct val="117222"/>
              </a:lnSpc>
              <a:defRPr/>
            </a:pPr>
            <a:r>
              <a:rPr lang="el-GR" sz="2500" kern="0">
                <a:solidFill>
                  <a:srgbClr val="002060"/>
                </a:solidFill>
                <a:latin typeface="Arial Black"/>
                <a:cs typeface="Arial"/>
                <a:sym typeface="Arial Black"/>
              </a:rPr>
              <a:t>Κοζάνη &amp; Φλώρινα</a:t>
            </a:r>
            <a:endParaRPr lang="el-GR"/>
          </a:p>
        </p:txBody>
      </p:sp>
      <p:cxnSp>
        <p:nvCxnSpPr>
          <p:cNvPr id="10" name="Ευθεία γραμμή σύνδεσης 9">
            <a:extLst>
              <a:ext uri="{FF2B5EF4-FFF2-40B4-BE49-F238E27FC236}">
                <a16:creationId xmlns:a16="http://schemas.microsoft.com/office/drawing/2014/main" id="{5529DD71-FD1A-DA07-F2F2-4F5395721B9E}"/>
              </a:ext>
            </a:extLst>
          </p:cNvPr>
          <p:cNvCxnSpPr/>
          <p:nvPr/>
        </p:nvCxnSpPr>
        <p:spPr>
          <a:xfrm>
            <a:off x="371933" y="709769"/>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12" name="Google Shape;1275;p29">
            <a:extLst>
              <a:ext uri="{FF2B5EF4-FFF2-40B4-BE49-F238E27FC236}">
                <a16:creationId xmlns:a16="http://schemas.microsoft.com/office/drawing/2014/main" id="{B70193AA-4506-465A-0FFB-832D11A4020F}"/>
              </a:ext>
            </a:extLst>
          </p:cNvPr>
          <p:cNvSpPr/>
          <p:nvPr/>
        </p:nvSpPr>
        <p:spPr>
          <a:xfrm>
            <a:off x="367896" y="1845886"/>
            <a:ext cx="2822071" cy="171579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4" name="Google Shape;1282;p29">
            <a:extLst>
              <a:ext uri="{FF2B5EF4-FFF2-40B4-BE49-F238E27FC236}">
                <a16:creationId xmlns:a16="http://schemas.microsoft.com/office/drawing/2014/main" id="{F5D5B5D1-A5B7-A9FB-DC4B-9038191DF721}"/>
              </a:ext>
            </a:extLst>
          </p:cNvPr>
          <p:cNvSpPr/>
          <p:nvPr/>
        </p:nvSpPr>
        <p:spPr>
          <a:xfrm>
            <a:off x="225266" y="895526"/>
            <a:ext cx="3041809" cy="122918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mn-lt"/>
                <a:cs typeface="+mn-lt"/>
                <a:sym typeface="Arial"/>
              </a:rPr>
              <a:t>Ενεργειακή και λειτουργική αναβάθμιση Κέντρων Υγείας </a:t>
            </a:r>
            <a:r>
              <a:rPr lang="el-GR" sz="1400" b="1" kern="0" err="1">
                <a:solidFill>
                  <a:srgbClr val="002060"/>
                </a:solidFill>
                <a:latin typeface="Arial"/>
                <a:ea typeface="+mn-lt"/>
                <a:cs typeface="+mn-lt"/>
                <a:sym typeface="Arial"/>
              </a:rPr>
              <a:t>Τσοτυλίου</a:t>
            </a:r>
            <a:r>
              <a:rPr lang="el-GR" sz="1400" b="1" kern="0">
                <a:solidFill>
                  <a:srgbClr val="002060"/>
                </a:solidFill>
                <a:latin typeface="Arial"/>
                <a:ea typeface="+mn-lt"/>
                <a:cs typeface="+mn-lt"/>
                <a:sym typeface="Arial"/>
              </a:rPr>
              <a:t> και </a:t>
            </a:r>
            <a:r>
              <a:rPr lang="el-GR" sz="1400" b="1" kern="0" err="1">
                <a:solidFill>
                  <a:srgbClr val="002060"/>
                </a:solidFill>
                <a:latin typeface="Arial"/>
                <a:ea typeface="+mn-lt"/>
                <a:cs typeface="+mn-lt"/>
                <a:sym typeface="Arial"/>
              </a:rPr>
              <a:t>Σερβίων</a:t>
            </a:r>
            <a:endParaRPr lang="el-GR" sz="1400" b="1" kern="0" err="1">
              <a:solidFill>
                <a:srgbClr val="002060"/>
              </a:solidFill>
              <a:latin typeface="Arial"/>
              <a:ea typeface="Calibri"/>
              <a:cs typeface="Calibri"/>
            </a:endParaRPr>
          </a:p>
        </p:txBody>
      </p:sp>
      <p:sp>
        <p:nvSpPr>
          <p:cNvPr id="16" name="Ορθογώνιο 15">
            <a:extLst>
              <a:ext uri="{FF2B5EF4-FFF2-40B4-BE49-F238E27FC236}">
                <a16:creationId xmlns:a16="http://schemas.microsoft.com/office/drawing/2014/main" id="{3732CCF2-7AB2-BF0C-A20B-34FDCD377628}"/>
              </a:ext>
            </a:extLst>
          </p:cNvPr>
          <p:cNvSpPr/>
          <p:nvPr/>
        </p:nvSpPr>
        <p:spPr>
          <a:xfrm>
            <a:off x="532718" y="2752927"/>
            <a:ext cx="2334761" cy="738664"/>
          </a:xfrm>
          <a:prstGeom prst="rect">
            <a:avLst/>
          </a:prstGeom>
        </p:spPr>
        <p:txBody>
          <a:bodyPr wrap="square" lIns="91440" tIns="45720" rIns="91440" bIns="45720" anchor="t">
            <a:spAutoFit/>
          </a:bodyPr>
          <a:lstStyle/>
          <a:p>
            <a:pPr algn="just"/>
            <a:r>
              <a:rPr lang="el-GR" sz="1400" b="1" kern="0">
                <a:solidFill>
                  <a:srgbClr val="242852"/>
                </a:solidFill>
                <a:latin typeface="Calibri"/>
                <a:ea typeface="Calibri"/>
                <a:cs typeface="Calibri"/>
              </a:rPr>
              <a:t>Πρόοδος </a:t>
            </a:r>
            <a:r>
              <a:rPr lang="el-GR" sz="1400" b="1" kern="0">
                <a:solidFill>
                  <a:srgbClr val="002060"/>
                </a:solidFill>
                <a:latin typeface="Calibri"/>
                <a:ea typeface="Calibri"/>
                <a:cs typeface="Calibri"/>
              </a:rPr>
              <a:t>υλοποίησης</a:t>
            </a:r>
            <a:r>
              <a:rPr lang="el-GR" sz="1400" b="1" kern="0">
                <a:solidFill>
                  <a:srgbClr val="242852"/>
                </a:solidFill>
                <a:latin typeface="Calibri"/>
                <a:ea typeface="Calibri"/>
                <a:cs typeface="Calibri"/>
              </a:rPr>
              <a:t>: </a:t>
            </a:r>
            <a:r>
              <a:rPr lang="el-GR" sz="1400" kern="0">
                <a:solidFill>
                  <a:srgbClr val="242852"/>
                </a:solidFill>
                <a:latin typeface="Calibri"/>
                <a:ea typeface="Calibri"/>
                <a:cs typeface="Calibri"/>
              </a:rPr>
              <a:t>Το έργο βρίσκεται υπό υλοποίηση. </a:t>
            </a:r>
            <a:endParaRPr lang="el-GR" sz="1400" kern="0">
              <a:solidFill>
                <a:srgbClr val="242852"/>
              </a:solidFill>
              <a:ea typeface="Calibri"/>
              <a:cs typeface="Calibri"/>
            </a:endParaRPr>
          </a:p>
        </p:txBody>
      </p:sp>
      <p:sp>
        <p:nvSpPr>
          <p:cNvPr id="18" name="Ορθογώνιο 17">
            <a:extLst>
              <a:ext uri="{FF2B5EF4-FFF2-40B4-BE49-F238E27FC236}">
                <a16:creationId xmlns:a16="http://schemas.microsoft.com/office/drawing/2014/main" id="{1D79E54E-7BF3-504D-B0B4-2EDF44B8BE50}"/>
              </a:ext>
            </a:extLst>
          </p:cNvPr>
          <p:cNvSpPr/>
          <p:nvPr/>
        </p:nvSpPr>
        <p:spPr>
          <a:xfrm>
            <a:off x="535438" y="2100880"/>
            <a:ext cx="2508008" cy="756806"/>
          </a:xfrm>
          <a:prstGeom prst="rect">
            <a:avLst/>
          </a:prstGeom>
        </p:spPr>
        <p:txBody>
          <a:bodyPr wrap="square" lIns="91440" tIns="45720" rIns="91440" bIns="45720" anchor="t">
            <a:spAutoFit/>
          </a:bodyPr>
          <a:lstStyle/>
          <a:p>
            <a:pPr algn="just"/>
            <a:r>
              <a:rPr lang="el-GR" sz="1400" b="1" kern="0">
                <a:solidFill>
                  <a:srgbClr val="002060"/>
                </a:solidFill>
                <a:latin typeface="Calibri"/>
                <a:ea typeface="Calibri"/>
                <a:cs typeface="Calibri"/>
              </a:rPr>
              <a:t>Π/Υ : 3,5 εκατ. € </a:t>
            </a:r>
          </a:p>
          <a:p>
            <a:pPr algn="just"/>
            <a:r>
              <a:rPr lang="el-GR" sz="1400" kern="0">
                <a:solidFill>
                  <a:srgbClr val="002060"/>
                </a:solidFill>
                <a:ea typeface="Calibri"/>
                <a:cs typeface="Calibri"/>
              </a:rPr>
              <a:t>Εκτιμώμενη ολοκλήρωση: Αύγουστος 2025</a:t>
            </a:r>
          </a:p>
        </p:txBody>
      </p:sp>
      <p:sp>
        <p:nvSpPr>
          <p:cNvPr id="20" name="Google Shape;1275;p29">
            <a:extLst>
              <a:ext uri="{FF2B5EF4-FFF2-40B4-BE49-F238E27FC236}">
                <a16:creationId xmlns:a16="http://schemas.microsoft.com/office/drawing/2014/main" id="{21B7F35F-2CFE-63C5-4B25-B1EA1F07B28C}"/>
              </a:ext>
            </a:extLst>
          </p:cNvPr>
          <p:cNvSpPr/>
          <p:nvPr/>
        </p:nvSpPr>
        <p:spPr>
          <a:xfrm>
            <a:off x="3454593" y="1845337"/>
            <a:ext cx="2717607" cy="1602159"/>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21" name="Google Shape;1282;p29">
            <a:extLst>
              <a:ext uri="{FF2B5EF4-FFF2-40B4-BE49-F238E27FC236}">
                <a16:creationId xmlns:a16="http://schemas.microsoft.com/office/drawing/2014/main" id="{6AF2633D-4951-C930-EAFB-E5EB57BB00D6}"/>
              </a:ext>
            </a:extLst>
          </p:cNvPr>
          <p:cNvSpPr/>
          <p:nvPr/>
        </p:nvSpPr>
        <p:spPr>
          <a:xfrm>
            <a:off x="3499359" y="933626"/>
            <a:ext cx="2691891" cy="122918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mn-lt"/>
                <a:cs typeface="+mn-lt"/>
                <a:sym typeface="Arial"/>
              </a:rPr>
              <a:t>Ανέγερση Κέντρου Υγείας στη Σιάτιστα</a:t>
            </a:r>
            <a:endParaRPr lang="el-GR"/>
          </a:p>
        </p:txBody>
      </p:sp>
      <p:sp>
        <p:nvSpPr>
          <p:cNvPr id="22" name="Ορθογώνιο 21">
            <a:extLst>
              <a:ext uri="{FF2B5EF4-FFF2-40B4-BE49-F238E27FC236}">
                <a16:creationId xmlns:a16="http://schemas.microsoft.com/office/drawing/2014/main" id="{818E18BA-25DA-2CE5-0DD5-02EC610F1C36}"/>
              </a:ext>
            </a:extLst>
          </p:cNvPr>
          <p:cNvSpPr/>
          <p:nvPr/>
        </p:nvSpPr>
        <p:spPr>
          <a:xfrm>
            <a:off x="3548763" y="2605419"/>
            <a:ext cx="2547237" cy="738664"/>
          </a:xfrm>
          <a:prstGeom prst="rect">
            <a:avLst/>
          </a:prstGeom>
        </p:spPr>
        <p:txBody>
          <a:bodyPr wrap="square" lIns="91440" tIns="45720" rIns="91440" bIns="45720" anchor="t">
            <a:spAutoFit/>
          </a:bodyPr>
          <a:lstStyle/>
          <a:p>
            <a:pPr algn="just"/>
            <a:r>
              <a:rPr lang="el-GR" sz="1400" b="1" kern="0">
                <a:solidFill>
                  <a:srgbClr val="242852"/>
                </a:solidFill>
                <a:latin typeface="Calibri"/>
                <a:ea typeface="Calibri"/>
                <a:cs typeface="Calibri"/>
              </a:rPr>
              <a:t>Πρόοδος </a:t>
            </a:r>
            <a:r>
              <a:rPr lang="el-GR" sz="1400" b="1" kern="0">
                <a:solidFill>
                  <a:srgbClr val="002060"/>
                </a:solidFill>
                <a:latin typeface="Calibri"/>
                <a:ea typeface="Calibri"/>
                <a:cs typeface="Calibri"/>
              </a:rPr>
              <a:t>υλοποίησης</a:t>
            </a:r>
            <a:r>
              <a:rPr lang="el-GR" sz="1400" b="1" kern="0">
                <a:solidFill>
                  <a:srgbClr val="242852"/>
                </a:solidFill>
                <a:latin typeface="Calibri"/>
                <a:ea typeface="Calibri"/>
                <a:cs typeface="Calibri"/>
              </a:rPr>
              <a:t>: </a:t>
            </a:r>
            <a:r>
              <a:rPr lang="el-GR" sz="1400" kern="0">
                <a:solidFill>
                  <a:srgbClr val="242852"/>
                </a:solidFill>
                <a:latin typeface="Calibri"/>
                <a:ea typeface="Calibri"/>
                <a:cs typeface="Calibri"/>
              </a:rPr>
              <a:t>Το έργο μεταφέρεται στο ΕΣΠΑ 2021-2027.</a:t>
            </a:r>
            <a:endParaRPr lang="el-GR" sz="1400" kern="0">
              <a:solidFill>
                <a:srgbClr val="242852"/>
              </a:solidFill>
              <a:ea typeface="Calibri"/>
              <a:cs typeface="Calibri"/>
            </a:endParaRPr>
          </a:p>
        </p:txBody>
      </p:sp>
      <p:sp>
        <p:nvSpPr>
          <p:cNvPr id="23" name="Ορθογώνιο 22">
            <a:extLst>
              <a:ext uri="{FF2B5EF4-FFF2-40B4-BE49-F238E27FC236}">
                <a16:creationId xmlns:a16="http://schemas.microsoft.com/office/drawing/2014/main" id="{AE378E99-C688-0CB4-31B1-7960BAA3E2AD}"/>
              </a:ext>
            </a:extLst>
          </p:cNvPr>
          <p:cNvSpPr/>
          <p:nvPr/>
        </p:nvSpPr>
        <p:spPr>
          <a:xfrm>
            <a:off x="3552763" y="2123715"/>
            <a:ext cx="2529493" cy="523220"/>
          </a:xfrm>
          <a:prstGeom prst="rect">
            <a:avLst/>
          </a:prstGeom>
        </p:spPr>
        <p:txBody>
          <a:bodyPr wrap="square" lIns="91440" tIns="45720" rIns="91440" bIns="45720" anchor="t">
            <a:spAutoFit/>
          </a:bodyPr>
          <a:lstStyle/>
          <a:p>
            <a:pPr algn="just"/>
            <a:r>
              <a:rPr lang="el-GR" sz="1400" b="1" kern="0">
                <a:solidFill>
                  <a:srgbClr val="002060"/>
                </a:solidFill>
                <a:latin typeface="Calibri"/>
                <a:ea typeface="Calibri"/>
                <a:cs typeface="Calibri"/>
              </a:rPr>
              <a:t>Π/Υ : 4 εκατ. € </a:t>
            </a:r>
          </a:p>
          <a:p>
            <a:pPr algn="just"/>
            <a:r>
              <a:rPr lang="el-GR" sz="1400" kern="0">
                <a:solidFill>
                  <a:srgbClr val="002060"/>
                </a:solidFill>
                <a:ea typeface="Calibri"/>
                <a:cs typeface="Calibri"/>
              </a:rPr>
              <a:t>Εκτιμώμενη ολοκλήρωση: 2026</a:t>
            </a:r>
          </a:p>
        </p:txBody>
      </p:sp>
      <p:sp>
        <p:nvSpPr>
          <p:cNvPr id="24" name="Google Shape;1275;p29">
            <a:extLst>
              <a:ext uri="{FF2B5EF4-FFF2-40B4-BE49-F238E27FC236}">
                <a16:creationId xmlns:a16="http://schemas.microsoft.com/office/drawing/2014/main" id="{6BD4BCBF-40C3-F14C-B882-B9AAD7C4DAD6}"/>
              </a:ext>
            </a:extLst>
          </p:cNvPr>
          <p:cNvSpPr/>
          <p:nvPr/>
        </p:nvSpPr>
        <p:spPr>
          <a:xfrm>
            <a:off x="9227244" y="1891458"/>
            <a:ext cx="2783781" cy="1665658"/>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25" name="Google Shape;1282;p29">
            <a:extLst>
              <a:ext uri="{FF2B5EF4-FFF2-40B4-BE49-F238E27FC236}">
                <a16:creationId xmlns:a16="http://schemas.microsoft.com/office/drawing/2014/main" id="{544B8066-DB55-1ACD-EF00-6563F5257162}"/>
              </a:ext>
            </a:extLst>
          </p:cNvPr>
          <p:cNvSpPr/>
          <p:nvPr/>
        </p:nvSpPr>
        <p:spPr>
          <a:xfrm>
            <a:off x="9263989" y="847726"/>
            <a:ext cx="2775611" cy="1353186"/>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Calibri"/>
                <a:cs typeface="Calibri"/>
              </a:rPr>
              <a:t>Προσθήκη νέας πτέρυγας χειρουργικού και παθολογικού τομέα στο Γενικό Νοσοκομείο Κοζάνης (Β' φάση)</a:t>
            </a:r>
          </a:p>
        </p:txBody>
      </p:sp>
      <p:sp>
        <p:nvSpPr>
          <p:cNvPr id="26" name="Ορθογώνιο 25">
            <a:extLst>
              <a:ext uri="{FF2B5EF4-FFF2-40B4-BE49-F238E27FC236}">
                <a16:creationId xmlns:a16="http://schemas.microsoft.com/office/drawing/2014/main" id="{8A63E27B-13E8-F075-2157-E27449157D52}"/>
              </a:ext>
            </a:extLst>
          </p:cNvPr>
          <p:cNvSpPr/>
          <p:nvPr/>
        </p:nvSpPr>
        <p:spPr>
          <a:xfrm>
            <a:off x="9312796" y="2721228"/>
            <a:ext cx="2603886" cy="738664"/>
          </a:xfrm>
          <a:prstGeom prst="rect">
            <a:avLst/>
          </a:prstGeom>
        </p:spPr>
        <p:txBody>
          <a:bodyPr wrap="square" lIns="91440" tIns="45720" rIns="91440" bIns="45720" anchor="t">
            <a:spAutoFit/>
          </a:bodyPr>
          <a:lstStyle/>
          <a:p>
            <a:pPr algn="just"/>
            <a:r>
              <a:rPr lang="el-GR" sz="1400" b="1" kern="0" dirty="0">
                <a:solidFill>
                  <a:srgbClr val="242852"/>
                </a:solidFill>
                <a:latin typeface="Calibri"/>
                <a:ea typeface="Calibri"/>
                <a:cs typeface="Calibri"/>
              </a:rPr>
              <a:t>Πρόοδος </a:t>
            </a:r>
            <a:r>
              <a:rPr lang="el-GR" sz="1400" b="1" kern="0" dirty="0">
                <a:solidFill>
                  <a:srgbClr val="002060"/>
                </a:solidFill>
                <a:latin typeface="Calibri"/>
                <a:ea typeface="Calibri"/>
                <a:cs typeface="Calibri"/>
              </a:rPr>
              <a:t>υλοποίησης</a:t>
            </a:r>
            <a:r>
              <a:rPr lang="el-GR" sz="1400" b="1" kern="0" dirty="0">
                <a:solidFill>
                  <a:srgbClr val="242852"/>
                </a:solidFill>
                <a:latin typeface="Calibri"/>
                <a:ea typeface="Calibri"/>
                <a:cs typeface="Calibri"/>
              </a:rPr>
              <a:t>:</a:t>
            </a:r>
            <a:r>
              <a:rPr lang="el-GR" sz="1400" kern="0" dirty="0">
                <a:solidFill>
                  <a:srgbClr val="242852"/>
                </a:solidFill>
                <a:latin typeface="Calibri"/>
                <a:ea typeface="Calibri"/>
                <a:cs typeface="Calibri"/>
              </a:rPr>
              <a:t> Το έργο μεταφέρεται και αναμένεται η ένταξή του στο ΕΣΠΑ 2021-2027. </a:t>
            </a:r>
            <a:endParaRPr lang="el-GR" sz="1400" kern="0" dirty="0">
              <a:solidFill>
                <a:srgbClr val="242852"/>
              </a:solidFill>
              <a:ea typeface="Calibri"/>
              <a:cs typeface="Calibri"/>
            </a:endParaRPr>
          </a:p>
        </p:txBody>
      </p:sp>
      <p:sp>
        <p:nvSpPr>
          <p:cNvPr id="27" name="Ορθογώνιο 26">
            <a:extLst>
              <a:ext uri="{FF2B5EF4-FFF2-40B4-BE49-F238E27FC236}">
                <a16:creationId xmlns:a16="http://schemas.microsoft.com/office/drawing/2014/main" id="{D0A6F310-EB40-FEA2-2324-934CC359A3E8}"/>
              </a:ext>
            </a:extLst>
          </p:cNvPr>
          <p:cNvSpPr/>
          <p:nvPr/>
        </p:nvSpPr>
        <p:spPr>
          <a:xfrm>
            <a:off x="9352709" y="2237889"/>
            <a:ext cx="2529493" cy="523220"/>
          </a:xfrm>
          <a:prstGeom prst="rect">
            <a:avLst/>
          </a:prstGeom>
        </p:spPr>
        <p:txBody>
          <a:bodyPr wrap="square" lIns="91440" tIns="45720" rIns="91440" bIns="45720" anchor="t">
            <a:spAutoFit/>
          </a:bodyPr>
          <a:lstStyle/>
          <a:p>
            <a:pPr algn="just"/>
            <a:r>
              <a:rPr lang="el-GR" sz="1400" b="1" kern="0">
                <a:solidFill>
                  <a:srgbClr val="002060"/>
                </a:solidFill>
                <a:latin typeface="Calibri"/>
                <a:ea typeface="Calibri"/>
                <a:cs typeface="Calibri"/>
              </a:rPr>
              <a:t>Π/Υ : 12.567.447 € μέσω ΕΣΠΑ </a:t>
            </a:r>
          </a:p>
          <a:p>
            <a:pPr algn="just"/>
            <a:r>
              <a:rPr lang="el-GR" sz="1400" kern="0">
                <a:solidFill>
                  <a:srgbClr val="002060"/>
                </a:solidFill>
                <a:ea typeface="Calibri"/>
                <a:cs typeface="Calibri"/>
              </a:rPr>
              <a:t>Εκτιμώμενη ολοκλήρωση: 2028</a:t>
            </a:r>
            <a:endParaRPr lang="en-US" sz="1400" kern="0">
              <a:solidFill>
                <a:srgbClr val="002060"/>
              </a:solidFill>
              <a:ea typeface="Calibri"/>
              <a:cs typeface="Calibri"/>
            </a:endParaRPr>
          </a:p>
        </p:txBody>
      </p:sp>
      <p:sp>
        <p:nvSpPr>
          <p:cNvPr id="6" name="Google Shape;1275;p29">
            <a:extLst>
              <a:ext uri="{FF2B5EF4-FFF2-40B4-BE49-F238E27FC236}">
                <a16:creationId xmlns:a16="http://schemas.microsoft.com/office/drawing/2014/main" id="{F88CA7E1-AA23-4DE7-64EB-E6DB24896E46}"/>
              </a:ext>
            </a:extLst>
          </p:cNvPr>
          <p:cNvSpPr/>
          <p:nvPr/>
        </p:nvSpPr>
        <p:spPr>
          <a:xfrm>
            <a:off x="6350050" y="1847843"/>
            <a:ext cx="2694617" cy="1724031"/>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7" name="Google Shape;1282;p29">
            <a:extLst>
              <a:ext uri="{FF2B5EF4-FFF2-40B4-BE49-F238E27FC236}">
                <a16:creationId xmlns:a16="http://schemas.microsoft.com/office/drawing/2014/main" id="{19E4A608-D052-1BBD-B781-F51E2402723B}"/>
              </a:ext>
            </a:extLst>
          </p:cNvPr>
          <p:cNvSpPr/>
          <p:nvPr/>
        </p:nvSpPr>
        <p:spPr>
          <a:xfrm>
            <a:off x="6352348" y="933450"/>
            <a:ext cx="2705927" cy="111442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Calibri"/>
                <a:cs typeface="Calibri"/>
              </a:rPr>
              <a:t>Νέα μονάδα ολικής φροντίδας ψυχικής υγείας για άτομα στο φάσμα της </a:t>
            </a:r>
            <a:r>
              <a:rPr lang="el-GR" sz="1400" b="1" kern="0" err="1">
                <a:solidFill>
                  <a:srgbClr val="002060"/>
                </a:solidFill>
                <a:latin typeface="Arial"/>
                <a:ea typeface="Calibri"/>
                <a:cs typeface="Calibri"/>
              </a:rPr>
              <a:t>νευροδιαφορετικότητας</a:t>
            </a:r>
          </a:p>
        </p:txBody>
      </p:sp>
      <p:sp>
        <p:nvSpPr>
          <p:cNvPr id="9" name="Ορθογώνιο 8">
            <a:extLst>
              <a:ext uri="{FF2B5EF4-FFF2-40B4-BE49-F238E27FC236}">
                <a16:creationId xmlns:a16="http://schemas.microsoft.com/office/drawing/2014/main" id="{31C120B8-B422-BD61-DEA8-1C9CC57241B7}"/>
              </a:ext>
            </a:extLst>
          </p:cNvPr>
          <p:cNvSpPr/>
          <p:nvPr/>
        </p:nvSpPr>
        <p:spPr>
          <a:xfrm>
            <a:off x="6469644" y="2500652"/>
            <a:ext cx="2451198" cy="954107"/>
          </a:xfrm>
          <a:prstGeom prst="rect">
            <a:avLst/>
          </a:prstGeom>
        </p:spPr>
        <p:txBody>
          <a:bodyPr wrap="square" lIns="91440" tIns="45720" rIns="91440" bIns="45720" anchor="t">
            <a:spAutoFit/>
          </a:bodyPr>
          <a:lstStyle/>
          <a:p>
            <a:pPr algn="just"/>
            <a:r>
              <a:rPr lang="el-GR" sz="1400" b="1" kern="0">
                <a:solidFill>
                  <a:srgbClr val="242852"/>
                </a:solidFill>
                <a:latin typeface="Calibri"/>
                <a:ea typeface="Calibri"/>
                <a:cs typeface="Calibri"/>
              </a:rPr>
              <a:t>Πρόοδος </a:t>
            </a:r>
            <a:r>
              <a:rPr lang="el-GR" sz="1400" b="1" kern="0">
                <a:solidFill>
                  <a:srgbClr val="002060"/>
                </a:solidFill>
                <a:latin typeface="Calibri"/>
                <a:ea typeface="Calibri"/>
                <a:cs typeface="Calibri"/>
              </a:rPr>
              <a:t>υλοποίησης</a:t>
            </a:r>
            <a:r>
              <a:rPr lang="el-GR" sz="1400" b="1" kern="0">
                <a:solidFill>
                  <a:srgbClr val="242852"/>
                </a:solidFill>
                <a:latin typeface="Calibri"/>
                <a:ea typeface="Calibri"/>
                <a:cs typeface="Calibri"/>
              </a:rPr>
              <a:t>: </a:t>
            </a:r>
            <a:r>
              <a:rPr lang="el-GR" sz="1400" kern="0">
                <a:solidFill>
                  <a:srgbClr val="242852"/>
                </a:solidFill>
                <a:latin typeface="Calibri"/>
                <a:ea typeface="Calibri"/>
                <a:cs typeface="Calibri"/>
              </a:rPr>
              <a:t>Το έργο βρίσκεται στο στάδιο της υποβολής προς ένταξη στο ΠΕΠ Δυτικής Μακεδονίας</a:t>
            </a:r>
          </a:p>
        </p:txBody>
      </p:sp>
      <p:sp>
        <p:nvSpPr>
          <p:cNvPr id="11" name="Ορθογώνιο 10">
            <a:extLst>
              <a:ext uri="{FF2B5EF4-FFF2-40B4-BE49-F238E27FC236}">
                <a16:creationId xmlns:a16="http://schemas.microsoft.com/office/drawing/2014/main" id="{33EE2C13-97DE-5E5E-9DF4-D10FD205549F}"/>
              </a:ext>
            </a:extLst>
          </p:cNvPr>
          <p:cNvSpPr/>
          <p:nvPr/>
        </p:nvSpPr>
        <p:spPr>
          <a:xfrm>
            <a:off x="6470096" y="2051016"/>
            <a:ext cx="2535221" cy="523220"/>
          </a:xfrm>
          <a:prstGeom prst="rect">
            <a:avLst/>
          </a:prstGeom>
        </p:spPr>
        <p:txBody>
          <a:bodyPr wrap="square" lIns="91440" tIns="45720" rIns="91440" bIns="45720" anchor="t">
            <a:spAutoFit/>
          </a:bodyPr>
          <a:lstStyle/>
          <a:p>
            <a:pPr algn="just"/>
            <a:r>
              <a:rPr lang="el-GR" sz="1400" b="1" kern="0">
                <a:solidFill>
                  <a:srgbClr val="002060"/>
                </a:solidFill>
                <a:latin typeface="Calibri"/>
                <a:ea typeface="Calibri"/>
                <a:cs typeface="Calibri"/>
              </a:rPr>
              <a:t>Π/Υ : 1,4 εκατ. € </a:t>
            </a:r>
          </a:p>
          <a:p>
            <a:pPr algn="just"/>
            <a:r>
              <a:rPr lang="el-GR" sz="1400" kern="0">
                <a:solidFill>
                  <a:srgbClr val="002060"/>
                </a:solidFill>
                <a:ea typeface="Calibri"/>
                <a:cs typeface="Calibri"/>
              </a:rPr>
              <a:t>Εκτιμώμενη ολοκλήρωση: 2025</a:t>
            </a:r>
          </a:p>
        </p:txBody>
      </p:sp>
      <p:sp>
        <p:nvSpPr>
          <p:cNvPr id="28" name="Google Shape;1275;p29">
            <a:extLst>
              <a:ext uri="{FF2B5EF4-FFF2-40B4-BE49-F238E27FC236}">
                <a16:creationId xmlns:a16="http://schemas.microsoft.com/office/drawing/2014/main" id="{D9F50B4B-E834-4BF7-B912-CBA5EEC654ED}"/>
              </a:ext>
            </a:extLst>
          </p:cNvPr>
          <p:cNvSpPr/>
          <p:nvPr/>
        </p:nvSpPr>
        <p:spPr>
          <a:xfrm>
            <a:off x="2357769" y="4633505"/>
            <a:ext cx="3184817" cy="1870003"/>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29" name="Google Shape;1282;p29">
            <a:extLst>
              <a:ext uri="{FF2B5EF4-FFF2-40B4-BE49-F238E27FC236}">
                <a16:creationId xmlns:a16="http://schemas.microsoft.com/office/drawing/2014/main" id="{A1DC5F0A-DED6-541B-071D-02A4BE4A2F4B}"/>
              </a:ext>
            </a:extLst>
          </p:cNvPr>
          <p:cNvSpPr/>
          <p:nvPr/>
        </p:nvSpPr>
        <p:spPr>
          <a:xfrm>
            <a:off x="2243261" y="3700834"/>
            <a:ext cx="3323369" cy="122918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mn-lt"/>
                <a:cs typeface="+mn-lt"/>
                <a:sym typeface="Arial"/>
              </a:rPr>
              <a:t>Νέα Μονάδα Ολικής Φροντίδας ψυχικής υγείας για άτομα με άνοια/</a:t>
            </a:r>
            <a:r>
              <a:rPr lang="el-GR" sz="1400" b="1" kern="0" err="1">
                <a:solidFill>
                  <a:srgbClr val="002060"/>
                </a:solidFill>
                <a:latin typeface="Arial"/>
                <a:ea typeface="+mn-lt"/>
                <a:cs typeface="+mn-lt"/>
                <a:sym typeface="Arial"/>
              </a:rPr>
              <a:t>alzheimer</a:t>
            </a:r>
            <a:endParaRPr lang="el-GR" err="1"/>
          </a:p>
        </p:txBody>
      </p:sp>
      <p:sp>
        <p:nvSpPr>
          <p:cNvPr id="30" name="Ορθογώνιο 15">
            <a:extLst>
              <a:ext uri="{FF2B5EF4-FFF2-40B4-BE49-F238E27FC236}">
                <a16:creationId xmlns:a16="http://schemas.microsoft.com/office/drawing/2014/main" id="{1667F513-E40B-C905-A43A-0CBB723F1EAE}"/>
              </a:ext>
            </a:extLst>
          </p:cNvPr>
          <p:cNvSpPr/>
          <p:nvPr/>
        </p:nvSpPr>
        <p:spPr>
          <a:xfrm>
            <a:off x="2442763" y="5425649"/>
            <a:ext cx="2529494" cy="954107"/>
          </a:xfrm>
          <a:prstGeom prst="rect">
            <a:avLst/>
          </a:prstGeom>
        </p:spPr>
        <p:txBody>
          <a:bodyPr wrap="square" lIns="91440" tIns="45720" rIns="91440" bIns="45720" anchor="t">
            <a:spAutoFit/>
          </a:bodyPr>
          <a:lstStyle/>
          <a:p>
            <a:pPr algn="just"/>
            <a:r>
              <a:rPr lang="el-GR" sz="1400" b="1" kern="0" dirty="0">
                <a:solidFill>
                  <a:srgbClr val="242852"/>
                </a:solidFill>
                <a:latin typeface="Calibri"/>
                <a:ea typeface="Calibri"/>
                <a:cs typeface="Calibri"/>
              </a:rPr>
              <a:t>Πρόοδος </a:t>
            </a:r>
            <a:r>
              <a:rPr lang="el-GR" sz="1400" b="1" kern="0" dirty="0">
                <a:solidFill>
                  <a:srgbClr val="002060"/>
                </a:solidFill>
                <a:latin typeface="Calibri"/>
                <a:ea typeface="Calibri"/>
                <a:cs typeface="Calibri"/>
              </a:rPr>
              <a:t>υλοποίησης</a:t>
            </a:r>
            <a:r>
              <a:rPr lang="el-GR" sz="1400" b="1" kern="0" dirty="0">
                <a:solidFill>
                  <a:srgbClr val="242852"/>
                </a:solidFill>
                <a:latin typeface="Calibri"/>
                <a:ea typeface="Calibri"/>
                <a:cs typeface="Calibri"/>
              </a:rPr>
              <a:t>: </a:t>
            </a:r>
            <a:r>
              <a:rPr lang="el-GR" sz="1400" kern="0" dirty="0">
                <a:solidFill>
                  <a:srgbClr val="242852"/>
                </a:solidFill>
                <a:latin typeface="Calibri"/>
                <a:ea typeface="Calibri"/>
                <a:cs typeface="Calibri"/>
              </a:rPr>
              <a:t>Το έργο βρίσκεται στο στάδιο της υποβολής προς ένταξη στο ΠΕΠ Δυτικής Μακεδονίας</a:t>
            </a:r>
            <a:endParaRPr lang="en-US" sz="1400" kern="0" dirty="0">
              <a:solidFill>
                <a:srgbClr val="242852"/>
              </a:solidFill>
              <a:latin typeface="Calibri"/>
              <a:ea typeface="Calibri"/>
              <a:cs typeface="Calibri"/>
            </a:endParaRPr>
          </a:p>
        </p:txBody>
      </p:sp>
      <p:sp>
        <p:nvSpPr>
          <p:cNvPr id="31" name="Ορθογώνιο 17">
            <a:extLst>
              <a:ext uri="{FF2B5EF4-FFF2-40B4-BE49-F238E27FC236}">
                <a16:creationId xmlns:a16="http://schemas.microsoft.com/office/drawing/2014/main" id="{9B68985F-7E3E-76D1-EF3A-3ECBF62D521E}"/>
              </a:ext>
            </a:extLst>
          </p:cNvPr>
          <p:cNvSpPr/>
          <p:nvPr/>
        </p:nvSpPr>
        <p:spPr>
          <a:xfrm>
            <a:off x="2442762" y="4924784"/>
            <a:ext cx="3006936" cy="523220"/>
          </a:xfrm>
          <a:prstGeom prst="rect">
            <a:avLst/>
          </a:prstGeom>
        </p:spPr>
        <p:txBody>
          <a:bodyPr wrap="square" lIns="91440" tIns="45720" rIns="91440" bIns="45720" anchor="t">
            <a:spAutoFit/>
          </a:bodyPr>
          <a:lstStyle/>
          <a:p>
            <a:pPr algn="just"/>
            <a:r>
              <a:rPr lang="el-GR" sz="1400" b="1" kern="0">
                <a:solidFill>
                  <a:srgbClr val="002060"/>
                </a:solidFill>
                <a:latin typeface="Calibri"/>
                <a:ea typeface="Calibri"/>
                <a:cs typeface="Calibri"/>
              </a:rPr>
              <a:t>Π/Υ : 1,4 εκατ. € </a:t>
            </a:r>
          </a:p>
          <a:p>
            <a:pPr algn="just"/>
            <a:r>
              <a:rPr lang="el-GR" sz="1400" kern="0">
                <a:solidFill>
                  <a:srgbClr val="002060"/>
                </a:solidFill>
                <a:ea typeface="Calibri"/>
                <a:cs typeface="Calibri"/>
              </a:rPr>
              <a:t>Εκτιμώμενη ολοκλήρωση: 2025</a:t>
            </a:r>
            <a:endParaRPr lang="en-US" sz="1400" kern="0">
              <a:solidFill>
                <a:srgbClr val="002060"/>
              </a:solidFill>
              <a:ea typeface="Calibri"/>
              <a:cs typeface="Calibri"/>
            </a:endParaRPr>
          </a:p>
        </p:txBody>
      </p:sp>
      <p:sp>
        <p:nvSpPr>
          <p:cNvPr id="32" name="Google Shape;1275;p29">
            <a:extLst>
              <a:ext uri="{FF2B5EF4-FFF2-40B4-BE49-F238E27FC236}">
                <a16:creationId xmlns:a16="http://schemas.microsoft.com/office/drawing/2014/main" id="{7F189610-26D9-A6F2-5392-7EE30233CA98}"/>
              </a:ext>
            </a:extLst>
          </p:cNvPr>
          <p:cNvSpPr/>
          <p:nvPr/>
        </p:nvSpPr>
        <p:spPr>
          <a:xfrm>
            <a:off x="7340849" y="4631595"/>
            <a:ext cx="3186249" cy="1874301"/>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33" name="Google Shape;1282;p29">
            <a:extLst>
              <a:ext uri="{FF2B5EF4-FFF2-40B4-BE49-F238E27FC236}">
                <a16:creationId xmlns:a16="http://schemas.microsoft.com/office/drawing/2014/main" id="{06CEF3F2-55C2-11EB-ECF1-096E990BAE59}"/>
              </a:ext>
            </a:extLst>
          </p:cNvPr>
          <p:cNvSpPr/>
          <p:nvPr/>
        </p:nvSpPr>
        <p:spPr>
          <a:xfrm>
            <a:off x="7336629" y="3700834"/>
            <a:ext cx="3323369" cy="122918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mn-lt"/>
                <a:cs typeface="+mn-lt"/>
                <a:sym typeface="Arial"/>
              </a:rPr>
              <a:t>Ενεργειακή Αναβάθμιση Γενικού Νοσοκομείου Φλώρινας</a:t>
            </a:r>
            <a:endParaRPr lang="el-GR"/>
          </a:p>
        </p:txBody>
      </p:sp>
      <p:sp>
        <p:nvSpPr>
          <p:cNvPr id="34" name="Ορθογώνιο 21">
            <a:extLst>
              <a:ext uri="{FF2B5EF4-FFF2-40B4-BE49-F238E27FC236}">
                <a16:creationId xmlns:a16="http://schemas.microsoft.com/office/drawing/2014/main" id="{A9B701F6-840C-5488-A40D-2960BFCE4CD9}"/>
              </a:ext>
            </a:extLst>
          </p:cNvPr>
          <p:cNvSpPr/>
          <p:nvPr/>
        </p:nvSpPr>
        <p:spPr>
          <a:xfrm>
            <a:off x="7471304" y="5569931"/>
            <a:ext cx="2936276" cy="523220"/>
          </a:xfrm>
          <a:prstGeom prst="rect">
            <a:avLst/>
          </a:prstGeom>
        </p:spPr>
        <p:txBody>
          <a:bodyPr wrap="square" lIns="91440" tIns="45720" rIns="91440" bIns="45720" anchor="t">
            <a:spAutoFit/>
          </a:bodyPr>
          <a:lstStyle/>
          <a:p>
            <a:pPr algn="just"/>
            <a:r>
              <a:rPr lang="el-GR" sz="1400" b="1" kern="0">
                <a:solidFill>
                  <a:srgbClr val="242852"/>
                </a:solidFill>
                <a:latin typeface="Calibri"/>
                <a:ea typeface="Calibri"/>
                <a:cs typeface="Calibri"/>
              </a:rPr>
              <a:t>Πρόοδος </a:t>
            </a:r>
            <a:r>
              <a:rPr lang="el-GR" sz="1400" b="1" kern="0">
                <a:solidFill>
                  <a:srgbClr val="002060"/>
                </a:solidFill>
                <a:latin typeface="Calibri"/>
                <a:ea typeface="Calibri"/>
                <a:cs typeface="Calibri"/>
              </a:rPr>
              <a:t>υλοποίησης</a:t>
            </a:r>
            <a:r>
              <a:rPr lang="el-GR" sz="1400" b="1" kern="0">
                <a:solidFill>
                  <a:srgbClr val="242852"/>
                </a:solidFill>
                <a:latin typeface="Calibri"/>
                <a:ea typeface="Calibri"/>
                <a:cs typeface="Calibri"/>
              </a:rPr>
              <a:t>: </a:t>
            </a:r>
            <a:r>
              <a:rPr lang="el-GR" sz="1400" kern="0">
                <a:solidFill>
                  <a:srgbClr val="242852"/>
                </a:solidFill>
                <a:latin typeface="Calibri"/>
                <a:ea typeface="Calibri"/>
                <a:cs typeface="Calibri"/>
              </a:rPr>
              <a:t>Το έργο έχει ενταχθεί στο ΕΣΠΑ 2021-2027.  </a:t>
            </a:r>
            <a:endParaRPr lang="el-GR" sz="1400" kern="0">
              <a:solidFill>
                <a:srgbClr val="242852"/>
              </a:solidFill>
              <a:ea typeface="Calibri"/>
              <a:cs typeface="Calibri"/>
            </a:endParaRPr>
          </a:p>
        </p:txBody>
      </p:sp>
      <p:sp>
        <p:nvSpPr>
          <p:cNvPr id="35" name="Ορθογώνιο 22">
            <a:extLst>
              <a:ext uri="{FF2B5EF4-FFF2-40B4-BE49-F238E27FC236}">
                <a16:creationId xmlns:a16="http://schemas.microsoft.com/office/drawing/2014/main" id="{98A2A4B9-F02D-7B80-888B-2B3AEDE0C762}"/>
              </a:ext>
            </a:extLst>
          </p:cNvPr>
          <p:cNvSpPr/>
          <p:nvPr/>
        </p:nvSpPr>
        <p:spPr>
          <a:xfrm>
            <a:off x="7471676" y="4988894"/>
            <a:ext cx="2529493" cy="523220"/>
          </a:xfrm>
          <a:prstGeom prst="rect">
            <a:avLst/>
          </a:prstGeom>
        </p:spPr>
        <p:txBody>
          <a:bodyPr wrap="square" lIns="91440" tIns="45720" rIns="91440" bIns="45720" anchor="t">
            <a:spAutoFit/>
          </a:bodyPr>
          <a:lstStyle/>
          <a:p>
            <a:pPr algn="just"/>
            <a:r>
              <a:rPr lang="el-GR" sz="1400" b="1" kern="0">
                <a:solidFill>
                  <a:srgbClr val="002060"/>
                </a:solidFill>
                <a:latin typeface="Calibri"/>
                <a:ea typeface="Calibri"/>
                <a:cs typeface="Calibri"/>
              </a:rPr>
              <a:t>Π/Υ : 3.516.928 € </a:t>
            </a:r>
          </a:p>
          <a:p>
            <a:pPr algn="just"/>
            <a:r>
              <a:rPr lang="el-GR" sz="1400" kern="0">
                <a:solidFill>
                  <a:srgbClr val="002060"/>
                </a:solidFill>
                <a:ea typeface="Calibri"/>
                <a:cs typeface="Calibri"/>
              </a:rPr>
              <a:t>Εκτιμώμενη ολοκλήρωση: 2027</a:t>
            </a:r>
            <a:endParaRPr lang="en-US" sz="1400" kern="0">
              <a:solidFill>
                <a:srgbClr val="002060"/>
              </a:solidFill>
              <a:ea typeface="Calibri"/>
              <a:cs typeface="Calibri"/>
            </a:endParaRPr>
          </a:p>
        </p:txBody>
      </p:sp>
    </p:spTree>
    <p:extLst>
      <p:ext uri="{BB962C8B-B14F-4D97-AF65-F5344CB8AC3E}">
        <p14:creationId xmlns:p14="http://schemas.microsoft.com/office/powerpoint/2010/main" val="3911533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9C5856-9D0D-1432-2B64-C743BB072A19}"/>
              </a:ext>
            </a:extLst>
          </p:cNvPr>
          <p:cNvSpPr txBox="1"/>
          <p:nvPr/>
        </p:nvSpPr>
        <p:spPr>
          <a:xfrm>
            <a:off x="2530150" y="2287206"/>
            <a:ext cx="8764822"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Υπουργείο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Εργασίας και Κοινωνικής Ασφάλισης - ΔΥΠΑ</a:t>
            </a:r>
            <a:endParaRPr kumimoji="0" lang="x-none"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endParaRPr>
          </a:p>
        </p:txBody>
      </p:sp>
    </p:spTree>
    <p:extLst>
      <p:ext uri="{BB962C8B-B14F-4D97-AF65-F5344CB8AC3E}">
        <p14:creationId xmlns:p14="http://schemas.microsoft.com/office/powerpoint/2010/main" val="11300153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389CE-F55D-EF7C-724E-527D926A4DAE}"/>
            </a:ext>
          </a:extLst>
        </p:cNvPr>
        <p:cNvGrpSpPr/>
        <p:nvPr/>
      </p:nvGrpSpPr>
      <p:grpSpPr>
        <a:xfrm>
          <a:off x="0" y="0"/>
          <a:ext cx="0" cy="0"/>
          <a:chOff x="0" y="0"/>
          <a:chExt cx="0" cy="0"/>
        </a:xfrm>
      </p:grpSpPr>
      <p:sp>
        <p:nvSpPr>
          <p:cNvPr id="8" name="Google Shape;414;p13">
            <a:extLst>
              <a:ext uri="{FF2B5EF4-FFF2-40B4-BE49-F238E27FC236}">
                <a16:creationId xmlns:a16="http://schemas.microsoft.com/office/drawing/2014/main" id="{D9AD986F-4F4D-2352-1727-04BA4FDA2721}"/>
              </a:ext>
            </a:extLst>
          </p:cNvPr>
          <p:cNvSpPr/>
          <p:nvPr/>
        </p:nvSpPr>
        <p:spPr>
          <a:xfrm>
            <a:off x="438541" y="289234"/>
            <a:ext cx="11676761" cy="371184"/>
          </a:xfrm>
          <a:prstGeom prst="rect">
            <a:avLst/>
          </a:prstGeom>
          <a:noFill/>
          <a:ln>
            <a:noFill/>
          </a:ln>
        </p:spPr>
        <p:txBody>
          <a:bodyPr spcFirstLastPara="1" wrap="square" lIns="0" tIns="0" rIns="0" bIns="0" anchor="t" anchorCtr="0">
            <a:noAutofit/>
          </a:bodyPr>
          <a:lstStyle/>
          <a:p>
            <a:pPr defTabSz="609630">
              <a:lnSpc>
                <a:spcPct val="117222"/>
              </a:lnSpc>
              <a:defRPr/>
            </a:pPr>
            <a:r>
              <a:rPr lang="el-GR" sz="2500" kern="0" dirty="0">
                <a:solidFill>
                  <a:srgbClr val="002060"/>
                </a:solidFill>
                <a:latin typeface="Arial Black"/>
                <a:cs typeface="Arial"/>
                <a:sym typeface="Arial Black"/>
              </a:rPr>
              <a:t>Προγράμματα στήριξης &amp; ενίσχυσης της απασχόλησης</a:t>
            </a:r>
            <a:endParaRPr lang="el-GR" dirty="0"/>
          </a:p>
        </p:txBody>
      </p:sp>
      <p:cxnSp>
        <p:nvCxnSpPr>
          <p:cNvPr id="10" name="Ευθεία γραμμή σύνδεσης 9">
            <a:extLst>
              <a:ext uri="{FF2B5EF4-FFF2-40B4-BE49-F238E27FC236}">
                <a16:creationId xmlns:a16="http://schemas.microsoft.com/office/drawing/2014/main" id="{D1AB942C-103F-9EDB-6137-F453BED59F46}"/>
              </a:ext>
            </a:extLst>
          </p:cNvPr>
          <p:cNvCxnSpPr/>
          <p:nvPr/>
        </p:nvCxnSpPr>
        <p:spPr>
          <a:xfrm>
            <a:off x="371933" y="709769"/>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12" name="Google Shape;1275;p29">
            <a:extLst>
              <a:ext uri="{FF2B5EF4-FFF2-40B4-BE49-F238E27FC236}">
                <a16:creationId xmlns:a16="http://schemas.microsoft.com/office/drawing/2014/main" id="{34738000-02A0-E3D8-D9C6-E9ADDEB668EA}"/>
              </a:ext>
            </a:extLst>
          </p:cNvPr>
          <p:cNvSpPr/>
          <p:nvPr/>
        </p:nvSpPr>
        <p:spPr>
          <a:xfrm>
            <a:off x="560481" y="2030696"/>
            <a:ext cx="5623448" cy="4279185"/>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4" name="Google Shape;1282;p29">
            <a:extLst>
              <a:ext uri="{FF2B5EF4-FFF2-40B4-BE49-F238E27FC236}">
                <a16:creationId xmlns:a16="http://schemas.microsoft.com/office/drawing/2014/main" id="{79CDE555-3846-953F-10F9-4F8CC5F700F5}"/>
              </a:ext>
            </a:extLst>
          </p:cNvPr>
          <p:cNvSpPr/>
          <p:nvPr/>
        </p:nvSpPr>
        <p:spPr>
          <a:xfrm>
            <a:off x="869371" y="1171107"/>
            <a:ext cx="4877445" cy="122918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a:solidFill>
                  <a:srgbClr val="002060"/>
                </a:solidFill>
                <a:latin typeface="Arial"/>
                <a:ea typeface="+mn-lt"/>
                <a:cs typeface="+mn-lt"/>
                <a:sym typeface="Arial"/>
              </a:rPr>
              <a:t>Αναστολή Συμβάσεων Εργασίας Εργαζομένων σε Εργοδότες στον Κλάδο της Γουνοποιίας (ΥΕΚΑ)</a:t>
            </a:r>
            <a:endParaRPr lang="el-GR" sz="1400" b="1" kern="0">
              <a:solidFill>
                <a:srgbClr val="002060"/>
              </a:solidFill>
              <a:latin typeface="Arial"/>
              <a:ea typeface="Calibri"/>
              <a:cs typeface="Calibri"/>
            </a:endParaRPr>
          </a:p>
        </p:txBody>
      </p:sp>
      <p:sp>
        <p:nvSpPr>
          <p:cNvPr id="16" name="Ορθογώνιο 15">
            <a:extLst>
              <a:ext uri="{FF2B5EF4-FFF2-40B4-BE49-F238E27FC236}">
                <a16:creationId xmlns:a16="http://schemas.microsoft.com/office/drawing/2014/main" id="{5395F9FD-7878-8DA6-39C9-E591E68CC8F2}"/>
              </a:ext>
            </a:extLst>
          </p:cNvPr>
          <p:cNvSpPr/>
          <p:nvPr/>
        </p:nvSpPr>
        <p:spPr>
          <a:xfrm>
            <a:off x="1245620" y="5363319"/>
            <a:ext cx="4454545" cy="523220"/>
          </a:xfrm>
          <a:prstGeom prst="rect">
            <a:avLst/>
          </a:prstGeom>
        </p:spPr>
        <p:txBody>
          <a:bodyPr wrap="square" lIns="91440" tIns="45720" rIns="91440" bIns="45720" anchor="t">
            <a:spAutoFit/>
          </a:bodyPr>
          <a:lstStyle/>
          <a:p>
            <a:pPr algn="just"/>
            <a:r>
              <a:rPr lang="el-GR" sz="1400" b="1" kern="0" dirty="0">
                <a:solidFill>
                  <a:srgbClr val="242852"/>
                </a:solidFill>
                <a:latin typeface="Calibri"/>
                <a:ea typeface="Calibri"/>
                <a:cs typeface="Calibri"/>
              </a:rPr>
              <a:t>Πρόοδος </a:t>
            </a:r>
            <a:r>
              <a:rPr lang="el-GR" sz="1400" b="1" kern="0" dirty="0">
                <a:solidFill>
                  <a:srgbClr val="002060"/>
                </a:solidFill>
                <a:latin typeface="Calibri"/>
                <a:ea typeface="Calibri"/>
                <a:cs typeface="Calibri"/>
              </a:rPr>
              <a:t>υλοποίησης</a:t>
            </a:r>
            <a:r>
              <a:rPr lang="el-GR" sz="1400" b="1" kern="0" dirty="0">
                <a:solidFill>
                  <a:srgbClr val="242852"/>
                </a:solidFill>
                <a:latin typeface="Calibri"/>
                <a:ea typeface="Calibri"/>
                <a:cs typeface="Calibri"/>
              </a:rPr>
              <a:t>: </a:t>
            </a:r>
            <a:r>
              <a:rPr lang="el-GR" sz="1400" kern="0" dirty="0">
                <a:solidFill>
                  <a:srgbClr val="242852"/>
                </a:solidFill>
                <a:latin typeface="Calibri"/>
                <a:ea typeface="Calibri"/>
                <a:cs typeface="Calibri"/>
              </a:rPr>
              <a:t>Η δράση υλοποιείται με επέκταση για το 3ο τρίμηνο 2025. </a:t>
            </a:r>
            <a:endParaRPr lang="en-US" sz="1400" kern="0" dirty="0">
              <a:solidFill>
                <a:srgbClr val="242852"/>
              </a:solidFill>
              <a:ea typeface="Calibri"/>
              <a:cs typeface="Calibri"/>
            </a:endParaRPr>
          </a:p>
        </p:txBody>
      </p:sp>
      <p:sp>
        <p:nvSpPr>
          <p:cNvPr id="18" name="Ορθογώνιο 17">
            <a:extLst>
              <a:ext uri="{FF2B5EF4-FFF2-40B4-BE49-F238E27FC236}">
                <a16:creationId xmlns:a16="http://schemas.microsoft.com/office/drawing/2014/main" id="{16EC2A47-1638-56EA-1D1F-191658497FEE}"/>
              </a:ext>
            </a:extLst>
          </p:cNvPr>
          <p:cNvSpPr/>
          <p:nvPr/>
        </p:nvSpPr>
        <p:spPr>
          <a:xfrm>
            <a:off x="1245618" y="2588389"/>
            <a:ext cx="4454545" cy="1169551"/>
          </a:xfrm>
          <a:prstGeom prst="rect">
            <a:avLst/>
          </a:prstGeom>
        </p:spPr>
        <p:txBody>
          <a:bodyPr wrap="square" lIns="91440" tIns="45720" rIns="91440" bIns="45720" anchor="t">
            <a:spAutoFit/>
          </a:bodyPr>
          <a:lstStyle/>
          <a:p>
            <a:pPr algn="just"/>
            <a:r>
              <a:rPr lang="el-GR" sz="1400" b="1" kern="0">
                <a:solidFill>
                  <a:srgbClr val="002060"/>
                </a:solidFill>
                <a:latin typeface="Calibri"/>
                <a:ea typeface="Calibri"/>
                <a:cs typeface="Calibri"/>
              </a:rPr>
              <a:t>Π/Υ:</a:t>
            </a:r>
            <a:r>
              <a:rPr lang="el-GR" sz="1400" b="1" kern="0">
                <a:solidFill>
                  <a:srgbClr val="002060"/>
                </a:solidFill>
                <a:ea typeface="+mn-lt"/>
                <a:cs typeface="+mn-lt"/>
              </a:rPr>
              <a:t> 6.548.852 € </a:t>
            </a:r>
            <a:r>
              <a:rPr lang="el-GR" sz="1400" kern="0">
                <a:solidFill>
                  <a:srgbClr val="002060"/>
                </a:solidFill>
                <a:ea typeface="+mn-lt"/>
                <a:cs typeface="+mn-lt"/>
              </a:rPr>
              <a:t>(μη συμπεριλαμβανομένων των ασφαλιστικών εισφορών) σε εργαζόμενους κάθε μήνα ως αποζημίωση ειδικού σκοπού λόγω αναστολής της σύμβασης εργασίας τους από εργοδότες που έχουν πληγεί από την κρίση του πολέμου στην Ουκρανία.</a:t>
            </a:r>
            <a:endParaRPr lang="el-GR" sz="1400" b="1" kern="0">
              <a:solidFill>
                <a:srgbClr val="002060"/>
              </a:solidFill>
              <a:ea typeface="+mn-lt"/>
              <a:cs typeface="+mn-lt"/>
            </a:endParaRPr>
          </a:p>
        </p:txBody>
      </p:sp>
      <p:sp>
        <p:nvSpPr>
          <p:cNvPr id="4" name="Ορθογώνιο 3">
            <a:extLst>
              <a:ext uri="{FF2B5EF4-FFF2-40B4-BE49-F238E27FC236}">
                <a16:creationId xmlns:a16="http://schemas.microsoft.com/office/drawing/2014/main" id="{FA0603B8-90F1-F248-E363-3789D63AAA9A}"/>
              </a:ext>
            </a:extLst>
          </p:cNvPr>
          <p:cNvSpPr/>
          <p:nvPr/>
        </p:nvSpPr>
        <p:spPr>
          <a:xfrm>
            <a:off x="1245618" y="3761468"/>
            <a:ext cx="4454545" cy="1600438"/>
          </a:xfrm>
          <a:prstGeom prst="rect">
            <a:avLst/>
          </a:prstGeom>
        </p:spPr>
        <p:txBody>
          <a:bodyPr wrap="square" lIns="91440" tIns="45720" rIns="91440" bIns="45720" anchor="t">
            <a:spAutoFit/>
          </a:bodyPr>
          <a:lstStyle/>
          <a:p>
            <a:pPr algn="just"/>
            <a:r>
              <a:rPr lang="el-GR" sz="1400" kern="0" dirty="0">
                <a:solidFill>
                  <a:srgbClr val="002060"/>
                </a:solidFill>
                <a:ea typeface="+mn-lt"/>
                <a:cs typeface="+mn-lt"/>
              </a:rPr>
              <a:t>Οι επιχειρήσεις στον κλάδο της γουνοποιίας </a:t>
            </a:r>
            <a:r>
              <a:rPr lang="el-GR" sz="1400" b="1" kern="0" dirty="0">
                <a:solidFill>
                  <a:srgbClr val="002060"/>
                </a:solidFill>
                <a:ea typeface="+mn-lt"/>
                <a:cs typeface="+mn-lt"/>
              </a:rPr>
              <a:t>μπορούν να θέτουν σε αναστολή τις συμβάσεις εργασίας των εργαζομένων τους οι οποίοι είχαν προσληφθεί μέχρι την 31η.5.2022</a:t>
            </a:r>
            <a:r>
              <a:rPr lang="el-GR" sz="1400" kern="0" dirty="0">
                <a:solidFill>
                  <a:srgbClr val="002060"/>
                </a:solidFill>
                <a:ea typeface="+mn-lt"/>
                <a:cs typeface="+mn-lt"/>
              </a:rPr>
              <a:t>. Οι εργαζόμενοι λαμβάνουν αποζημίωση ειδικού σκοπού 534 ευρώ μηνιαία (για 30 ημέρες), καθώς και αναλογία δώρου εορτών, ενώ τους παρέχεται πλήρης ασφαλιστική κάλυψη. Έναρξη ισχύος 1/7/2022.</a:t>
            </a:r>
            <a:endParaRPr lang="el-GR" dirty="0">
              <a:ea typeface="+mn-lt"/>
              <a:cs typeface="+mn-lt"/>
            </a:endParaRPr>
          </a:p>
        </p:txBody>
      </p:sp>
      <p:sp>
        <p:nvSpPr>
          <p:cNvPr id="2" name="Google Shape;1275;p29">
            <a:extLst>
              <a:ext uri="{FF2B5EF4-FFF2-40B4-BE49-F238E27FC236}">
                <a16:creationId xmlns:a16="http://schemas.microsoft.com/office/drawing/2014/main" id="{F0464FAD-D731-07D3-1053-0CBC6C6C28B2}"/>
              </a:ext>
            </a:extLst>
          </p:cNvPr>
          <p:cNvSpPr/>
          <p:nvPr/>
        </p:nvSpPr>
        <p:spPr>
          <a:xfrm>
            <a:off x="6385300" y="2030696"/>
            <a:ext cx="5623448" cy="4279185"/>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3" name="Google Shape;1282;p29">
            <a:extLst>
              <a:ext uri="{FF2B5EF4-FFF2-40B4-BE49-F238E27FC236}">
                <a16:creationId xmlns:a16="http://schemas.microsoft.com/office/drawing/2014/main" id="{BB440FAB-4684-D846-7979-8A6ADA05B217}"/>
              </a:ext>
            </a:extLst>
          </p:cNvPr>
          <p:cNvSpPr/>
          <p:nvPr/>
        </p:nvSpPr>
        <p:spPr>
          <a:xfrm>
            <a:off x="6655128" y="1171107"/>
            <a:ext cx="4877445" cy="122918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lnSpc>
                <a:spcPct val="107000"/>
              </a:lnSpc>
              <a:spcAft>
                <a:spcPts val="800"/>
              </a:spcAft>
            </a:pPr>
            <a:r>
              <a:rPr lang="el-GR" sz="1400" b="1" kern="0" dirty="0">
                <a:solidFill>
                  <a:srgbClr val="002060"/>
                </a:solidFill>
                <a:latin typeface="Arial"/>
                <a:ea typeface="Calibri"/>
                <a:cs typeface="Calibri"/>
              </a:rPr>
              <a:t>Προγράμματα ΔΥΠΑ</a:t>
            </a:r>
          </a:p>
        </p:txBody>
      </p:sp>
      <p:sp>
        <p:nvSpPr>
          <p:cNvPr id="5" name="Ορθογώνιο 4">
            <a:extLst>
              <a:ext uri="{FF2B5EF4-FFF2-40B4-BE49-F238E27FC236}">
                <a16:creationId xmlns:a16="http://schemas.microsoft.com/office/drawing/2014/main" id="{F3BA1AA9-9E6F-1507-CBCE-5928A83D040D}"/>
              </a:ext>
            </a:extLst>
          </p:cNvPr>
          <p:cNvSpPr/>
          <p:nvPr/>
        </p:nvSpPr>
        <p:spPr>
          <a:xfrm>
            <a:off x="6772846" y="3334324"/>
            <a:ext cx="5027268" cy="1600438"/>
          </a:xfrm>
          <a:prstGeom prst="rect">
            <a:avLst/>
          </a:prstGeom>
        </p:spPr>
        <p:txBody>
          <a:bodyPr wrap="square" lIns="91440" tIns="45720" rIns="91440" bIns="45720" anchor="t">
            <a:spAutoFit/>
          </a:bodyPr>
          <a:lstStyle/>
          <a:p>
            <a:pPr algn="just"/>
            <a:r>
              <a:rPr lang="el-GR" sz="1400" b="1" kern="0" dirty="0">
                <a:solidFill>
                  <a:srgbClr val="242852"/>
                </a:solidFill>
                <a:latin typeface="Calibri"/>
                <a:ea typeface="Calibri"/>
                <a:cs typeface="Calibri"/>
              </a:rPr>
              <a:t>Πρόγραμμα επιχορήγησης επιχειρήσεων </a:t>
            </a:r>
            <a:r>
              <a:rPr lang="el-GR" sz="1400" kern="0" dirty="0">
                <a:solidFill>
                  <a:srgbClr val="242852"/>
                </a:solidFill>
                <a:latin typeface="Calibri"/>
                <a:ea typeface="Calibri"/>
                <a:cs typeface="Calibri"/>
              </a:rPr>
              <a:t>(48 εκ. ευρώ) για </a:t>
            </a:r>
            <a:r>
              <a:rPr lang="el-GR" sz="1400" b="1" kern="0" dirty="0">
                <a:solidFill>
                  <a:srgbClr val="242852"/>
                </a:solidFill>
                <a:latin typeface="Calibri"/>
                <a:ea typeface="Calibri"/>
                <a:cs typeface="Calibri"/>
              </a:rPr>
              <a:t>πρόσληψη ανέργων</a:t>
            </a:r>
            <a:r>
              <a:rPr lang="el-GR" sz="1400" kern="0" dirty="0">
                <a:solidFill>
                  <a:srgbClr val="242852"/>
                </a:solidFill>
                <a:latin typeface="Calibri"/>
                <a:ea typeface="Calibri"/>
                <a:cs typeface="Calibri"/>
              </a:rPr>
              <a:t>, πρώην εργαζομένων σε τομείς που επλήγησαν από την </a:t>
            </a:r>
            <a:r>
              <a:rPr lang="el-GR" sz="1400" kern="0" dirty="0" err="1">
                <a:solidFill>
                  <a:srgbClr val="242852"/>
                </a:solidFill>
                <a:latin typeface="Calibri"/>
                <a:ea typeface="Calibri"/>
                <a:cs typeface="Calibri"/>
              </a:rPr>
              <a:t>απολιγνιτοποίηση</a:t>
            </a:r>
            <a:r>
              <a:rPr lang="el-GR" sz="1400" kern="0" dirty="0">
                <a:solidFill>
                  <a:srgbClr val="242852"/>
                </a:solidFill>
                <a:latin typeface="Calibri"/>
                <a:ea typeface="Calibri"/>
                <a:cs typeface="Calibri"/>
              </a:rPr>
              <a:t>. Δυτική Μακεδονία: 2.055 άτομα.</a:t>
            </a:r>
          </a:p>
          <a:p>
            <a:pPr algn="just"/>
            <a:r>
              <a:rPr lang="el-GR" sz="1400" b="1" kern="0" dirty="0">
                <a:solidFill>
                  <a:srgbClr val="242852"/>
                </a:solidFill>
                <a:latin typeface="Calibri"/>
                <a:ea typeface="Calibri"/>
                <a:cs typeface="Calibri"/>
              </a:rPr>
              <a:t>Πρόγραμμα προεργασίας </a:t>
            </a:r>
            <a:r>
              <a:rPr lang="el-GR" sz="1400" kern="0" dirty="0">
                <a:solidFill>
                  <a:srgbClr val="242852"/>
                </a:solidFill>
                <a:latin typeface="Calibri"/>
                <a:ea typeface="Calibri"/>
                <a:cs typeface="Calibri"/>
              </a:rPr>
              <a:t>(22,4 εκ. ευρώ) για </a:t>
            </a:r>
            <a:r>
              <a:rPr lang="el-GR" sz="1400" b="1" kern="0" dirty="0">
                <a:solidFill>
                  <a:srgbClr val="242852"/>
                </a:solidFill>
                <a:latin typeface="Calibri"/>
                <a:ea typeface="Calibri"/>
                <a:cs typeface="Calibri"/>
              </a:rPr>
              <a:t>νέους 18–29 ετών</a:t>
            </a:r>
            <a:r>
              <a:rPr lang="el-GR" sz="1400" kern="0" dirty="0">
                <a:solidFill>
                  <a:srgbClr val="242852"/>
                </a:solidFill>
                <a:latin typeface="Calibri"/>
                <a:ea typeface="Calibri"/>
                <a:cs typeface="Calibri"/>
              </a:rPr>
              <a:t>, διάρκειας 7 μηνών, σε περιοχές της Δυτικής Μακεδονίας και Πελοποννήσου. Δυτική Μακεδονία: 2.287 άτομα.</a:t>
            </a:r>
          </a:p>
        </p:txBody>
      </p:sp>
      <p:sp>
        <p:nvSpPr>
          <p:cNvPr id="6" name="Ορθογώνιο 5">
            <a:extLst>
              <a:ext uri="{FF2B5EF4-FFF2-40B4-BE49-F238E27FC236}">
                <a16:creationId xmlns:a16="http://schemas.microsoft.com/office/drawing/2014/main" id="{6503449E-04D7-BBC3-076D-0F95D7521347}"/>
              </a:ext>
            </a:extLst>
          </p:cNvPr>
          <p:cNvSpPr/>
          <p:nvPr/>
        </p:nvSpPr>
        <p:spPr>
          <a:xfrm>
            <a:off x="6869066" y="2542938"/>
            <a:ext cx="4725891" cy="738664"/>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anchor="t">
            <a:spAutoFit/>
          </a:bodyPr>
          <a:lstStyle/>
          <a:p>
            <a:pPr algn="just"/>
            <a:r>
              <a:rPr lang="el-GR" sz="1400" kern="0" dirty="0">
                <a:solidFill>
                  <a:srgbClr val="002060"/>
                </a:solidFill>
                <a:latin typeface="Calibri"/>
                <a:ea typeface="Calibri"/>
                <a:cs typeface="Calibri"/>
              </a:rPr>
              <a:t>Η ΔΥΠΑ υλοποίησε την τελευταία πενταετία </a:t>
            </a:r>
            <a:r>
              <a:rPr lang="el-GR" sz="1400" b="1" kern="0" dirty="0">
                <a:solidFill>
                  <a:srgbClr val="002060"/>
                </a:solidFill>
                <a:latin typeface="Calibri"/>
                <a:ea typeface="Calibri"/>
                <a:cs typeface="Calibri"/>
              </a:rPr>
              <a:t>43 προγράμματα απασχόλησης</a:t>
            </a:r>
            <a:r>
              <a:rPr lang="el-GR" sz="1400" kern="0" dirty="0">
                <a:solidFill>
                  <a:srgbClr val="002060"/>
                </a:solidFill>
                <a:latin typeface="Calibri"/>
                <a:ea typeface="Calibri"/>
                <a:cs typeface="Calibri"/>
              </a:rPr>
              <a:t> με συνολικά </a:t>
            </a:r>
            <a:r>
              <a:rPr lang="el-GR" sz="1400" b="1" kern="0" dirty="0">
                <a:solidFill>
                  <a:srgbClr val="002060"/>
                </a:solidFill>
                <a:latin typeface="Calibri"/>
                <a:ea typeface="Calibri"/>
                <a:cs typeface="Calibri"/>
              </a:rPr>
              <a:t>16.828 ωφελούμενους </a:t>
            </a:r>
            <a:r>
              <a:rPr lang="el-GR" sz="1400" kern="0" dirty="0">
                <a:solidFill>
                  <a:srgbClr val="002060"/>
                </a:solidFill>
                <a:latin typeface="Calibri"/>
                <a:ea typeface="Calibri"/>
                <a:cs typeface="Calibri"/>
              </a:rPr>
              <a:t>σε περιοχές της Δυτικής Μακεδονίας</a:t>
            </a:r>
            <a:endParaRPr lang="el-GR" sz="1400" kern="0" dirty="0">
              <a:solidFill>
                <a:srgbClr val="002060"/>
              </a:solidFill>
              <a:ea typeface="+mn-lt"/>
              <a:cs typeface="+mn-lt"/>
            </a:endParaRPr>
          </a:p>
        </p:txBody>
      </p:sp>
      <p:sp>
        <p:nvSpPr>
          <p:cNvPr id="7" name="Ορθογώνιο 6">
            <a:extLst>
              <a:ext uri="{FF2B5EF4-FFF2-40B4-BE49-F238E27FC236}">
                <a16:creationId xmlns:a16="http://schemas.microsoft.com/office/drawing/2014/main" id="{F4E09A4A-F8FB-F5A5-1C0A-94E2549C4CFE}"/>
              </a:ext>
            </a:extLst>
          </p:cNvPr>
          <p:cNvSpPr/>
          <p:nvPr/>
        </p:nvSpPr>
        <p:spPr>
          <a:xfrm>
            <a:off x="6772846" y="4987484"/>
            <a:ext cx="4967397" cy="954107"/>
          </a:xfrm>
          <a:prstGeom prst="rect">
            <a:avLst/>
          </a:prstGeom>
        </p:spPr>
        <p:txBody>
          <a:bodyPr wrap="square" lIns="91440" tIns="45720" rIns="91440" bIns="45720" anchor="t">
            <a:spAutoFit/>
          </a:bodyPr>
          <a:lstStyle/>
          <a:p>
            <a:pPr algn="just"/>
            <a:r>
              <a:rPr lang="el-GR" sz="1400" b="1" kern="0" dirty="0">
                <a:solidFill>
                  <a:srgbClr val="002060"/>
                </a:solidFill>
                <a:ea typeface="+mn-lt"/>
                <a:cs typeface="+mn-lt"/>
              </a:rPr>
              <a:t>Νέο πρόγραμμα </a:t>
            </a:r>
            <a:r>
              <a:rPr lang="el-GR" sz="1400" kern="0" dirty="0">
                <a:solidFill>
                  <a:srgbClr val="002060"/>
                </a:solidFill>
                <a:ea typeface="+mn-lt"/>
                <a:cs typeface="+mn-lt"/>
              </a:rPr>
              <a:t>επιχορήγησης </a:t>
            </a:r>
            <a:r>
              <a:rPr lang="el-GR" sz="1400" b="1" kern="0" dirty="0">
                <a:solidFill>
                  <a:srgbClr val="002060"/>
                </a:solidFill>
                <a:ea typeface="+mn-lt"/>
                <a:cs typeface="+mn-lt"/>
              </a:rPr>
              <a:t>1.000 νέων θέσεων εργασίας </a:t>
            </a:r>
            <a:r>
              <a:rPr lang="el-GR" sz="1400" kern="0" dirty="0">
                <a:solidFill>
                  <a:srgbClr val="002060"/>
                </a:solidFill>
                <a:ea typeface="+mn-lt"/>
                <a:cs typeface="+mn-lt"/>
              </a:rPr>
              <a:t>σε Δυτική Μακεδονία και Μεγαλόπολη, με επιχορήγηση από 830 έως 1.185 ευρώ ανά μήνα. Σημειώνεται ότι είναι υπό έκδοση η απόφαση </a:t>
            </a:r>
            <a:r>
              <a:rPr lang="el-GR" sz="1400" b="1" kern="0" dirty="0">
                <a:solidFill>
                  <a:srgbClr val="002060"/>
                </a:solidFill>
                <a:ea typeface="+mn-lt"/>
                <a:cs typeface="+mn-lt"/>
              </a:rPr>
              <a:t>επέκτασης του προγράμματος κατά 700 θέσεις</a:t>
            </a:r>
            <a:r>
              <a:rPr lang="el-GR" sz="1400" kern="0" dirty="0">
                <a:solidFill>
                  <a:srgbClr val="002060"/>
                </a:solidFill>
                <a:ea typeface="+mn-lt"/>
                <a:cs typeface="+mn-lt"/>
              </a:rPr>
              <a:t>.</a:t>
            </a:r>
            <a:endParaRPr lang="el-GR" dirty="0">
              <a:ea typeface="+mn-lt"/>
              <a:cs typeface="+mn-lt"/>
            </a:endParaRPr>
          </a:p>
        </p:txBody>
      </p:sp>
    </p:spTree>
    <p:extLst>
      <p:ext uri="{BB962C8B-B14F-4D97-AF65-F5344CB8AC3E}">
        <p14:creationId xmlns:p14="http://schemas.microsoft.com/office/powerpoint/2010/main" val="42302133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9C5856-9D0D-1432-2B64-C743BB072A19}"/>
              </a:ext>
            </a:extLst>
          </p:cNvPr>
          <p:cNvSpPr txBox="1"/>
          <p:nvPr/>
        </p:nvSpPr>
        <p:spPr>
          <a:xfrm>
            <a:off x="1148993" y="3117683"/>
            <a:ext cx="10529453" cy="646331"/>
          </a:xfrm>
          <a:prstGeom prst="rect">
            <a:avLst/>
          </a:prstGeom>
          <a:noFill/>
        </p:spPr>
        <p:txBody>
          <a:bodyPr wrap="square" rtlCol="0">
            <a:spAutoFit/>
          </a:bodyPr>
          <a:lstStyle/>
          <a:p>
            <a:pPr lvl="0" algn="r">
              <a:defRPr/>
            </a:pPr>
            <a:r>
              <a:rPr lang="el-GR" sz="3600" b="1">
                <a:solidFill>
                  <a:srgbClr val="374C81"/>
                </a:solidFill>
                <a:ea typeface="Calibri" panose="020F0502020204030204"/>
                <a:cs typeface="Calibri" panose="020F0502020204030204"/>
              </a:rPr>
              <a:t>Υπουργείο Ανάπτυξης</a:t>
            </a:r>
            <a:endParaRPr lang="x-none" sz="3600" b="1">
              <a:solidFill>
                <a:srgbClr val="374C81"/>
              </a:solidFill>
              <a:ea typeface="Calibri" panose="020F0502020204030204"/>
              <a:cs typeface="Calibri" panose="020F0502020204030204"/>
            </a:endParaRPr>
          </a:p>
        </p:txBody>
      </p:sp>
    </p:spTree>
    <p:extLst>
      <p:ext uri="{BB962C8B-B14F-4D97-AF65-F5344CB8AC3E}">
        <p14:creationId xmlns:p14="http://schemas.microsoft.com/office/powerpoint/2010/main" val="41920090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3B9C1C-B758-3210-0AD7-6DB6A330BB43}"/>
            </a:ext>
          </a:extLst>
        </p:cNvPr>
        <p:cNvGrpSpPr/>
        <p:nvPr/>
      </p:nvGrpSpPr>
      <p:grpSpPr>
        <a:xfrm>
          <a:off x="0" y="0"/>
          <a:ext cx="0" cy="0"/>
          <a:chOff x="0" y="0"/>
          <a:chExt cx="0" cy="0"/>
        </a:xfrm>
      </p:grpSpPr>
      <p:sp>
        <p:nvSpPr>
          <p:cNvPr id="5" name="Google Shape;1275;p29">
            <a:extLst>
              <a:ext uri="{FF2B5EF4-FFF2-40B4-BE49-F238E27FC236}">
                <a16:creationId xmlns:a16="http://schemas.microsoft.com/office/drawing/2014/main" id="{BCC004D0-3E92-26B0-EFB5-1EAD4E1B8CCD}"/>
              </a:ext>
            </a:extLst>
          </p:cNvPr>
          <p:cNvSpPr/>
          <p:nvPr/>
        </p:nvSpPr>
        <p:spPr>
          <a:xfrm>
            <a:off x="339615" y="1749030"/>
            <a:ext cx="3380091" cy="2341508"/>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7" name="Google Shape;1282;p29">
            <a:extLst>
              <a:ext uri="{FF2B5EF4-FFF2-40B4-BE49-F238E27FC236}">
                <a16:creationId xmlns:a16="http://schemas.microsoft.com/office/drawing/2014/main" id="{4EDBA7AA-78C5-4E8C-718D-D5AC33449018}"/>
              </a:ext>
            </a:extLst>
          </p:cNvPr>
          <p:cNvSpPr/>
          <p:nvPr/>
        </p:nvSpPr>
        <p:spPr>
          <a:xfrm>
            <a:off x="278105" y="838320"/>
            <a:ext cx="3443682" cy="122918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400" b="1" kern="0" dirty="0">
                <a:solidFill>
                  <a:srgbClr val="002060"/>
                </a:solidFill>
                <a:ea typeface="+mn-lt"/>
                <a:cs typeface="+mn-lt"/>
                <a:sym typeface="Arial"/>
              </a:rPr>
              <a:t>Κύκλος Α’ Έκτακτη Επιχορήγηση στον κλάδο της γούνας</a:t>
            </a:r>
            <a:endParaRPr lang="x-none" sz="1400" kern="0" dirty="0">
              <a:solidFill>
                <a:srgbClr val="002060"/>
              </a:solidFill>
              <a:ea typeface="+mn-lt"/>
              <a:cs typeface="+mn-lt"/>
            </a:endParaRPr>
          </a:p>
        </p:txBody>
      </p:sp>
      <p:sp>
        <p:nvSpPr>
          <p:cNvPr id="11" name="Ορθογώνιο 10">
            <a:extLst>
              <a:ext uri="{FF2B5EF4-FFF2-40B4-BE49-F238E27FC236}">
                <a16:creationId xmlns:a16="http://schemas.microsoft.com/office/drawing/2014/main" id="{C5FB73E6-5E41-5385-C7E7-CA17AD30FEA8}"/>
              </a:ext>
            </a:extLst>
          </p:cNvPr>
          <p:cNvSpPr/>
          <p:nvPr/>
        </p:nvSpPr>
        <p:spPr>
          <a:xfrm>
            <a:off x="342963" y="2106195"/>
            <a:ext cx="1516835" cy="307777"/>
          </a:xfrm>
          <a:prstGeom prst="rect">
            <a:avLst/>
          </a:prstGeom>
        </p:spPr>
        <p:txBody>
          <a:bodyPr wrap="square" lIns="91440" tIns="45720" rIns="91440" bIns="45720" anchor="t">
            <a:spAutoFit/>
          </a:bodyPr>
          <a:lstStyle/>
          <a:p>
            <a:pPr algn="just"/>
            <a:r>
              <a:rPr lang="el-GR" sz="1400" b="1" kern="0" dirty="0">
                <a:solidFill>
                  <a:srgbClr val="002060"/>
                </a:solidFill>
                <a:latin typeface="Calibri"/>
                <a:ea typeface="Calibri"/>
                <a:cs typeface="Calibri"/>
              </a:rPr>
              <a:t>Π/Υ:</a:t>
            </a:r>
            <a:r>
              <a:rPr lang="el-GR" sz="1400" b="1" kern="0" dirty="0">
                <a:solidFill>
                  <a:srgbClr val="002060"/>
                </a:solidFill>
                <a:ea typeface="+mn-lt"/>
                <a:cs typeface="+mn-lt"/>
              </a:rPr>
              <a:t> 3.638.233 € </a:t>
            </a:r>
            <a:endParaRPr lang="el-GR" sz="1400" kern="0" dirty="0">
              <a:solidFill>
                <a:srgbClr val="002060"/>
              </a:solidFill>
              <a:ea typeface="+mn-lt"/>
              <a:cs typeface="+mn-lt"/>
            </a:endParaRPr>
          </a:p>
        </p:txBody>
      </p:sp>
      <p:sp>
        <p:nvSpPr>
          <p:cNvPr id="13" name="Ορθογώνιο 12">
            <a:extLst>
              <a:ext uri="{FF2B5EF4-FFF2-40B4-BE49-F238E27FC236}">
                <a16:creationId xmlns:a16="http://schemas.microsoft.com/office/drawing/2014/main" id="{A36AE588-0EFC-C3D2-0434-F5C9555FB207}"/>
              </a:ext>
            </a:extLst>
          </p:cNvPr>
          <p:cNvSpPr/>
          <p:nvPr/>
        </p:nvSpPr>
        <p:spPr>
          <a:xfrm>
            <a:off x="342964" y="2557378"/>
            <a:ext cx="3461940" cy="738664"/>
          </a:xfrm>
          <a:prstGeom prst="rect">
            <a:avLst/>
          </a:prstGeom>
        </p:spPr>
        <p:txBody>
          <a:bodyPr wrap="square" lIns="91440" tIns="45720" rIns="91440" bIns="45720" anchor="t">
            <a:spAutoFit/>
          </a:bodyPr>
          <a:lstStyle/>
          <a:p>
            <a:r>
              <a:rPr lang="el-GR" sz="1400" kern="0" dirty="0">
                <a:solidFill>
                  <a:srgbClr val="002060"/>
                </a:solidFill>
                <a:ea typeface="+mn-lt"/>
                <a:cs typeface="+mn-lt"/>
              </a:rPr>
              <a:t>Η δράση προκηρύχθηκε τον Οκτώβριο του 2022 και χρηματοδοτήθηκαν συνολικά 77 επιχειρήσεις</a:t>
            </a:r>
            <a:r>
              <a:rPr lang="el-GR" sz="1400" b="1" kern="0" dirty="0">
                <a:solidFill>
                  <a:srgbClr val="002060"/>
                </a:solidFill>
                <a:ea typeface="+mn-lt"/>
                <a:cs typeface="+mn-lt"/>
              </a:rPr>
              <a:t>.</a:t>
            </a:r>
            <a:endParaRPr lang="en-US" sz="1400" b="1" kern="0" dirty="0">
              <a:solidFill>
                <a:srgbClr val="002060"/>
              </a:solidFill>
              <a:ea typeface="+mn-lt"/>
              <a:cs typeface="+mn-lt"/>
            </a:endParaRPr>
          </a:p>
        </p:txBody>
      </p:sp>
      <p:sp>
        <p:nvSpPr>
          <p:cNvPr id="16" name="Google Shape;1275;p29">
            <a:extLst>
              <a:ext uri="{FF2B5EF4-FFF2-40B4-BE49-F238E27FC236}">
                <a16:creationId xmlns:a16="http://schemas.microsoft.com/office/drawing/2014/main" id="{059B4DA9-4717-03AF-7BA2-A21F281A0F35}"/>
              </a:ext>
            </a:extLst>
          </p:cNvPr>
          <p:cNvSpPr/>
          <p:nvPr/>
        </p:nvSpPr>
        <p:spPr>
          <a:xfrm>
            <a:off x="4310036" y="1759055"/>
            <a:ext cx="3460301" cy="2273922"/>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7" name="Google Shape;1282;p29">
            <a:extLst>
              <a:ext uri="{FF2B5EF4-FFF2-40B4-BE49-F238E27FC236}">
                <a16:creationId xmlns:a16="http://schemas.microsoft.com/office/drawing/2014/main" id="{8BFF5A9E-2C6C-90B0-0EB0-07649995F7E7}"/>
              </a:ext>
            </a:extLst>
          </p:cNvPr>
          <p:cNvSpPr/>
          <p:nvPr/>
        </p:nvSpPr>
        <p:spPr>
          <a:xfrm>
            <a:off x="4318710" y="838319"/>
            <a:ext cx="3443682" cy="122918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400" b="1" kern="0" dirty="0">
                <a:solidFill>
                  <a:srgbClr val="002060"/>
                </a:solidFill>
                <a:ea typeface="+mn-lt"/>
                <a:cs typeface="+mn-lt"/>
                <a:sym typeface="Arial"/>
              </a:rPr>
              <a:t>Κύκλος 2Α’: Έκτακτη Επιχορήγηση στον κλάδο της γούνας</a:t>
            </a:r>
            <a:endParaRPr lang="el-GR" dirty="0">
              <a:ea typeface="+mn-lt"/>
              <a:cs typeface="+mn-lt"/>
            </a:endParaRPr>
          </a:p>
        </p:txBody>
      </p:sp>
      <p:sp>
        <p:nvSpPr>
          <p:cNvPr id="18" name="Ορθογώνιο 17">
            <a:extLst>
              <a:ext uri="{FF2B5EF4-FFF2-40B4-BE49-F238E27FC236}">
                <a16:creationId xmlns:a16="http://schemas.microsoft.com/office/drawing/2014/main" id="{320A502A-ED57-B16A-170F-7781CE3948F0}"/>
              </a:ext>
            </a:extLst>
          </p:cNvPr>
          <p:cNvSpPr/>
          <p:nvPr/>
        </p:nvSpPr>
        <p:spPr>
          <a:xfrm>
            <a:off x="4453752" y="2126248"/>
            <a:ext cx="3231335" cy="523220"/>
          </a:xfrm>
          <a:prstGeom prst="rect">
            <a:avLst/>
          </a:prstGeom>
        </p:spPr>
        <p:txBody>
          <a:bodyPr wrap="square" lIns="91440" tIns="45720" rIns="91440" bIns="45720" anchor="t">
            <a:spAutoFit/>
          </a:bodyPr>
          <a:lstStyle/>
          <a:p>
            <a:pPr algn="just"/>
            <a:r>
              <a:rPr lang="el-GR" sz="1400" b="1" kern="0" dirty="0">
                <a:solidFill>
                  <a:srgbClr val="002060"/>
                </a:solidFill>
                <a:latin typeface="Calibri"/>
                <a:ea typeface="Calibri"/>
                <a:cs typeface="Calibri"/>
              </a:rPr>
              <a:t>Π/Υ:</a:t>
            </a:r>
            <a:r>
              <a:rPr lang="el-GR" sz="1400" b="1" kern="0" dirty="0">
                <a:solidFill>
                  <a:srgbClr val="002060"/>
                </a:solidFill>
                <a:ea typeface="+mn-lt"/>
                <a:cs typeface="+mn-lt"/>
              </a:rPr>
              <a:t> 4,4 εκατ. € </a:t>
            </a:r>
            <a:endParaRPr lang="el-GR" sz="1400" kern="0" dirty="0">
              <a:solidFill>
                <a:srgbClr val="002060"/>
              </a:solidFill>
              <a:ea typeface="+mn-lt"/>
              <a:cs typeface="+mn-lt"/>
            </a:endParaRPr>
          </a:p>
          <a:p>
            <a:pPr algn="just"/>
            <a:r>
              <a:rPr lang="el-GR" sz="1400" kern="0" dirty="0">
                <a:solidFill>
                  <a:srgbClr val="002060"/>
                </a:solidFill>
                <a:ea typeface="+mn-lt"/>
                <a:cs typeface="+mn-lt"/>
              </a:rPr>
              <a:t>(με αμιγώς εθνικούς πόρους)</a:t>
            </a:r>
          </a:p>
        </p:txBody>
      </p:sp>
      <p:sp>
        <p:nvSpPr>
          <p:cNvPr id="19" name="Ορθογώνιο 18">
            <a:extLst>
              <a:ext uri="{FF2B5EF4-FFF2-40B4-BE49-F238E27FC236}">
                <a16:creationId xmlns:a16="http://schemas.microsoft.com/office/drawing/2014/main" id="{D28671AE-E56A-F1BE-E497-1C1AACAE0D30}"/>
              </a:ext>
            </a:extLst>
          </p:cNvPr>
          <p:cNvSpPr/>
          <p:nvPr/>
        </p:nvSpPr>
        <p:spPr>
          <a:xfrm>
            <a:off x="4453752" y="2947931"/>
            <a:ext cx="3151125" cy="954107"/>
          </a:xfrm>
          <a:prstGeom prst="rect">
            <a:avLst/>
          </a:prstGeom>
        </p:spPr>
        <p:txBody>
          <a:bodyPr wrap="square" lIns="91440" tIns="45720" rIns="91440" bIns="45720" anchor="t">
            <a:spAutoFit/>
          </a:bodyPr>
          <a:lstStyle/>
          <a:p>
            <a:pPr algn="just"/>
            <a:r>
              <a:rPr lang="el-GR" sz="1400" kern="0" dirty="0">
                <a:solidFill>
                  <a:srgbClr val="002060"/>
                </a:solidFill>
                <a:ea typeface="+mn-lt"/>
                <a:cs typeface="+mn-lt"/>
              </a:rPr>
              <a:t>Οι καταβολές σε 120 δικαιούχους ολοκληρώθηκαν τον Φεβρουάριο 2024.  </a:t>
            </a:r>
            <a:endParaRPr lang="en-US" sz="1400" kern="0" dirty="0">
              <a:solidFill>
                <a:srgbClr val="002060"/>
              </a:solidFill>
              <a:ea typeface="+mn-lt"/>
              <a:cs typeface="+mn-lt"/>
            </a:endParaRPr>
          </a:p>
          <a:p>
            <a:endParaRPr lang="el-GR" sz="1400" b="1" kern="0" dirty="0">
              <a:solidFill>
                <a:srgbClr val="002060"/>
              </a:solidFill>
              <a:ea typeface="+mn-lt"/>
              <a:cs typeface="+mn-lt"/>
            </a:endParaRPr>
          </a:p>
        </p:txBody>
      </p:sp>
      <p:sp>
        <p:nvSpPr>
          <p:cNvPr id="23" name="Google Shape;1275;p29">
            <a:extLst>
              <a:ext uri="{FF2B5EF4-FFF2-40B4-BE49-F238E27FC236}">
                <a16:creationId xmlns:a16="http://schemas.microsoft.com/office/drawing/2014/main" id="{B4B79B33-68FD-2963-782E-2ADE00BFA154}"/>
              </a:ext>
            </a:extLst>
          </p:cNvPr>
          <p:cNvSpPr/>
          <p:nvPr/>
        </p:nvSpPr>
        <p:spPr>
          <a:xfrm>
            <a:off x="8290482" y="1718949"/>
            <a:ext cx="3380091" cy="2263896"/>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24" name="Google Shape;1282;p29">
            <a:extLst>
              <a:ext uri="{FF2B5EF4-FFF2-40B4-BE49-F238E27FC236}">
                <a16:creationId xmlns:a16="http://schemas.microsoft.com/office/drawing/2014/main" id="{1269B2A4-9882-01CD-DA20-53C68D54542E}"/>
              </a:ext>
            </a:extLst>
          </p:cNvPr>
          <p:cNvSpPr/>
          <p:nvPr/>
        </p:nvSpPr>
        <p:spPr>
          <a:xfrm>
            <a:off x="8259051" y="728029"/>
            <a:ext cx="3443682" cy="1229185"/>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400" b="1" kern="0" dirty="0">
                <a:solidFill>
                  <a:srgbClr val="002060"/>
                </a:solidFill>
                <a:ea typeface="+mn-lt"/>
                <a:cs typeface="+mn-lt"/>
                <a:sym typeface="Arial"/>
              </a:rPr>
              <a:t>Κύκλος 2.Β: Έκτακτη Επιχορήγηση στον κλάδο της γούνας</a:t>
            </a:r>
            <a:endParaRPr lang="el-GR" dirty="0">
              <a:ea typeface="+mn-lt"/>
              <a:cs typeface="+mn-lt"/>
            </a:endParaRPr>
          </a:p>
        </p:txBody>
      </p:sp>
      <p:sp>
        <p:nvSpPr>
          <p:cNvPr id="25" name="Ορθογώνιο 24">
            <a:extLst>
              <a:ext uri="{FF2B5EF4-FFF2-40B4-BE49-F238E27FC236}">
                <a16:creationId xmlns:a16="http://schemas.microsoft.com/office/drawing/2014/main" id="{C3E8A3A1-82F2-BD00-3355-CED7C50EBC8E}"/>
              </a:ext>
            </a:extLst>
          </p:cNvPr>
          <p:cNvSpPr/>
          <p:nvPr/>
        </p:nvSpPr>
        <p:spPr>
          <a:xfrm>
            <a:off x="8364014" y="2076115"/>
            <a:ext cx="3231335" cy="523220"/>
          </a:xfrm>
          <a:prstGeom prst="rect">
            <a:avLst/>
          </a:prstGeom>
        </p:spPr>
        <p:txBody>
          <a:bodyPr wrap="square" lIns="91440" tIns="45720" rIns="91440" bIns="45720" anchor="t">
            <a:spAutoFit/>
          </a:bodyPr>
          <a:lstStyle/>
          <a:p>
            <a:pPr algn="just"/>
            <a:r>
              <a:rPr lang="el-GR" sz="1400" b="1" kern="0" dirty="0">
                <a:solidFill>
                  <a:srgbClr val="002060"/>
                </a:solidFill>
                <a:latin typeface="Calibri"/>
                <a:ea typeface="Calibri"/>
                <a:cs typeface="Calibri"/>
              </a:rPr>
              <a:t>Π/Υ:</a:t>
            </a:r>
            <a:r>
              <a:rPr lang="el-GR" sz="1400" b="1" kern="0" dirty="0">
                <a:solidFill>
                  <a:srgbClr val="002060"/>
                </a:solidFill>
                <a:ea typeface="+mn-lt"/>
                <a:cs typeface="+mn-lt"/>
              </a:rPr>
              <a:t> 3,5 εκατ. €</a:t>
            </a:r>
            <a:endParaRPr lang="en-US" sz="1400" kern="0" dirty="0">
              <a:solidFill>
                <a:srgbClr val="002060"/>
              </a:solidFill>
              <a:ea typeface="+mn-lt"/>
              <a:cs typeface="+mn-lt"/>
            </a:endParaRPr>
          </a:p>
          <a:p>
            <a:pPr algn="just"/>
            <a:r>
              <a:rPr lang="el-GR" sz="1400" kern="0" dirty="0">
                <a:solidFill>
                  <a:srgbClr val="002060"/>
                </a:solidFill>
                <a:ea typeface="+mn-lt"/>
                <a:cs typeface="+mn-lt"/>
              </a:rPr>
              <a:t>(με αμιγώς εθνικούς πόρους)</a:t>
            </a:r>
          </a:p>
        </p:txBody>
      </p:sp>
      <p:sp>
        <p:nvSpPr>
          <p:cNvPr id="29" name="Ορθογώνιο 28">
            <a:extLst>
              <a:ext uri="{FF2B5EF4-FFF2-40B4-BE49-F238E27FC236}">
                <a16:creationId xmlns:a16="http://schemas.microsoft.com/office/drawing/2014/main" id="{D3DBC357-4596-7ADF-BE91-8233D8B0D2B0}"/>
              </a:ext>
            </a:extLst>
          </p:cNvPr>
          <p:cNvSpPr/>
          <p:nvPr/>
        </p:nvSpPr>
        <p:spPr>
          <a:xfrm>
            <a:off x="8358586" y="2768627"/>
            <a:ext cx="3231334" cy="954107"/>
          </a:xfrm>
          <a:prstGeom prst="rect">
            <a:avLst/>
          </a:prstGeom>
        </p:spPr>
        <p:txBody>
          <a:bodyPr wrap="square" lIns="91440" tIns="45720" rIns="91440" bIns="45720" anchor="t">
            <a:spAutoFit/>
          </a:bodyPr>
          <a:lstStyle/>
          <a:p>
            <a:pPr algn="just"/>
            <a:r>
              <a:rPr lang="el-GR" sz="1400" kern="0" dirty="0">
                <a:solidFill>
                  <a:srgbClr val="002060"/>
                </a:solidFill>
                <a:ea typeface="+mn-lt"/>
                <a:cs typeface="+mn-lt"/>
              </a:rPr>
              <a:t>Ολοκληρώνονται οι τελευταίες πληρωμές και με υπέρβαση του π/υ θα καλυφθούν όλες οι θετικά αξιολογημένες αιτήσεις.</a:t>
            </a:r>
            <a:endParaRPr lang="en-US" sz="1400" kern="0" dirty="0">
              <a:solidFill>
                <a:srgbClr val="002060"/>
              </a:solidFill>
              <a:ea typeface="+mn-lt"/>
              <a:cs typeface="+mn-lt"/>
            </a:endParaRPr>
          </a:p>
        </p:txBody>
      </p:sp>
      <p:sp>
        <p:nvSpPr>
          <p:cNvPr id="2" name="Google Shape;1275;p29">
            <a:extLst>
              <a:ext uri="{FF2B5EF4-FFF2-40B4-BE49-F238E27FC236}">
                <a16:creationId xmlns:a16="http://schemas.microsoft.com/office/drawing/2014/main" id="{FE310346-1034-C4CC-2912-090C15E6AA1B}"/>
              </a:ext>
            </a:extLst>
          </p:cNvPr>
          <p:cNvSpPr/>
          <p:nvPr/>
        </p:nvSpPr>
        <p:spPr>
          <a:xfrm>
            <a:off x="1889874" y="5006263"/>
            <a:ext cx="8002854" cy="1637527"/>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3" name="Google Shape;1282;p29">
            <a:extLst>
              <a:ext uri="{FF2B5EF4-FFF2-40B4-BE49-F238E27FC236}">
                <a16:creationId xmlns:a16="http://schemas.microsoft.com/office/drawing/2014/main" id="{97E9C5DB-7906-3C33-63E2-B6C86143D044}"/>
              </a:ext>
            </a:extLst>
          </p:cNvPr>
          <p:cNvSpPr/>
          <p:nvPr/>
        </p:nvSpPr>
        <p:spPr>
          <a:xfrm>
            <a:off x="3299564" y="4282229"/>
            <a:ext cx="5017238" cy="1018632"/>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pPr algn="ctr"/>
            <a:r>
              <a:rPr lang="el-GR" sz="1400" b="1" kern="0" dirty="0">
                <a:solidFill>
                  <a:srgbClr val="002060"/>
                </a:solidFill>
                <a:ea typeface="+mn-lt"/>
                <a:cs typeface="+mn-lt"/>
              </a:rPr>
              <a:t>Γ' Πρόγραμμα για την υποστήριξη των επιχειρήσεων του κλάδου της γούνας</a:t>
            </a:r>
          </a:p>
        </p:txBody>
      </p:sp>
      <p:sp>
        <p:nvSpPr>
          <p:cNvPr id="4" name="Ορθογώνιο 3">
            <a:extLst>
              <a:ext uri="{FF2B5EF4-FFF2-40B4-BE49-F238E27FC236}">
                <a16:creationId xmlns:a16="http://schemas.microsoft.com/office/drawing/2014/main" id="{539C84EB-0F12-B240-F05E-657386377C8B}"/>
              </a:ext>
            </a:extLst>
          </p:cNvPr>
          <p:cNvSpPr/>
          <p:nvPr/>
        </p:nvSpPr>
        <p:spPr>
          <a:xfrm>
            <a:off x="1889874" y="5341168"/>
            <a:ext cx="7836619" cy="307777"/>
          </a:xfrm>
          <a:prstGeom prst="rect">
            <a:avLst/>
          </a:prstGeom>
        </p:spPr>
        <p:txBody>
          <a:bodyPr wrap="square" lIns="91440" tIns="45720" rIns="91440" bIns="45720" anchor="t">
            <a:spAutoFit/>
          </a:bodyPr>
          <a:lstStyle/>
          <a:p>
            <a:pPr algn="just"/>
            <a:r>
              <a:rPr lang="el-GR" sz="1400" b="1" kern="0" dirty="0">
                <a:solidFill>
                  <a:srgbClr val="002060"/>
                </a:solidFill>
                <a:latin typeface="Calibri"/>
                <a:ea typeface="Calibri"/>
                <a:cs typeface="Calibri"/>
              </a:rPr>
              <a:t>Π/Υ:</a:t>
            </a:r>
            <a:r>
              <a:rPr lang="el-GR" sz="1400" b="1" kern="0" dirty="0">
                <a:solidFill>
                  <a:srgbClr val="002060"/>
                </a:solidFill>
                <a:ea typeface="+mn-lt"/>
                <a:cs typeface="+mn-lt"/>
              </a:rPr>
              <a:t> </a:t>
            </a:r>
            <a:r>
              <a:rPr lang="el-GR" sz="1400" kern="0" dirty="0">
                <a:solidFill>
                  <a:srgbClr val="002060"/>
                </a:solidFill>
                <a:ea typeface="+mn-lt"/>
                <a:cs typeface="+mn-lt"/>
              </a:rPr>
              <a:t>Το τελικό ύψος θα διαμορφωθεί μετά την ολοκλήρωση του τρέχοντος προγράμματος</a:t>
            </a:r>
            <a:endParaRPr lang="en-US" sz="1400" kern="0" dirty="0">
              <a:solidFill>
                <a:srgbClr val="002060"/>
              </a:solidFill>
              <a:ea typeface="+mn-lt"/>
              <a:cs typeface="+mn-lt"/>
            </a:endParaRPr>
          </a:p>
        </p:txBody>
      </p:sp>
      <p:sp>
        <p:nvSpPr>
          <p:cNvPr id="6" name="Ορθογώνιο 5">
            <a:extLst>
              <a:ext uri="{FF2B5EF4-FFF2-40B4-BE49-F238E27FC236}">
                <a16:creationId xmlns:a16="http://schemas.microsoft.com/office/drawing/2014/main" id="{50D7C314-2C92-8CC8-9202-8EE625EF4D0E}"/>
              </a:ext>
            </a:extLst>
          </p:cNvPr>
          <p:cNvSpPr/>
          <p:nvPr/>
        </p:nvSpPr>
        <p:spPr>
          <a:xfrm>
            <a:off x="1914189" y="5752836"/>
            <a:ext cx="7812304" cy="738664"/>
          </a:xfrm>
          <a:prstGeom prst="rect">
            <a:avLst/>
          </a:prstGeom>
        </p:spPr>
        <p:txBody>
          <a:bodyPr wrap="square" lIns="91440" tIns="45720" rIns="91440" bIns="45720" anchor="t">
            <a:spAutoFit/>
          </a:bodyPr>
          <a:lstStyle/>
          <a:p>
            <a:pPr algn="just"/>
            <a:r>
              <a:rPr lang="el-GR" sz="1400" kern="0" dirty="0">
                <a:solidFill>
                  <a:srgbClr val="002060"/>
                </a:solidFill>
                <a:ea typeface="+mn-lt"/>
                <a:cs typeface="+mn-lt"/>
              </a:rPr>
              <a:t>Ύστερα από συνεργασία των Υπουργείων Ανάπτυξης &amp; Εθνικής Οικονομίας και Οικονομικών και σε συνεργασία με την Ομοσπονδία Γούνας προσδιορίστηκαν όλες οι παραδοχές ενός 3ου Προγράμματος για την υποστήριξη των επιχειρήσεων του κλάδου. </a:t>
            </a:r>
          </a:p>
        </p:txBody>
      </p:sp>
      <p:sp>
        <p:nvSpPr>
          <p:cNvPr id="8" name="Google Shape;414;p13">
            <a:extLst>
              <a:ext uri="{FF2B5EF4-FFF2-40B4-BE49-F238E27FC236}">
                <a16:creationId xmlns:a16="http://schemas.microsoft.com/office/drawing/2014/main" id="{2044EEFF-FB04-CF73-3FDE-E2BE5B7922B7}"/>
              </a:ext>
            </a:extLst>
          </p:cNvPr>
          <p:cNvSpPr/>
          <p:nvPr/>
        </p:nvSpPr>
        <p:spPr>
          <a:xfrm>
            <a:off x="438541" y="289234"/>
            <a:ext cx="11676761" cy="371184"/>
          </a:xfrm>
          <a:prstGeom prst="rect">
            <a:avLst/>
          </a:prstGeom>
          <a:noFill/>
          <a:ln>
            <a:noFill/>
          </a:ln>
        </p:spPr>
        <p:txBody>
          <a:bodyPr spcFirstLastPara="1" wrap="square" lIns="0" tIns="0" rIns="0" bIns="0" anchor="t" anchorCtr="0">
            <a:noAutofit/>
          </a:bodyPr>
          <a:lstStyle/>
          <a:p>
            <a:pPr defTabSz="609630">
              <a:lnSpc>
                <a:spcPct val="117222"/>
              </a:lnSpc>
              <a:defRPr/>
            </a:pPr>
            <a:r>
              <a:rPr lang="el-GR" sz="2500" kern="0" dirty="0">
                <a:solidFill>
                  <a:srgbClr val="002060"/>
                </a:solidFill>
                <a:latin typeface="Arial Black"/>
                <a:cs typeface="Arial"/>
                <a:sym typeface="Arial Black"/>
              </a:rPr>
              <a:t>Στήριξη κλάδου γούνας</a:t>
            </a:r>
            <a:endParaRPr lang="el-GR" dirty="0"/>
          </a:p>
        </p:txBody>
      </p:sp>
      <p:cxnSp>
        <p:nvCxnSpPr>
          <p:cNvPr id="9" name="Ευθεία γραμμή σύνδεσης 8">
            <a:extLst>
              <a:ext uri="{FF2B5EF4-FFF2-40B4-BE49-F238E27FC236}">
                <a16:creationId xmlns:a16="http://schemas.microsoft.com/office/drawing/2014/main" id="{8E104D50-99D9-1ADF-532B-9C16F9862726}"/>
              </a:ext>
            </a:extLst>
          </p:cNvPr>
          <p:cNvCxnSpPr/>
          <p:nvPr/>
        </p:nvCxnSpPr>
        <p:spPr>
          <a:xfrm>
            <a:off x="371933" y="709769"/>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7731677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8DE55-3F24-183B-433F-59C9BF4EAD65}"/>
            </a:ext>
          </a:extLst>
        </p:cNvPr>
        <p:cNvGrpSpPr/>
        <p:nvPr/>
      </p:nvGrpSpPr>
      <p:grpSpPr>
        <a:xfrm>
          <a:off x="0" y="0"/>
          <a:ext cx="0" cy="0"/>
          <a:chOff x="0" y="0"/>
          <a:chExt cx="0" cy="0"/>
        </a:xfrm>
      </p:grpSpPr>
      <p:sp>
        <p:nvSpPr>
          <p:cNvPr id="3" name="Google Shape;414;p13">
            <a:extLst>
              <a:ext uri="{FF2B5EF4-FFF2-40B4-BE49-F238E27FC236}">
                <a16:creationId xmlns:a16="http://schemas.microsoft.com/office/drawing/2014/main" id="{2E71F4FC-400E-D4D4-0E71-3265C3763261}"/>
              </a:ext>
            </a:extLst>
          </p:cNvPr>
          <p:cNvSpPr/>
          <p:nvPr/>
        </p:nvSpPr>
        <p:spPr>
          <a:xfrm>
            <a:off x="438541" y="289234"/>
            <a:ext cx="11676761" cy="371184"/>
          </a:xfrm>
          <a:prstGeom prst="rect">
            <a:avLst/>
          </a:prstGeom>
          <a:noFill/>
          <a:ln>
            <a:noFill/>
          </a:ln>
        </p:spPr>
        <p:txBody>
          <a:bodyPr spcFirstLastPara="1" wrap="square" lIns="0" tIns="0" rIns="0" bIns="0" anchor="t" anchorCtr="0">
            <a:noAutofit/>
          </a:bodyPr>
          <a:lstStyle/>
          <a:p>
            <a:pPr defTabSz="609630">
              <a:defRPr/>
            </a:pPr>
            <a:r>
              <a:rPr lang="el-GR" sz="2500" b="1" kern="0" dirty="0">
                <a:solidFill>
                  <a:srgbClr val="002060"/>
                </a:solidFill>
                <a:latin typeface="Arial Black"/>
                <a:ea typeface="Calibri"/>
                <a:cs typeface="Calibri"/>
                <a:sym typeface="Arial Black"/>
              </a:rPr>
              <a:t>Αναπτυξιακός Νόμος 4887/2022</a:t>
            </a:r>
            <a:endParaRPr lang="x-none" sz="2500" kern="0" dirty="0">
              <a:solidFill>
                <a:srgbClr val="002060"/>
              </a:solidFill>
              <a:latin typeface="Arial Black"/>
              <a:ea typeface="Calibri"/>
              <a:cs typeface="Calibri"/>
            </a:endParaRPr>
          </a:p>
          <a:p>
            <a:pPr defTabSz="609630">
              <a:lnSpc>
                <a:spcPct val="117222"/>
              </a:lnSpc>
              <a:defRPr/>
            </a:pPr>
            <a:endParaRPr lang="el-GR" sz="2500" kern="0" dirty="0">
              <a:solidFill>
                <a:srgbClr val="002060"/>
              </a:solidFill>
              <a:latin typeface="Arial Black"/>
              <a:cs typeface="Arial"/>
            </a:endParaRPr>
          </a:p>
        </p:txBody>
      </p:sp>
      <p:cxnSp>
        <p:nvCxnSpPr>
          <p:cNvPr id="6" name="Ευθεία γραμμή σύνδεσης 5">
            <a:extLst>
              <a:ext uri="{FF2B5EF4-FFF2-40B4-BE49-F238E27FC236}">
                <a16:creationId xmlns:a16="http://schemas.microsoft.com/office/drawing/2014/main" id="{8498FFEE-7A88-CC37-3454-F11612C88D45}"/>
              </a:ext>
            </a:extLst>
          </p:cNvPr>
          <p:cNvCxnSpPr/>
          <p:nvPr/>
        </p:nvCxnSpPr>
        <p:spPr>
          <a:xfrm>
            <a:off x="371933" y="709769"/>
            <a:ext cx="11668715"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graphicFrame>
        <p:nvGraphicFramePr>
          <p:cNvPr id="2" name="Πίνακας 1">
            <a:extLst>
              <a:ext uri="{FF2B5EF4-FFF2-40B4-BE49-F238E27FC236}">
                <a16:creationId xmlns:a16="http://schemas.microsoft.com/office/drawing/2014/main" id="{F48C5EF8-487D-E527-2CC9-9483506A3E44}"/>
              </a:ext>
            </a:extLst>
          </p:cNvPr>
          <p:cNvGraphicFramePr>
            <a:graphicFrameLocks noGrp="1"/>
          </p:cNvGraphicFramePr>
          <p:nvPr>
            <p:extLst>
              <p:ext uri="{D42A27DB-BD31-4B8C-83A1-F6EECF244321}">
                <p14:modId xmlns:p14="http://schemas.microsoft.com/office/powerpoint/2010/main" val="1792043104"/>
              </p:ext>
            </p:extLst>
          </p:nvPr>
        </p:nvGraphicFramePr>
        <p:xfrm>
          <a:off x="1069593" y="1253671"/>
          <a:ext cx="10273393" cy="3431754"/>
        </p:xfrm>
        <a:graphic>
          <a:graphicData uri="http://schemas.openxmlformats.org/drawingml/2006/table">
            <a:tbl>
              <a:tblPr>
                <a:tableStyleId>{775DCB02-9BB8-47FD-8907-85C794F793BA}</a:tableStyleId>
              </a:tblPr>
              <a:tblGrid>
                <a:gridCol w="2501490">
                  <a:extLst>
                    <a:ext uri="{9D8B030D-6E8A-4147-A177-3AD203B41FA5}">
                      <a16:colId xmlns:a16="http://schemas.microsoft.com/office/drawing/2014/main" val="3373269931"/>
                    </a:ext>
                  </a:extLst>
                </a:gridCol>
                <a:gridCol w="1930744">
                  <a:extLst>
                    <a:ext uri="{9D8B030D-6E8A-4147-A177-3AD203B41FA5}">
                      <a16:colId xmlns:a16="http://schemas.microsoft.com/office/drawing/2014/main" val="4186539584"/>
                    </a:ext>
                  </a:extLst>
                </a:gridCol>
                <a:gridCol w="2297575">
                  <a:extLst>
                    <a:ext uri="{9D8B030D-6E8A-4147-A177-3AD203B41FA5}">
                      <a16:colId xmlns:a16="http://schemas.microsoft.com/office/drawing/2014/main" val="1094630345"/>
                    </a:ext>
                  </a:extLst>
                </a:gridCol>
                <a:gridCol w="1843866">
                  <a:extLst>
                    <a:ext uri="{9D8B030D-6E8A-4147-A177-3AD203B41FA5}">
                      <a16:colId xmlns:a16="http://schemas.microsoft.com/office/drawing/2014/main" val="947166196"/>
                    </a:ext>
                  </a:extLst>
                </a:gridCol>
                <a:gridCol w="1699718">
                  <a:extLst>
                    <a:ext uri="{9D8B030D-6E8A-4147-A177-3AD203B41FA5}">
                      <a16:colId xmlns:a16="http://schemas.microsoft.com/office/drawing/2014/main" val="3987063086"/>
                    </a:ext>
                  </a:extLst>
                </a:gridCol>
              </a:tblGrid>
              <a:tr h="789699">
                <a:tc>
                  <a:txBody>
                    <a:bodyPr/>
                    <a:lstStyle/>
                    <a:p>
                      <a:pPr algn="l" fontAlgn="b">
                        <a:buNone/>
                      </a:pPr>
                      <a:endParaRPr lang="el-GR" sz="14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ctr" fontAlgn="b">
                        <a:buNone/>
                      </a:pPr>
                      <a:r>
                        <a:rPr lang="el-GR" sz="1400" b="1" u="none" strike="noStrike" dirty="0">
                          <a:effectLst/>
                        </a:rPr>
                        <a:t>Αριθμός Επενδυτικών Σχεδίων</a:t>
                      </a:r>
                      <a:endParaRPr lang="el-GR" sz="14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ctr" fontAlgn="b">
                        <a:buNone/>
                      </a:pPr>
                      <a:r>
                        <a:rPr lang="el-GR" sz="1400" b="1" u="none" strike="noStrike" dirty="0">
                          <a:effectLst/>
                        </a:rPr>
                        <a:t>Συνολικός Προϋπολογισμός</a:t>
                      </a:r>
                      <a:endParaRPr lang="el-GR" sz="14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ctr" fontAlgn="b">
                        <a:buNone/>
                      </a:pPr>
                      <a:r>
                        <a:rPr lang="el-GR" sz="1400" b="1" u="none" strike="noStrike" dirty="0">
                          <a:effectLst/>
                        </a:rPr>
                        <a:t>Επιχορήγηση</a:t>
                      </a:r>
                      <a:endParaRPr lang="el-GR" sz="14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ctr" fontAlgn="b">
                        <a:buNone/>
                      </a:pPr>
                      <a:r>
                        <a:rPr lang="el-GR" sz="1400" b="1" u="none" strike="noStrike" dirty="0">
                          <a:effectLst/>
                        </a:rPr>
                        <a:t>Φοροαπαλλαγή</a:t>
                      </a:r>
                      <a:endParaRPr lang="el-GR" sz="14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extLst>
                  <a:ext uri="{0D108BD9-81ED-4DB2-BD59-A6C34878D82A}">
                    <a16:rowId xmlns:a16="http://schemas.microsoft.com/office/drawing/2014/main" val="447741308"/>
                  </a:ext>
                </a:extLst>
              </a:tr>
              <a:tr h="528411">
                <a:tc>
                  <a:txBody>
                    <a:bodyPr/>
                    <a:lstStyle/>
                    <a:p>
                      <a:pPr algn="l" fontAlgn="b">
                        <a:buNone/>
                      </a:pPr>
                      <a:r>
                        <a:rPr lang="el-GR" sz="1400" b="1" u="none" strike="noStrike">
                          <a:effectLst/>
                        </a:rPr>
                        <a:t>ΤΟΥΡΙΣΜΟΣ Α'</a:t>
                      </a:r>
                      <a:endParaRPr lang="el-GR" sz="14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1</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dirty="0">
                          <a:effectLst/>
                        </a:rPr>
                        <a:t>                                        2.950.000,00 € </a:t>
                      </a:r>
                      <a:endParaRPr lang="el-GR"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dirty="0">
                          <a:effectLst/>
                        </a:rPr>
                        <a:t>       2.065.000,00 € </a:t>
                      </a:r>
                      <a:endParaRPr lang="el-GR"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dirty="0">
                          <a:effectLst/>
                        </a:rPr>
                        <a:t> - </a:t>
                      </a:r>
                      <a:endParaRPr lang="el-GR"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extLst>
                  <a:ext uri="{0D108BD9-81ED-4DB2-BD59-A6C34878D82A}">
                    <a16:rowId xmlns:a16="http://schemas.microsoft.com/office/drawing/2014/main" val="2930680876"/>
                  </a:ext>
                </a:extLst>
              </a:tr>
              <a:tr h="528411">
                <a:tc>
                  <a:txBody>
                    <a:bodyPr/>
                    <a:lstStyle/>
                    <a:p>
                      <a:pPr algn="l" fontAlgn="b">
                        <a:buNone/>
                      </a:pPr>
                      <a:r>
                        <a:rPr lang="el-GR" sz="1400" b="1" u="none" strike="noStrike" dirty="0">
                          <a:effectLst/>
                        </a:rPr>
                        <a:t>ΜΕΤΑΠΟΙΗΣΗ Α'</a:t>
                      </a:r>
                      <a:endParaRPr lang="el-GR" sz="14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4</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                                     22.204.837,71 € </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       6.977.267,02 € </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dirty="0">
                          <a:effectLst/>
                        </a:rPr>
                        <a:t>     5.575.799,56 € </a:t>
                      </a:r>
                      <a:endParaRPr lang="el-GR"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extLst>
                  <a:ext uri="{0D108BD9-81ED-4DB2-BD59-A6C34878D82A}">
                    <a16:rowId xmlns:a16="http://schemas.microsoft.com/office/drawing/2014/main" val="4002808665"/>
                  </a:ext>
                </a:extLst>
              </a:tr>
              <a:tr h="528411">
                <a:tc>
                  <a:txBody>
                    <a:bodyPr/>
                    <a:lstStyle/>
                    <a:p>
                      <a:pPr algn="l" fontAlgn="b">
                        <a:buNone/>
                      </a:pPr>
                      <a:r>
                        <a:rPr lang="el-GR" sz="1400" b="1" u="none" strike="noStrike">
                          <a:effectLst/>
                        </a:rPr>
                        <a:t>ΜΕΤΑΠΟΙΗΣΗ Β'</a:t>
                      </a:r>
                      <a:endParaRPr lang="el-GR" sz="14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7</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                                     13.678.460,13 € </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       9.574.922,10 € </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 - </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extLst>
                  <a:ext uri="{0D108BD9-81ED-4DB2-BD59-A6C34878D82A}">
                    <a16:rowId xmlns:a16="http://schemas.microsoft.com/office/drawing/2014/main" val="1444249911"/>
                  </a:ext>
                </a:extLst>
              </a:tr>
              <a:tr h="528411">
                <a:tc>
                  <a:txBody>
                    <a:bodyPr/>
                    <a:lstStyle/>
                    <a:p>
                      <a:pPr algn="l" fontAlgn="b">
                        <a:buNone/>
                      </a:pPr>
                      <a:r>
                        <a:rPr lang="el-GR" sz="1400" b="1" u="none" strike="noStrike">
                          <a:effectLst/>
                        </a:rPr>
                        <a:t>ΑΓΡΟΔΙΑΤΡΟΦΗ</a:t>
                      </a:r>
                      <a:endParaRPr lang="el-GR" sz="14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9</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                                     13.611.053,09 € </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       7.460.309,16 € </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 - </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extLst>
                  <a:ext uri="{0D108BD9-81ED-4DB2-BD59-A6C34878D82A}">
                    <a16:rowId xmlns:a16="http://schemas.microsoft.com/office/drawing/2014/main" val="1458945090"/>
                  </a:ext>
                </a:extLst>
              </a:tr>
              <a:tr h="528411">
                <a:tc>
                  <a:txBody>
                    <a:bodyPr/>
                    <a:lstStyle/>
                    <a:p>
                      <a:pPr algn="l" fontAlgn="b">
                        <a:buNone/>
                      </a:pPr>
                      <a:r>
                        <a:rPr lang="el-GR" sz="1400" b="1" u="none" strike="noStrike" dirty="0">
                          <a:effectLst/>
                        </a:rPr>
                        <a:t>ΣΥΝΟΛΟ</a:t>
                      </a:r>
                      <a:endParaRPr lang="el-GR" sz="14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21</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                                     52.444.350,93 € </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a:effectLst/>
                        </a:rPr>
                        <a:t>    26.077.498,28 € </a:t>
                      </a:r>
                      <a:endParaRPr lang="el-GR"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tc>
                  <a:txBody>
                    <a:bodyPr/>
                    <a:lstStyle/>
                    <a:p>
                      <a:pPr algn="r" fontAlgn="b">
                        <a:buNone/>
                      </a:pPr>
                      <a:r>
                        <a:rPr lang="el-GR" sz="1400" u="none" strike="noStrike" dirty="0">
                          <a:effectLst/>
                        </a:rPr>
                        <a:t>     5.575.799,56 € </a:t>
                      </a:r>
                      <a:endParaRPr lang="el-GR"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63" marR="4763" marT="4763" marB="0" anchor="b"/>
                </a:tc>
                <a:extLst>
                  <a:ext uri="{0D108BD9-81ED-4DB2-BD59-A6C34878D82A}">
                    <a16:rowId xmlns:a16="http://schemas.microsoft.com/office/drawing/2014/main" val="2069024599"/>
                  </a:ext>
                </a:extLst>
              </a:tr>
            </a:tbl>
          </a:graphicData>
        </a:graphic>
      </p:graphicFrame>
      <p:sp>
        <p:nvSpPr>
          <p:cNvPr id="4" name="Google Shape;1282;p29">
            <a:extLst>
              <a:ext uri="{FF2B5EF4-FFF2-40B4-BE49-F238E27FC236}">
                <a16:creationId xmlns:a16="http://schemas.microsoft.com/office/drawing/2014/main" id="{330F19C6-E009-D9C0-412B-8783177DE2FA}"/>
              </a:ext>
            </a:extLst>
          </p:cNvPr>
          <p:cNvSpPr/>
          <p:nvPr/>
        </p:nvSpPr>
        <p:spPr>
          <a:xfrm>
            <a:off x="1721407" y="4961749"/>
            <a:ext cx="9621579" cy="1607017"/>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endParaRPr lang="el-GR" sz="1400" b="1" kern="0" dirty="0">
              <a:solidFill>
                <a:srgbClr val="002060"/>
              </a:solidFill>
              <a:ea typeface="+mn-lt"/>
              <a:cs typeface="+mn-lt"/>
              <a:sym typeface="Arial"/>
            </a:endParaRPr>
          </a:p>
          <a:p>
            <a:pPr algn="ctr"/>
            <a:r>
              <a:rPr lang="el-GR" sz="1400" b="1" kern="0" dirty="0">
                <a:solidFill>
                  <a:srgbClr val="002060"/>
                </a:solidFill>
                <a:ea typeface="+mn-lt"/>
                <a:cs typeface="+mn-lt"/>
                <a:sym typeface="Arial"/>
              </a:rPr>
              <a:t>Νέο καθεστώς αναπτυξιακού νόμου</a:t>
            </a:r>
          </a:p>
          <a:p>
            <a:pPr algn="ctr"/>
            <a:endParaRPr lang="el-GR" sz="1400" b="1" kern="0" dirty="0">
              <a:solidFill>
                <a:srgbClr val="002060"/>
              </a:solidFill>
              <a:ea typeface="+mn-lt"/>
              <a:cs typeface="+mn-lt"/>
              <a:sym typeface="Arial"/>
            </a:endParaRPr>
          </a:p>
          <a:p>
            <a:pPr algn="ctr"/>
            <a:r>
              <a:rPr lang="el-GR" sz="1400" b="1" kern="0" dirty="0">
                <a:solidFill>
                  <a:srgbClr val="002060"/>
                </a:solidFill>
                <a:ea typeface="+mn-lt"/>
                <a:cs typeface="+mn-lt"/>
                <a:sym typeface="Arial"/>
              </a:rPr>
              <a:t>Περιοχές ειδικής ενίσχυσης από 01.07.2025 </a:t>
            </a:r>
            <a:r>
              <a:rPr lang="el-GR" sz="1400" kern="0" dirty="0">
                <a:solidFill>
                  <a:srgbClr val="002060"/>
                </a:solidFill>
                <a:ea typeface="+mn-lt"/>
                <a:cs typeface="+mn-lt"/>
                <a:sym typeface="Arial"/>
              </a:rPr>
              <a:t>με στόχο την ισορροπημένη και βιώσιμη ανάπτυξη με έμφαση όπου υπάρχουν σημαντικές προκλήσεις (χαμηλό κατά κεφαλήν ΑΕΠ, δημογραφική συρρίκνωση). </a:t>
            </a:r>
          </a:p>
          <a:p>
            <a:pPr algn="ctr"/>
            <a:r>
              <a:rPr lang="el-GR" sz="1400" b="1" kern="0" dirty="0">
                <a:solidFill>
                  <a:srgbClr val="002060"/>
                </a:solidFill>
                <a:ea typeface="+mn-lt"/>
                <a:cs typeface="+mn-lt"/>
                <a:sym typeface="Arial"/>
              </a:rPr>
              <a:t>π/υ</a:t>
            </a:r>
            <a:r>
              <a:rPr lang="el-GR" sz="1400" kern="0" dirty="0">
                <a:solidFill>
                  <a:srgbClr val="002060"/>
                </a:solidFill>
                <a:ea typeface="+mn-lt"/>
                <a:cs typeface="+mn-lt"/>
                <a:sym typeface="Arial"/>
              </a:rPr>
              <a:t> 150 εκατ. € </a:t>
            </a:r>
          </a:p>
          <a:p>
            <a:pPr algn="ctr"/>
            <a:r>
              <a:rPr lang="el-GR" sz="1400" b="1" kern="0" dirty="0">
                <a:solidFill>
                  <a:srgbClr val="002060"/>
                </a:solidFill>
                <a:ea typeface="+mn-lt"/>
                <a:cs typeface="+mn-lt"/>
                <a:sym typeface="Arial"/>
              </a:rPr>
              <a:t>Επιχορήγηση</a:t>
            </a:r>
            <a:r>
              <a:rPr lang="el-GR" sz="1400" kern="0" dirty="0">
                <a:solidFill>
                  <a:srgbClr val="002060"/>
                </a:solidFill>
                <a:ea typeface="+mn-lt"/>
                <a:cs typeface="+mn-lt"/>
                <a:sym typeface="Arial"/>
              </a:rPr>
              <a:t> &gt; 75% συνολικού προϋπολογισμού</a:t>
            </a:r>
          </a:p>
          <a:p>
            <a:pPr algn="ctr"/>
            <a:endParaRPr lang="el-GR" sz="1400" kern="0" dirty="0">
              <a:solidFill>
                <a:srgbClr val="002060"/>
              </a:solidFill>
              <a:ea typeface="+mn-lt"/>
              <a:cs typeface="+mn-lt"/>
              <a:sym typeface="Arial"/>
            </a:endParaRPr>
          </a:p>
        </p:txBody>
      </p:sp>
    </p:spTree>
    <p:extLst>
      <p:ext uri="{BB962C8B-B14F-4D97-AF65-F5344CB8AC3E}">
        <p14:creationId xmlns:p14="http://schemas.microsoft.com/office/powerpoint/2010/main" val="30536276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B05837-C3E4-FEA5-E5B8-623C00B355C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207AD4A1-FC51-0D9C-46B7-F44F7B1A95ED}"/>
              </a:ext>
            </a:extLst>
          </p:cNvPr>
          <p:cNvSpPr txBox="1"/>
          <p:nvPr/>
        </p:nvSpPr>
        <p:spPr>
          <a:xfrm>
            <a:off x="2407328" y="2257381"/>
            <a:ext cx="9260775" cy="1569660"/>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3200" b="1" i="0" u="none" strike="noStrike" kern="1200" cap="none" spc="0" normalizeH="0" baseline="0" noProof="0">
                <a:ln>
                  <a:noFill/>
                </a:ln>
                <a:solidFill>
                  <a:srgbClr val="002060"/>
                </a:solidFill>
                <a:effectLst/>
                <a:uLnTx/>
                <a:uFillTx/>
                <a:latin typeface="Calibri"/>
                <a:ea typeface="Calibri" panose="020F0502020204030204"/>
                <a:cs typeface="Calibri" panose="020F0502020204030204"/>
                <a:sym typeface="Arial"/>
              </a:rPr>
              <a:t>Υπουργείο </a:t>
            </a:r>
          </a:p>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3200" b="1" i="0" u="none" strike="noStrike" kern="1200" cap="none" spc="0" normalizeH="0" baseline="0" noProof="0">
                <a:ln>
                  <a:noFill/>
                </a:ln>
                <a:solidFill>
                  <a:srgbClr val="002060"/>
                </a:solidFill>
                <a:effectLst/>
                <a:uLnTx/>
                <a:uFillTx/>
                <a:latin typeface="Calibri"/>
                <a:ea typeface="Calibri" panose="020F0502020204030204"/>
                <a:cs typeface="Calibri" panose="020F0502020204030204"/>
                <a:sym typeface="Arial"/>
              </a:rPr>
              <a:t>Ψηφιακής Διακυβέρνησης</a:t>
            </a:r>
            <a:endParaRPr kumimoji="0" lang="en-US" sz="1400" b="0" i="0" u="none" strike="noStrike" kern="0" cap="none" spc="0" normalizeH="0" baseline="0" noProof="0">
              <a:ln>
                <a:noFill/>
              </a:ln>
              <a:solidFill>
                <a:srgbClr val="000000"/>
              </a:solidFill>
              <a:effectLst/>
              <a:uLnTx/>
              <a:uFillTx/>
              <a:latin typeface="Arial"/>
              <a:cs typeface="Arial"/>
              <a:sym typeface="Arial"/>
            </a:endParaRPr>
          </a:p>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endParaRPr kumimoji="0" lang="el-GR" sz="3200" b="1" i="0" u="none" strike="noStrike" kern="1200" cap="none" spc="0" normalizeH="0" baseline="0" noProof="0">
              <a:ln>
                <a:noFill/>
              </a:ln>
              <a:solidFill>
                <a:srgbClr val="002060"/>
              </a:solidFill>
              <a:effectLst/>
              <a:uLnTx/>
              <a:uFillTx/>
              <a:latin typeface="Calibri"/>
              <a:ea typeface="Calibri" panose="020F0502020204030204"/>
              <a:cs typeface="Calibri" panose="020F0502020204030204"/>
              <a:sym typeface="Arial"/>
            </a:endParaRPr>
          </a:p>
        </p:txBody>
      </p:sp>
    </p:spTree>
    <p:extLst>
      <p:ext uri="{BB962C8B-B14F-4D97-AF65-F5344CB8AC3E}">
        <p14:creationId xmlns:p14="http://schemas.microsoft.com/office/powerpoint/2010/main" val="4604354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Google Shape;1275;p29">
            <a:extLst>
              <a:ext uri="{FF2B5EF4-FFF2-40B4-BE49-F238E27FC236}">
                <a16:creationId xmlns:a16="http://schemas.microsoft.com/office/drawing/2014/main" id="{A253AE0F-6376-CAB2-D46F-D128728C8705}"/>
              </a:ext>
            </a:extLst>
          </p:cNvPr>
          <p:cNvSpPr/>
          <p:nvPr/>
        </p:nvSpPr>
        <p:spPr>
          <a:xfrm>
            <a:off x="635892" y="1364521"/>
            <a:ext cx="5234959" cy="274516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chemeClr val="accent3">
              <a:lumMod val="40000"/>
              <a:lumOff val="60000"/>
            </a:schemeClr>
          </a:solidFill>
          <a:ln>
            <a:solidFill>
              <a:schemeClr val="accent1"/>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1" name="Ορθογώνιο 10">
            <a:extLst>
              <a:ext uri="{FF2B5EF4-FFF2-40B4-BE49-F238E27FC236}">
                <a16:creationId xmlns:a16="http://schemas.microsoft.com/office/drawing/2014/main" id="{449A0A78-45D9-8508-038A-605E44F2E0F3}"/>
              </a:ext>
            </a:extLst>
          </p:cNvPr>
          <p:cNvSpPr/>
          <p:nvPr/>
        </p:nvSpPr>
        <p:spPr>
          <a:xfrm>
            <a:off x="999687" y="1613403"/>
            <a:ext cx="4454545" cy="338554"/>
          </a:xfrm>
          <a:prstGeom prst="rect">
            <a:avLst/>
          </a:prstGeom>
        </p:spPr>
        <p:txBody>
          <a:bodyPr wrap="square" lIns="91440" tIns="45720" rIns="91440" bIns="45720" anchor="t">
            <a:spAutoFit/>
          </a:bodyPr>
          <a:lstStyle/>
          <a:p>
            <a:pPr algn="ctr"/>
            <a:r>
              <a:rPr lang="el-GR" sz="1600" b="1" kern="0">
                <a:solidFill>
                  <a:srgbClr val="002060"/>
                </a:solidFill>
                <a:latin typeface="Calibri"/>
                <a:ea typeface="Calibri"/>
                <a:cs typeface="Calibri"/>
              </a:rPr>
              <a:t>Όραμα &amp; Στόχος του έργου</a:t>
            </a:r>
            <a:endParaRPr lang="el-GR" sz="1600" kern="0">
              <a:solidFill>
                <a:srgbClr val="002060"/>
              </a:solidFill>
              <a:latin typeface="Calibri"/>
              <a:ea typeface="+mn-lt"/>
              <a:cs typeface="+mn-lt"/>
            </a:endParaRPr>
          </a:p>
        </p:txBody>
      </p:sp>
      <p:sp>
        <p:nvSpPr>
          <p:cNvPr id="12" name="Ορθογώνιο 12">
            <a:extLst>
              <a:ext uri="{FF2B5EF4-FFF2-40B4-BE49-F238E27FC236}">
                <a16:creationId xmlns:a16="http://schemas.microsoft.com/office/drawing/2014/main" id="{EA8F8405-5F51-58F7-127A-196F569CE535}"/>
              </a:ext>
            </a:extLst>
          </p:cNvPr>
          <p:cNvSpPr/>
          <p:nvPr/>
        </p:nvSpPr>
        <p:spPr>
          <a:xfrm>
            <a:off x="1056837" y="2141790"/>
            <a:ext cx="4454545" cy="1384995"/>
          </a:xfrm>
          <a:prstGeom prst="rect">
            <a:avLst/>
          </a:prstGeom>
        </p:spPr>
        <p:txBody>
          <a:bodyPr wrap="square" lIns="91440" tIns="45720" rIns="91440" bIns="45720" anchor="t">
            <a:spAutoFit/>
          </a:bodyPr>
          <a:lstStyle/>
          <a:p>
            <a:pPr lvl="0">
              <a:buFont typeface="Arial" pitchFamily="34" charset="0"/>
              <a:buChar char="•"/>
              <a:defRPr/>
            </a:pPr>
            <a:r>
              <a:rPr lang="el-GR" sz="1400">
                <a:solidFill>
                  <a:srgbClr val="002060"/>
                </a:solidFill>
                <a:latin typeface="Calibri" pitchFamily="34" charset="0"/>
                <a:cs typeface="Calibri" pitchFamily="34" charset="0"/>
                <a:sym typeface="Arial"/>
              </a:rPr>
              <a:t>Επέκταση του </a:t>
            </a:r>
            <a:r>
              <a:rPr lang="el-GR" sz="1400" b="1">
                <a:solidFill>
                  <a:srgbClr val="002060"/>
                </a:solidFill>
                <a:latin typeface="Calibri" pitchFamily="34" charset="0"/>
                <a:cs typeface="Calibri" pitchFamily="34" charset="0"/>
                <a:sym typeface="Arial"/>
              </a:rPr>
              <a:t>AI εργοστασίου PHAROS </a:t>
            </a:r>
            <a:r>
              <a:rPr lang="el-GR" sz="1400">
                <a:solidFill>
                  <a:srgbClr val="002060"/>
                </a:solidFill>
                <a:latin typeface="Calibri" pitchFamily="34" charset="0"/>
                <a:cs typeface="Calibri" pitchFamily="34" charset="0"/>
                <a:sym typeface="Arial"/>
              </a:rPr>
              <a:t>στη Βόρεια Ελλάδα</a:t>
            </a:r>
          </a:p>
          <a:p>
            <a:pPr lvl="0">
              <a:buFont typeface="Arial" pitchFamily="34" charset="0"/>
              <a:buChar char="•"/>
              <a:defRPr/>
            </a:pPr>
            <a:r>
              <a:rPr lang="el-GR" sz="1400">
                <a:solidFill>
                  <a:srgbClr val="002060"/>
                </a:solidFill>
                <a:latin typeface="Calibri" pitchFamily="34" charset="0"/>
                <a:cs typeface="Calibri" pitchFamily="34" charset="0"/>
                <a:sym typeface="Arial"/>
              </a:rPr>
              <a:t>Δημιουργία εξειδικευμένης υποδομής για AI &amp; R&amp;D στους τομείς </a:t>
            </a:r>
            <a:r>
              <a:rPr lang="el-GR" sz="1400" err="1">
                <a:solidFill>
                  <a:srgbClr val="002060"/>
                </a:solidFill>
                <a:latin typeface="Calibri" pitchFamily="34" charset="0"/>
                <a:cs typeface="Calibri" pitchFamily="34" charset="0"/>
                <a:sym typeface="Arial"/>
              </a:rPr>
              <a:t>Αγροδιατροφής</a:t>
            </a:r>
            <a:r>
              <a:rPr lang="el-GR" sz="1400">
                <a:solidFill>
                  <a:srgbClr val="002060"/>
                </a:solidFill>
                <a:latin typeface="Calibri" pitchFamily="34" charset="0"/>
                <a:cs typeface="Calibri" pitchFamily="34" charset="0"/>
                <a:sym typeface="Arial"/>
              </a:rPr>
              <a:t> και Ενέργειας </a:t>
            </a:r>
          </a:p>
          <a:p>
            <a:pPr lvl="0">
              <a:buFont typeface="Arial" pitchFamily="34" charset="0"/>
              <a:buChar char="•"/>
              <a:defRPr/>
            </a:pPr>
            <a:r>
              <a:rPr lang="el-GR" sz="1400">
                <a:solidFill>
                  <a:srgbClr val="002060"/>
                </a:solidFill>
                <a:latin typeface="Calibri" pitchFamily="34" charset="0"/>
                <a:cs typeface="Calibri" pitchFamily="34" charset="0"/>
                <a:sym typeface="Arial"/>
              </a:rPr>
              <a:t>Στρατηγική συμβολή στην πράσινη και ψηφιακή μετάβαση</a:t>
            </a:r>
          </a:p>
        </p:txBody>
      </p:sp>
      <p:sp>
        <p:nvSpPr>
          <p:cNvPr id="19" name="Google Shape;1275;p29">
            <a:extLst>
              <a:ext uri="{FF2B5EF4-FFF2-40B4-BE49-F238E27FC236}">
                <a16:creationId xmlns:a16="http://schemas.microsoft.com/office/drawing/2014/main" id="{A253AE0F-6376-CAB2-D46F-D128728C8705}"/>
              </a:ext>
            </a:extLst>
          </p:cNvPr>
          <p:cNvSpPr/>
          <p:nvPr/>
        </p:nvSpPr>
        <p:spPr>
          <a:xfrm>
            <a:off x="6388992" y="1402621"/>
            <a:ext cx="5234959" cy="274516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chemeClr val="accent3">
              <a:lumMod val="40000"/>
              <a:lumOff val="60000"/>
            </a:schemeClr>
          </a:solidFill>
          <a:ln>
            <a:solidFill>
              <a:schemeClr val="accent1"/>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7" name="Google Shape;1282;p29">
            <a:extLst>
              <a:ext uri="{FF2B5EF4-FFF2-40B4-BE49-F238E27FC236}">
                <a16:creationId xmlns:a16="http://schemas.microsoft.com/office/drawing/2014/main" id="{1B02BAAC-1B23-E334-4FBE-17A9F48437BD}"/>
              </a:ext>
            </a:extLst>
          </p:cNvPr>
          <p:cNvSpPr/>
          <p:nvPr/>
        </p:nvSpPr>
        <p:spPr>
          <a:xfrm>
            <a:off x="2364465" y="85145"/>
            <a:ext cx="7530913" cy="1433342"/>
          </a:xfrm>
          <a:prstGeom prst="roundRect">
            <a:avLst>
              <a:gd name="adj" fmla="val 50000"/>
            </a:avLst>
          </a:prstGeom>
          <a:solidFill>
            <a:schemeClr val="lt1"/>
          </a:solidFill>
          <a:ln>
            <a:solidFill>
              <a:srgbClr val="002060"/>
            </a:solidFill>
          </a:ln>
        </p:spPr>
        <p:txBody>
          <a:bodyPr spcFirstLastPara="1" wrap="square" lIns="91425" tIns="91425" rIns="91425" bIns="91425" anchor="ctr" anchorCtr="0">
            <a:noAutofit/>
          </a:bodyPr>
          <a:lstStyle/>
          <a:p>
            <a:pPr algn="ctr"/>
            <a:r>
              <a:rPr lang="en-US" b="1" kern="0" dirty="0">
                <a:solidFill>
                  <a:srgbClr val="002060"/>
                </a:solidFill>
                <a:ea typeface="+mn-lt"/>
                <a:cs typeface="+mn-lt"/>
                <a:sym typeface="Arial"/>
              </a:rPr>
              <a:t>AI Factory </a:t>
            </a:r>
            <a:r>
              <a:rPr lang="el-GR" b="1" kern="0" dirty="0">
                <a:solidFill>
                  <a:srgbClr val="002060"/>
                </a:solidFill>
                <a:ea typeface="+mn-lt"/>
                <a:cs typeface="+mn-lt"/>
                <a:sym typeface="Arial"/>
              </a:rPr>
              <a:t>στη Δυτική Μακεδονία-</a:t>
            </a:r>
          </a:p>
          <a:p>
            <a:pPr algn="ctr"/>
            <a:r>
              <a:rPr lang="el-GR" b="1" kern="0" dirty="0">
                <a:solidFill>
                  <a:srgbClr val="002060"/>
                </a:solidFill>
                <a:ea typeface="+mn-lt"/>
                <a:cs typeface="+mn-lt"/>
                <a:sym typeface="Arial"/>
              </a:rPr>
              <a:t>Πρόταση για </a:t>
            </a:r>
            <a:r>
              <a:rPr lang="en-US" b="1" kern="0" dirty="0" err="1">
                <a:solidFill>
                  <a:srgbClr val="002060"/>
                </a:solidFill>
                <a:ea typeface="+mn-lt"/>
                <a:cs typeface="+mn-lt"/>
                <a:sym typeface="Arial"/>
              </a:rPr>
              <a:t>EuroHPC</a:t>
            </a:r>
            <a:r>
              <a:rPr lang="en-US" b="1" kern="0" dirty="0">
                <a:solidFill>
                  <a:srgbClr val="002060"/>
                </a:solidFill>
                <a:ea typeface="+mn-lt"/>
                <a:cs typeface="+mn-lt"/>
                <a:sym typeface="Arial"/>
              </a:rPr>
              <a:t>-JU</a:t>
            </a:r>
            <a:endParaRPr lang="x-none" kern="0" dirty="0">
              <a:solidFill>
                <a:srgbClr val="002060"/>
              </a:solidFill>
              <a:ea typeface="+mn-lt"/>
              <a:cs typeface="+mn-lt"/>
            </a:endParaRPr>
          </a:p>
        </p:txBody>
      </p:sp>
      <p:sp>
        <p:nvSpPr>
          <p:cNvPr id="20" name="Ορθογώνιο 10">
            <a:extLst>
              <a:ext uri="{FF2B5EF4-FFF2-40B4-BE49-F238E27FC236}">
                <a16:creationId xmlns:a16="http://schemas.microsoft.com/office/drawing/2014/main" id="{449A0A78-45D9-8508-038A-605E44F2E0F3}"/>
              </a:ext>
            </a:extLst>
          </p:cNvPr>
          <p:cNvSpPr/>
          <p:nvPr/>
        </p:nvSpPr>
        <p:spPr>
          <a:xfrm>
            <a:off x="6638487" y="1594353"/>
            <a:ext cx="4454545" cy="338554"/>
          </a:xfrm>
          <a:prstGeom prst="rect">
            <a:avLst/>
          </a:prstGeom>
        </p:spPr>
        <p:txBody>
          <a:bodyPr wrap="square" lIns="91440" tIns="45720" rIns="91440" bIns="45720" anchor="t">
            <a:spAutoFit/>
          </a:bodyPr>
          <a:lstStyle/>
          <a:p>
            <a:pPr algn="ctr"/>
            <a:r>
              <a:rPr lang="el-GR" sz="1600" b="1" kern="0">
                <a:solidFill>
                  <a:srgbClr val="002060"/>
                </a:solidFill>
                <a:latin typeface="Calibri"/>
                <a:ea typeface="Calibri"/>
                <a:cs typeface="Calibri"/>
              </a:rPr>
              <a:t>Τομείς Εστίασης </a:t>
            </a:r>
            <a:r>
              <a:rPr lang="en-US" sz="1600" b="1" kern="0">
                <a:solidFill>
                  <a:srgbClr val="002060"/>
                </a:solidFill>
                <a:latin typeface="Calibri"/>
                <a:ea typeface="Calibri"/>
                <a:cs typeface="Calibri"/>
              </a:rPr>
              <a:t>R&amp;D</a:t>
            </a:r>
            <a:endParaRPr lang="el-GR" sz="1600" kern="0">
              <a:solidFill>
                <a:srgbClr val="002060"/>
              </a:solidFill>
              <a:latin typeface="Calibri"/>
              <a:ea typeface="+mn-lt"/>
              <a:cs typeface="+mn-lt"/>
            </a:endParaRPr>
          </a:p>
        </p:txBody>
      </p:sp>
      <p:sp>
        <p:nvSpPr>
          <p:cNvPr id="21" name="Ορθογώνιο 12">
            <a:extLst>
              <a:ext uri="{FF2B5EF4-FFF2-40B4-BE49-F238E27FC236}">
                <a16:creationId xmlns:a16="http://schemas.microsoft.com/office/drawing/2014/main" id="{EA8F8405-5F51-58F7-127A-196F569CE535}"/>
              </a:ext>
            </a:extLst>
          </p:cNvPr>
          <p:cNvSpPr/>
          <p:nvPr/>
        </p:nvSpPr>
        <p:spPr>
          <a:xfrm>
            <a:off x="6771837" y="1913190"/>
            <a:ext cx="4454545" cy="2031325"/>
          </a:xfrm>
          <a:prstGeom prst="rect">
            <a:avLst/>
          </a:prstGeom>
        </p:spPr>
        <p:txBody>
          <a:bodyPr wrap="square" lIns="91440" tIns="45720" rIns="91440" bIns="45720" anchor="t">
            <a:spAutoFit/>
          </a:bodyPr>
          <a:lstStyle/>
          <a:p>
            <a:pPr marL="342900" lvl="0" indent="-342900" algn="ctr">
              <a:defRPr/>
            </a:pPr>
            <a:r>
              <a:rPr lang="el-GR" sz="1400" b="1">
                <a:solidFill>
                  <a:srgbClr val="002060"/>
                </a:solidFill>
                <a:latin typeface="Calibri" pitchFamily="34" charset="0"/>
                <a:cs typeface="Calibri" pitchFamily="34" charset="0"/>
                <a:sym typeface="Arial"/>
              </a:rPr>
              <a:t>Αγροδιατροφή</a:t>
            </a:r>
            <a:r>
              <a:rPr lang="el-GR" sz="1400">
                <a:solidFill>
                  <a:srgbClr val="002060"/>
                </a:solidFill>
                <a:latin typeface="Calibri" pitchFamily="34" charset="0"/>
                <a:cs typeface="Calibri" pitchFamily="34" charset="0"/>
                <a:sym typeface="Arial"/>
              </a:rPr>
              <a:t> </a:t>
            </a:r>
          </a:p>
          <a:p>
            <a:pPr marL="342900" lvl="0" indent="-342900">
              <a:buFont typeface="Wingdings" pitchFamily="2" charset="2"/>
              <a:buChar char="§"/>
              <a:defRPr/>
            </a:pPr>
            <a:r>
              <a:rPr lang="el-GR" sz="1400">
                <a:solidFill>
                  <a:srgbClr val="002060"/>
                </a:solidFill>
                <a:latin typeface="Calibri" pitchFamily="34" charset="0"/>
                <a:cs typeface="Calibri" pitchFamily="34" charset="0"/>
                <a:sym typeface="Arial"/>
              </a:rPr>
              <a:t>AI στη γεωργία ακριβείας, χρήση υδάτινων πόρων, αλυσίδες εφοδιασμού </a:t>
            </a:r>
          </a:p>
          <a:p>
            <a:pPr marL="342900" lvl="0" indent="-342900">
              <a:buFont typeface="Wingdings" pitchFamily="2" charset="2"/>
              <a:buChar char="§"/>
              <a:defRPr/>
            </a:pPr>
            <a:r>
              <a:rPr lang="el-GR" sz="1400">
                <a:solidFill>
                  <a:srgbClr val="002060"/>
                </a:solidFill>
                <a:latin typeface="Calibri" pitchFamily="34" charset="0"/>
                <a:cs typeface="Calibri" pitchFamily="34" charset="0"/>
                <a:sym typeface="Arial"/>
              </a:rPr>
              <a:t>20 από τις 70 αγροδιατροφικές </a:t>
            </a:r>
            <a:r>
              <a:rPr lang="el-GR" sz="1400" err="1">
                <a:solidFill>
                  <a:srgbClr val="002060"/>
                </a:solidFill>
                <a:latin typeface="Calibri" pitchFamily="34" charset="0"/>
                <a:cs typeface="Calibri" pitchFamily="34" charset="0"/>
                <a:sym typeface="Arial"/>
              </a:rPr>
              <a:t>start</a:t>
            </a:r>
            <a:r>
              <a:rPr lang="en-US" sz="1400">
                <a:solidFill>
                  <a:srgbClr val="002060"/>
                </a:solidFill>
                <a:latin typeface="Calibri" pitchFamily="34" charset="0"/>
                <a:cs typeface="Calibri" pitchFamily="34" charset="0"/>
                <a:sym typeface="Arial"/>
              </a:rPr>
              <a:t>-</a:t>
            </a:r>
            <a:r>
              <a:rPr lang="el-GR" sz="1400" err="1">
                <a:solidFill>
                  <a:srgbClr val="002060"/>
                </a:solidFill>
                <a:latin typeface="Calibri" pitchFamily="34" charset="0"/>
                <a:cs typeface="Calibri" pitchFamily="34" charset="0"/>
                <a:sym typeface="Arial"/>
              </a:rPr>
              <a:t>ups</a:t>
            </a:r>
            <a:r>
              <a:rPr lang="el-GR" sz="1400">
                <a:solidFill>
                  <a:srgbClr val="002060"/>
                </a:solidFill>
                <a:latin typeface="Calibri" pitchFamily="34" charset="0"/>
                <a:cs typeface="Calibri" pitchFamily="34" charset="0"/>
                <a:sym typeface="Arial"/>
              </a:rPr>
              <a:t> στην Ελλάδα βρίσκονται στη Β.</a:t>
            </a:r>
            <a:r>
              <a:rPr lang="en-US" sz="1400">
                <a:solidFill>
                  <a:srgbClr val="002060"/>
                </a:solidFill>
                <a:latin typeface="Calibri" pitchFamily="34" charset="0"/>
                <a:cs typeface="Calibri" pitchFamily="34" charset="0"/>
                <a:sym typeface="Arial"/>
              </a:rPr>
              <a:t> </a:t>
            </a:r>
            <a:r>
              <a:rPr lang="el-GR" sz="1400">
                <a:solidFill>
                  <a:srgbClr val="002060"/>
                </a:solidFill>
                <a:latin typeface="Calibri" pitchFamily="34" charset="0"/>
                <a:cs typeface="Calibri" pitchFamily="34" charset="0"/>
                <a:sym typeface="Arial"/>
              </a:rPr>
              <a:t>Ελλάδα</a:t>
            </a:r>
          </a:p>
          <a:p>
            <a:pPr marL="342900" lvl="0" indent="-342900" algn="ctr">
              <a:defRPr/>
            </a:pPr>
            <a:r>
              <a:rPr lang="el-GR" sz="1400" b="1">
                <a:solidFill>
                  <a:srgbClr val="002060"/>
                </a:solidFill>
                <a:latin typeface="Calibri" pitchFamily="34" charset="0"/>
                <a:cs typeface="Calibri" pitchFamily="34" charset="0"/>
                <a:sym typeface="Arial"/>
              </a:rPr>
              <a:t>Ενέργεια</a:t>
            </a:r>
          </a:p>
          <a:p>
            <a:pPr marL="342900" lvl="0" indent="-342900">
              <a:buFont typeface="Wingdings" pitchFamily="2" charset="2"/>
              <a:buChar char="§"/>
              <a:defRPr/>
            </a:pPr>
            <a:r>
              <a:rPr lang="el-GR" sz="1400">
                <a:solidFill>
                  <a:srgbClr val="002060"/>
                </a:solidFill>
                <a:latin typeface="Calibri" pitchFamily="34" charset="0"/>
                <a:cs typeface="Calibri" pitchFamily="34" charset="0"/>
                <a:sym typeface="Arial"/>
              </a:rPr>
              <a:t> AI για πρόβλεψη και διαχείριση ΑΠΕ (ήλιος, άνεμος) </a:t>
            </a:r>
          </a:p>
          <a:p>
            <a:pPr marL="342900" lvl="0" indent="-342900">
              <a:buFont typeface="Wingdings" pitchFamily="2" charset="2"/>
              <a:buChar char="§"/>
              <a:defRPr/>
            </a:pPr>
            <a:r>
              <a:rPr lang="el-GR" sz="1400">
                <a:solidFill>
                  <a:srgbClr val="002060"/>
                </a:solidFill>
                <a:latin typeface="Calibri" pitchFamily="34" charset="0"/>
                <a:cs typeface="Calibri" pitchFamily="34" charset="0"/>
                <a:sym typeface="Arial"/>
              </a:rPr>
              <a:t>25 από τις 85 </a:t>
            </a:r>
            <a:r>
              <a:rPr lang="el-GR" sz="1400" err="1">
                <a:solidFill>
                  <a:srgbClr val="002060"/>
                </a:solidFill>
                <a:latin typeface="Calibri" pitchFamily="34" charset="0"/>
                <a:cs typeface="Calibri" pitchFamily="34" charset="0"/>
                <a:sym typeface="Arial"/>
              </a:rPr>
              <a:t>start</a:t>
            </a:r>
            <a:r>
              <a:rPr lang="en-US" sz="1400">
                <a:solidFill>
                  <a:srgbClr val="002060"/>
                </a:solidFill>
                <a:latin typeface="Calibri" pitchFamily="34" charset="0"/>
                <a:cs typeface="Calibri" pitchFamily="34" charset="0"/>
                <a:sym typeface="Arial"/>
              </a:rPr>
              <a:t>-</a:t>
            </a:r>
            <a:r>
              <a:rPr lang="el-GR" sz="1400" err="1">
                <a:solidFill>
                  <a:srgbClr val="002060"/>
                </a:solidFill>
                <a:latin typeface="Calibri" pitchFamily="34" charset="0"/>
                <a:cs typeface="Calibri" pitchFamily="34" charset="0"/>
                <a:sym typeface="Arial"/>
              </a:rPr>
              <a:t>ups</a:t>
            </a:r>
            <a:r>
              <a:rPr lang="el-GR" sz="1400">
                <a:solidFill>
                  <a:srgbClr val="002060"/>
                </a:solidFill>
                <a:latin typeface="Calibri" pitchFamily="34" charset="0"/>
                <a:cs typeface="Calibri" pitchFamily="34" charset="0"/>
                <a:sym typeface="Arial"/>
              </a:rPr>
              <a:t> ενέργειας στην Ελλάδα στη Β. Ελλάδα </a:t>
            </a:r>
          </a:p>
        </p:txBody>
      </p:sp>
      <p:sp>
        <p:nvSpPr>
          <p:cNvPr id="22" name="Google Shape;1275;p29">
            <a:extLst>
              <a:ext uri="{FF2B5EF4-FFF2-40B4-BE49-F238E27FC236}">
                <a16:creationId xmlns:a16="http://schemas.microsoft.com/office/drawing/2014/main" id="{A253AE0F-6376-CAB2-D46F-D128728C8705}"/>
              </a:ext>
            </a:extLst>
          </p:cNvPr>
          <p:cNvSpPr/>
          <p:nvPr/>
        </p:nvSpPr>
        <p:spPr>
          <a:xfrm>
            <a:off x="683517" y="4162425"/>
            <a:ext cx="6184007" cy="249555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chemeClr val="accent3">
              <a:lumMod val="40000"/>
              <a:lumOff val="60000"/>
            </a:schemeClr>
          </a:solidFill>
          <a:ln>
            <a:solidFill>
              <a:schemeClr val="accent1"/>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23" name="Ορθογώνιο 12">
            <a:extLst>
              <a:ext uri="{FF2B5EF4-FFF2-40B4-BE49-F238E27FC236}">
                <a16:creationId xmlns:a16="http://schemas.microsoft.com/office/drawing/2014/main" id="{EA8F8405-5F51-58F7-127A-196F569CE535}"/>
              </a:ext>
            </a:extLst>
          </p:cNvPr>
          <p:cNvSpPr/>
          <p:nvPr/>
        </p:nvSpPr>
        <p:spPr>
          <a:xfrm>
            <a:off x="952500" y="4265865"/>
            <a:ext cx="5810250" cy="2246769"/>
          </a:xfrm>
          <a:prstGeom prst="rect">
            <a:avLst/>
          </a:prstGeom>
        </p:spPr>
        <p:txBody>
          <a:bodyPr wrap="square" lIns="91440" tIns="45720" rIns="91440" bIns="45720" anchor="t">
            <a:spAutoFit/>
          </a:bodyPr>
          <a:lstStyle/>
          <a:p>
            <a:pPr lvl="0" algn="ctr">
              <a:defRPr/>
            </a:pPr>
            <a:r>
              <a:rPr lang="el-GR" sz="1400" b="1">
                <a:solidFill>
                  <a:srgbClr val="002060"/>
                </a:solidFill>
                <a:latin typeface="Calibri" pitchFamily="34" charset="0"/>
                <a:cs typeface="Calibri" pitchFamily="34" charset="0"/>
                <a:sym typeface="Arial"/>
              </a:rPr>
              <a:t>Προσδοκώμενος Αντίκτυπος &amp; Ρόλος του </a:t>
            </a:r>
            <a:r>
              <a:rPr lang="el-GR" sz="1400" b="1" err="1">
                <a:solidFill>
                  <a:srgbClr val="002060"/>
                </a:solidFill>
                <a:latin typeface="Calibri" pitchFamily="34" charset="0"/>
                <a:cs typeface="Calibri" pitchFamily="34" charset="0"/>
                <a:sym typeface="Arial"/>
              </a:rPr>
              <a:t>SYNERGiNN</a:t>
            </a:r>
            <a:endParaRPr lang="en-US" sz="1400" b="1">
              <a:solidFill>
                <a:srgbClr val="002060"/>
              </a:solidFill>
              <a:latin typeface="Calibri" pitchFamily="34" charset="0"/>
              <a:cs typeface="Calibri" pitchFamily="34" charset="0"/>
              <a:sym typeface="Arial"/>
            </a:endParaRPr>
          </a:p>
          <a:p>
            <a:pPr lvl="0">
              <a:defRPr/>
            </a:pPr>
            <a:r>
              <a:rPr lang="el-GR" sz="1400">
                <a:solidFill>
                  <a:srgbClr val="002060"/>
                </a:solidFill>
                <a:latin typeface="Calibri" pitchFamily="34" charset="0"/>
                <a:cs typeface="Calibri" pitchFamily="34" charset="0"/>
                <a:sym typeface="Arial"/>
              </a:rPr>
              <a:t>Η </a:t>
            </a:r>
            <a:r>
              <a:rPr lang="el-GR" sz="1400" b="1">
                <a:solidFill>
                  <a:srgbClr val="00B0F0"/>
                </a:solidFill>
                <a:latin typeface="Calibri" pitchFamily="34" charset="0"/>
                <a:cs typeface="Calibri" pitchFamily="34" charset="0"/>
                <a:sym typeface="Arial"/>
              </a:rPr>
              <a:t>Δυτική Μακεδονία </a:t>
            </a:r>
            <a:r>
              <a:rPr lang="el-GR" sz="1400">
                <a:solidFill>
                  <a:srgbClr val="002060"/>
                </a:solidFill>
                <a:latin typeface="Calibri" pitchFamily="34" charset="0"/>
                <a:cs typeface="Calibri" pitchFamily="34" charset="0"/>
                <a:sym typeface="Arial"/>
              </a:rPr>
              <a:t>αναδεικνύεται σε </a:t>
            </a:r>
            <a:r>
              <a:rPr lang="el-GR" sz="1400" b="1">
                <a:solidFill>
                  <a:srgbClr val="002060"/>
                </a:solidFill>
                <a:latin typeface="Calibri" pitchFamily="34" charset="0"/>
                <a:cs typeface="Calibri" pitchFamily="34" charset="0"/>
                <a:sym typeface="Arial"/>
              </a:rPr>
              <a:t>κόμβο καινοτομίας στην Ε.Ε.</a:t>
            </a:r>
            <a:endParaRPr lang="el-GR" sz="1400">
              <a:solidFill>
                <a:srgbClr val="002060"/>
              </a:solidFill>
              <a:latin typeface="Calibri" pitchFamily="34" charset="0"/>
              <a:cs typeface="Calibri" pitchFamily="34" charset="0"/>
              <a:sym typeface="Arial"/>
            </a:endParaRPr>
          </a:p>
          <a:p>
            <a:pPr lvl="0">
              <a:defRPr/>
            </a:pPr>
            <a:r>
              <a:rPr lang="el-GR" sz="1400">
                <a:solidFill>
                  <a:srgbClr val="002060"/>
                </a:solidFill>
                <a:latin typeface="Calibri" pitchFamily="34" charset="0"/>
                <a:cs typeface="Calibri" pitchFamily="34" charset="0"/>
                <a:sym typeface="Arial"/>
              </a:rPr>
              <a:t>Πυλώνας </a:t>
            </a:r>
            <a:r>
              <a:rPr lang="el-GR" sz="1400" b="1">
                <a:solidFill>
                  <a:srgbClr val="002060"/>
                </a:solidFill>
                <a:latin typeface="Calibri" pitchFamily="34" charset="0"/>
                <a:cs typeface="Calibri" pitchFamily="34" charset="0"/>
                <a:sym typeface="Arial"/>
              </a:rPr>
              <a:t>Τεχνητής Νοημοσύνης</a:t>
            </a:r>
            <a:r>
              <a:rPr lang="el-GR" sz="1400">
                <a:solidFill>
                  <a:srgbClr val="002060"/>
                </a:solidFill>
                <a:latin typeface="Calibri" pitchFamily="34" charset="0"/>
                <a:cs typeface="Calibri" pitchFamily="34" charset="0"/>
                <a:sym typeface="Arial"/>
              </a:rPr>
              <a:t>, </a:t>
            </a:r>
            <a:r>
              <a:rPr lang="el-GR" sz="1400" b="1">
                <a:solidFill>
                  <a:srgbClr val="002060"/>
                </a:solidFill>
                <a:latin typeface="Calibri" pitchFamily="34" charset="0"/>
                <a:cs typeface="Calibri" pitchFamily="34" charset="0"/>
                <a:sym typeface="Arial"/>
              </a:rPr>
              <a:t>AI-as-a-</a:t>
            </a:r>
            <a:r>
              <a:rPr lang="el-GR" sz="1400" b="1" err="1">
                <a:solidFill>
                  <a:srgbClr val="002060"/>
                </a:solidFill>
                <a:latin typeface="Calibri" pitchFamily="34" charset="0"/>
                <a:cs typeface="Calibri" pitchFamily="34" charset="0"/>
                <a:sym typeface="Arial"/>
              </a:rPr>
              <a:t>Service</a:t>
            </a:r>
            <a:r>
              <a:rPr lang="el-GR" sz="1400">
                <a:solidFill>
                  <a:srgbClr val="002060"/>
                </a:solidFill>
                <a:latin typeface="Calibri" pitchFamily="34" charset="0"/>
                <a:cs typeface="Calibri" pitchFamily="34" charset="0"/>
                <a:sym typeface="Arial"/>
              </a:rPr>
              <a:t> και </a:t>
            </a:r>
            <a:r>
              <a:rPr lang="el-GR" sz="1400" b="1">
                <a:solidFill>
                  <a:srgbClr val="002060"/>
                </a:solidFill>
                <a:latin typeface="Calibri" pitchFamily="34" charset="0"/>
                <a:cs typeface="Calibri" pitchFamily="34" charset="0"/>
                <a:sym typeface="Arial"/>
              </a:rPr>
              <a:t>βιώσιμων λύσεων</a:t>
            </a:r>
            <a:endParaRPr lang="el-GR" sz="1400">
              <a:solidFill>
                <a:srgbClr val="002060"/>
              </a:solidFill>
              <a:latin typeface="Calibri" pitchFamily="34" charset="0"/>
              <a:cs typeface="Calibri" pitchFamily="34" charset="0"/>
              <a:sym typeface="Arial"/>
            </a:endParaRPr>
          </a:p>
          <a:p>
            <a:pPr lvl="0">
              <a:defRPr/>
            </a:pPr>
            <a:r>
              <a:rPr lang="el-GR" sz="1400">
                <a:solidFill>
                  <a:srgbClr val="002060"/>
                </a:solidFill>
                <a:latin typeface="Calibri" pitchFamily="34" charset="0"/>
                <a:cs typeface="Calibri" pitchFamily="34" charset="0"/>
                <a:sym typeface="Arial"/>
              </a:rPr>
              <a:t>Δημιουργείται μακροπρόθεσμη υπεραξία για την τοπική και εθνική οικονομία</a:t>
            </a:r>
          </a:p>
          <a:p>
            <a:pPr lvl="0">
              <a:defRPr/>
            </a:pPr>
            <a:r>
              <a:rPr lang="en-US" sz="1400">
                <a:solidFill>
                  <a:srgbClr val="002060"/>
                </a:solidFill>
                <a:latin typeface="Calibri" pitchFamily="34" charset="0"/>
                <a:cs typeface="Calibri" pitchFamily="34" charset="0"/>
                <a:sym typeface="Arial"/>
              </a:rPr>
              <a:t>E</a:t>
            </a:r>
            <a:r>
              <a:rPr lang="el-GR" sz="1400" err="1">
                <a:solidFill>
                  <a:srgbClr val="002060"/>
                </a:solidFill>
                <a:latin typeface="Calibri" pitchFamily="34" charset="0"/>
                <a:cs typeface="Calibri" pitchFamily="34" charset="0"/>
                <a:sym typeface="Arial"/>
              </a:rPr>
              <a:t>νισχύει</a:t>
            </a:r>
            <a:r>
              <a:rPr lang="el-GR" sz="1400">
                <a:solidFill>
                  <a:srgbClr val="002060"/>
                </a:solidFill>
                <a:latin typeface="Calibri" pitchFamily="34" charset="0"/>
                <a:cs typeface="Calibri" pitchFamily="34" charset="0"/>
                <a:sym typeface="Arial"/>
              </a:rPr>
              <a:t> και ενισχύεται από τον </a:t>
            </a:r>
            <a:r>
              <a:rPr lang="el-GR" sz="1400" err="1">
                <a:solidFill>
                  <a:srgbClr val="002060"/>
                </a:solidFill>
                <a:latin typeface="Calibri" pitchFamily="34" charset="0"/>
                <a:cs typeface="Calibri" pitchFamily="34" charset="0"/>
                <a:sym typeface="Arial"/>
              </a:rPr>
              <a:t>SYNERGiNN</a:t>
            </a:r>
            <a:r>
              <a:rPr lang="el-GR" sz="1400">
                <a:solidFill>
                  <a:srgbClr val="002060"/>
                </a:solidFill>
                <a:latin typeface="Calibri" pitchFamily="34" charset="0"/>
                <a:cs typeface="Calibri" pitchFamily="34" charset="0"/>
                <a:sym typeface="Arial"/>
              </a:rPr>
              <a:t> -δημιουργώντας ένα ισχυρό οικοσύστημα καινοτομίας- ο οποίος ως Κόμβος:</a:t>
            </a:r>
          </a:p>
          <a:p>
            <a:pPr lvl="1">
              <a:buFont typeface="Wingdings" pitchFamily="2" charset="2"/>
              <a:buChar char="Ø"/>
              <a:defRPr/>
            </a:pPr>
            <a:r>
              <a:rPr lang="el-GR" sz="1400" b="1">
                <a:solidFill>
                  <a:srgbClr val="002060"/>
                </a:solidFill>
                <a:latin typeface="Calibri" pitchFamily="34" charset="0"/>
                <a:cs typeface="Calibri" pitchFamily="34" charset="0"/>
                <a:sym typeface="Arial"/>
              </a:rPr>
              <a:t>Συνδέει</a:t>
            </a:r>
            <a:r>
              <a:rPr lang="el-GR" sz="1400">
                <a:solidFill>
                  <a:srgbClr val="002060"/>
                </a:solidFill>
                <a:latin typeface="Calibri" pitchFamily="34" charset="0"/>
                <a:cs typeface="Calibri" pitchFamily="34" charset="0"/>
                <a:sym typeface="Arial"/>
              </a:rPr>
              <a:t> επιχειρήσεις, δημόσια διοίκηση &amp; ερευνητική κοινότητα</a:t>
            </a:r>
          </a:p>
          <a:p>
            <a:pPr lvl="1">
              <a:buFont typeface="Wingdings" pitchFamily="2" charset="2"/>
              <a:buChar char="Ø"/>
              <a:defRPr/>
            </a:pPr>
            <a:r>
              <a:rPr lang="el-GR" sz="1400" b="1">
                <a:solidFill>
                  <a:srgbClr val="002060"/>
                </a:solidFill>
                <a:latin typeface="Calibri" pitchFamily="34" charset="0"/>
                <a:cs typeface="Calibri" pitchFamily="34" charset="0"/>
                <a:sym typeface="Arial"/>
              </a:rPr>
              <a:t>Ενισχύει την υιοθέτηση</a:t>
            </a:r>
            <a:r>
              <a:rPr lang="el-GR" sz="1400">
                <a:solidFill>
                  <a:srgbClr val="002060"/>
                </a:solidFill>
                <a:latin typeface="Calibri" pitchFamily="34" charset="0"/>
                <a:cs typeface="Calibri" pitchFamily="34" charset="0"/>
                <a:sym typeface="Arial"/>
              </a:rPr>
              <a:t> προηγμένων τεχνολογιών από </a:t>
            </a:r>
            <a:r>
              <a:rPr lang="el-GR" sz="1400" err="1">
                <a:solidFill>
                  <a:srgbClr val="002060"/>
                </a:solidFill>
                <a:latin typeface="Calibri" pitchFamily="34" charset="0"/>
                <a:cs typeface="Calibri" pitchFamily="34" charset="0"/>
                <a:sym typeface="Arial"/>
              </a:rPr>
              <a:t>ΜμΕ</a:t>
            </a:r>
            <a:r>
              <a:rPr lang="el-GR" sz="1400">
                <a:solidFill>
                  <a:srgbClr val="002060"/>
                </a:solidFill>
                <a:latin typeface="Calibri" pitchFamily="34" charset="0"/>
                <a:cs typeface="Calibri" pitchFamily="34" charset="0"/>
                <a:sym typeface="Arial"/>
              </a:rPr>
              <a:t> και δημόσιους φορείς</a:t>
            </a:r>
          </a:p>
        </p:txBody>
      </p:sp>
      <p:sp>
        <p:nvSpPr>
          <p:cNvPr id="24" name="Google Shape;1275;p29">
            <a:extLst>
              <a:ext uri="{FF2B5EF4-FFF2-40B4-BE49-F238E27FC236}">
                <a16:creationId xmlns:a16="http://schemas.microsoft.com/office/drawing/2014/main" id="{A253AE0F-6376-CAB2-D46F-D128728C8705}"/>
              </a:ext>
            </a:extLst>
          </p:cNvPr>
          <p:cNvSpPr/>
          <p:nvPr/>
        </p:nvSpPr>
        <p:spPr>
          <a:xfrm>
            <a:off x="7118967" y="4229100"/>
            <a:ext cx="4425334" cy="2438400"/>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chemeClr val="accent3">
              <a:lumMod val="40000"/>
              <a:lumOff val="60000"/>
            </a:schemeClr>
          </a:solidFill>
          <a:ln>
            <a:solidFill>
              <a:schemeClr val="accent1"/>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25" name="Ορθογώνιο 12">
            <a:extLst>
              <a:ext uri="{FF2B5EF4-FFF2-40B4-BE49-F238E27FC236}">
                <a16:creationId xmlns:a16="http://schemas.microsoft.com/office/drawing/2014/main" id="{EA8F8405-5F51-58F7-127A-196F569CE535}"/>
              </a:ext>
            </a:extLst>
          </p:cNvPr>
          <p:cNvSpPr/>
          <p:nvPr/>
        </p:nvSpPr>
        <p:spPr>
          <a:xfrm>
            <a:off x="7248088" y="4761165"/>
            <a:ext cx="4191438" cy="1384995"/>
          </a:xfrm>
          <a:prstGeom prst="rect">
            <a:avLst/>
          </a:prstGeom>
        </p:spPr>
        <p:txBody>
          <a:bodyPr wrap="square" lIns="91440" tIns="45720" rIns="91440" bIns="45720" anchor="t">
            <a:spAutoFit/>
          </a:bodyPr>
          <a:lstStyle/>
          <a:p>
            <a:pPr lvl="0">
              <a:buFont typeface="Arial" pitchFamily="34" charset="0"/>
              <a:buChar char="•"/>
              <a:defRPr/>
            </a:pPr>
            <a:r>
              <a:rPr lang="el-GR" sz="1400">
                <a:solidFill>
                  <a:srgbClr val="002060"/>
                </a:solidFill>
                <a:latin typeface="Calibri" pitchFamily="34" charset="0"/>
                <a:cs typeface="Calibri" pitchFamily="34" charset="0"/>
                <a:sym typeface="Arial"/>
              </a:rPr>
              <a:t>Υποστήριξη μέσω του Προγράμματος Δίκαιης Αναπτυξιακής Μετάβασης</a:t>
            </a:r>
          </a:p>
          <a:p>
            <a:pPr lvl="0">
              <a:buFont typeface="Arial" pitchFamily="34" charset="0"/>
              <a:buChar char="•"/>
              <a:defRPr/>
            </a:pPr>
            <a:r>
              <a:rPr lang="el-GR" sz="1400">
                <a:solidFill>
                  <a:srgbClr val="002060"/>
                </a:solidFill>
                <a:latin typeface="Calibri" pitchFamily="34" charset="0"/>
                <a:cs typeface="Calibri" pitchFamily="34" charset="0"/>
                <a:sym typeface="Arial"/>
              </a:rPr>
              <a:t>Προώθηση πράσινης ανάπτυξης &amp; βιώσιμων τεχνολογιών</a:t>
            </a:r>
          </a:p>
          <a:p>
            <a:pPr lvl="0">
              <a:buFont typeface="Arial" pitchFamily="34" charset="0"/>
              <a:buChar char="•"/>
              <a:defRPr/>
            </a:pPr>
            <a:r>
              <a:rPr lang="el-GR" sz="1400">
                <a:solidFill>
                  <a:srgbClr val="002060"/>
                </a:solidFill>
                <a:latin typeface="Calibri" pitchFamily="34" charset="0"/>
                <a:cs typeface="Calibri" pitchFamily="34" charset="0"/>
                <a:sym typeface="Arial"/>
              </a:rPr>
              <a:t>Ενίσχυση νεοφυούς επιχειρηματικότητας και ερευνητικών οικοσυστημάτων</a:t>
            </a:r>
          </a:p>
        </p:txBody>
      </p:sp>
      <p:sp>
        <p:nvSpPr>
          <p:cNvPr id="26" name="Ορθογώνιο 10">
            <a:extLst>
              <a:ext uri="{FF2B5EF4-FFF2-40B4-BE49-F238E27FC236}">
                <a16:creationId xmlns:a16="http://schemas.microsoft.com/office/drawing/2014/main" id="{449A0A78-45D9-8508-038A-605E44F2E0F3}"/>
              </a:ext>
            </a:extLst>
          </p:cNvPr>
          <p:cNvSpPr/>
          <p:nvPr/>
        </p:nvSpPr>
        <p:spPr>
          <a:xfrm>
            <a:off x="7390963" y="4375653"/>
            <a:ext cx="3810438" cy="338554"/>
          </a:xfrm>
          <a:prstGeom prst="rect">
            <a:avLst/>
          </a:prstGeom>
        </p:spPr>
        <p:txBody>
          <a:bodyPr wrap="square" lIns="91440" tIns="45720" rIns="91440" bIns="45720" anchor="t">
            <a:spAutoFit/>
          </a:bodyPr>
          <a:lstStyle/>
          <a:p>
            <a:pPr algn="ctr"/>
            <a:r>
              <a:rPr lang="el-GR" sz="1600" b="1" kern="0">
                <a:solidFill>
                  <a:srgbClr val="002060"/>
                </a:solidFill>
                <a:latin typeface="Calibri"/>
                <a:ea typeface="Calibri"/>
                <a:cs typeface="Calibri"/>
              </a:rPr>
              <a:t>Τοπικό &amp; Εθνικό Αποτύπωμα</a:t>
            </a:r>
            <a:endParaRPr lang="el-GR" sz="1600" kern="0">
              <a:solidFill>
                <a:srgbClr val="002060"/>
              </a:solidFill>
              <a:latin typeface="Calibri"/>
              <a:ea typeface="+mn-lt"/>
              <a:cs typeface="+mn-lt"/>
            </a:endParaRPr>
          </a:p>
        </p:txBody>
      </p:sp>
    </p:spTree>
    <p:extLst>
      <p:ext uri="{BB962C8B-B14F-4D97-AF65-F5344CB8AC3E}">
        <p14:creationId xmlns:p14="http://schemas.microsoft.com/office/powerpoint/2010/main" val="364097284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9C5856-9D0D-1432-2B64-C743BB072A19}"/>
              </a:ext>
            </a:extLst>
          </p:cNvPr>
          <p:cNvSpPr txBox="1"/>
          <p:nvPr/>
        </p:nvSpPr>
        <p:spPr>
          <a:xfrm>
            <a:off x="1271525" y="2703136"/>
            <a:ext cx="10529453"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Υπουργείο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Παιδε</a:t>
            </a:r>
            <a:r>
              <a:rPr kumimoji="0" lang="el-GR" sz="3600" b="1" i="0" u="none" strike="noStrike" kern="1200" cap="none" spc="0" normalizeH="0" baseline="0" noProof="0" err="1">
                <a:ln>
                  <a:noFill/>
                </a:ln>
                <a:solidFill>
                  <a:srgbClr val="374C81"/>
                </a:solidFill>
                <a:effectLst/>
                <a:uLnTx/>
                <a:uFillTx/>
                <a:latin typeface="Calibri"/>
                <a:ea typeface="Calibri" panose="020F0502020204030204"/>
                <a:cs typeface="Calibri" panose="020F0502020204030204"/>
              </a:rPr>
              <a:t>ίας</a:t>
            </a:r>
            <a:r>
              <a:rPr kumimoji="0" lang="el-GR"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rPr>
              <a:t>, Θρησκευμάτων &amp; Αθλητισμού</a:t>
            </a:r>
            <a:endParaRPr kumimoji="0" lang="x-none" sz="3600" b="1" i="0" u="none" strike="noStrike" kern="1200" cap="none" spc="0" normalizeH="0" baseline="0" noProof="0">
              <a:ln>
                <a:noFill/>
              </a:ln>
              <a:solidFill>
                <a:srgbClr val="374C81"/>
              </a:solidFill>
              <a:effectLst/>
              <a:uLnTx/>
              <a:uFillTx/>
              <a:latin typeface="Calibri"/>
              <a:ea typeface="Calibri" panose="020F0502020204030204"/>
              <a:cs typeface="Calibri" panose="020F0502020204030204"/>
            </a:endParaRPr>
          </a:p>
        </p:txBody>
      </p:sp>
    </p:spTree>
    <p:extLst>
      <p:ext uri="{BB962C8B-B14F-4D97-AF65-F5344CB8AC3E}">
        <p14:creationId xmlns:p14="http://schemas.microsoft.com/office/powerpoint/2010/main" val="3838553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473"/>
        <p:cNvGrpSpPr/>
        <p:nvPr/>
      </p:nvGrpSpPr>
      <p:grpSpPr>
        <a:xfrm>
          <a:off x="0" y="0"/>
          <a:ext cx="0" cy="0"/>
          <a:chOff x="0" y="0"/>
          <a:chExt cx="0" cy="0"/>
        </a:xfrm>
      </p:grpSpPr>
      <p:grpSp>
        <p:nvGrpSpPr>
          <p:cNvPr id="2" name="Google Shape;1475;p38"/>
          <p:cNvGrpSpPr/>
          <p:nvPr/>
        </p:nvGrpSpPr>
        <p:grpSpPr>
          <a:xfrm>
            <a:off x="5007784" y="955199"/>
            <a:ext cx="6541460" cy="1798536"/>
            <a:chOff x="3755838" y="744974"/>
            <a:chExt cx="4906094" cy="1348901"/>
          </a:xfrm>
        </p:grpSpPr>
        <p:sp>
          <p:nvSpPr>
            <p:cNvPr id="1476" name="Google Shape;1476;p38"/>
            <p:cNvSpPr/>
            <p:nvPr/>
          </p:nvSpPr>
          <p:spPr>
            <a:xfrm>
              <a:off x="3755838" y="1279575"/>
              <a:ext cx="528350" cy="571000"/>
            </a:xfrm>
            <a:custGeom>
              <a:avLst/>
              <a:gdLst/>
              <a:ahLst/>
              <a:cxnLst/>
              <a:rect l="l" t="t" r="r" b="b"/>
              <a:pathLst>
                <a:path w="21134" h="22840" extrusionOk="0">
                  <a:moveTo>
                    <a:pt x="10576" y="1528"/>
                  </a:moveTo>
                  <a:cubicBezTo>
                    <a:pt x="11644" y="1528"/>
                    <a:pt x="12729" y="1750"/>
                    <a:pt x="13764" y="2218"/>
                  </a:cubicBezTo>
                  <a:cubicBezTo>
                    <a:pt x="17669" y="3992"/>
                    <a:pt x="19395" y="8576"/>
                    <a:pt x="17633" y="12481"/>
                  </a:cubicBezTo>
                  <a:cubicBezTo>
                    <a:pt x="16331" y="15339"/>
                    <a:pt x="13515" y="17030"/>
                    <a:pt x="10564" y="17030"/>
                  </a:cubicBezTo>
                  <a:cubicBezTo>
                    <a:pt x="9495" y="17030"/>
                    <a:pt x="8409" y="16808"/>
                    <a:pt x="7370" y="16339"/>
                  </a:cubicBezTo>
                  <a:cubicBezTo>
                    <a:pt x="3477" y="14577"/>
                    <a:pt x="1750" y="9981"/>
                    <a:pt x="3512" y="6088"/>
                  </a:cubicBezTo>
                  <a:cubicBezTo>
                    <a:pt x="4806" y="3221"/>
                    <a:pt x="7627" y="1528"/>
                    <a:pt x="10576" y="1528"/>
                  </a:cubicBezTo>
                  <a:close/>
                  <a:moveTo>
                    <a:pt x="10580" y="1"/>
                  </a:moveTo>
                  <a:cubicBezTo>
                    <a:pt x="7046" y="1"/>
                    <a:pt x="3667" y="2029"/>
                    <a:pt x="2119" y="5457"/>
                  </a:cubicBezTo>
                  <a:cubicBezTo>
                    <a:pt x="0" y="10124"/>
                    <a:pt x="2072" y="15613"/>
                    <a:pt x="6739" y="17732"/>
                  </a:cubicBezTo>
                  <a:cubicBezTo>
                    <a:pt x="7972" y="18295"/>
                    <a:pt x="9261" y="18558"/>
                    <a:pt x="10534" y="18558"/>
                  </a:cubicBezTo>
                  <a:cubicBezTo>
                    <a:pt x="10822" y="18558"/>
                    <a:pt x="11109" y="18544"/>
                    <a:pt x="11394" y="18518"/>
                  </a:cubicBezTo>
                  <a:lnTo>
                    <a:pt x="15669" y="22840"/>
                  </a:lnTo>
                  <a:lnTo>
                    <a:pt x="16050" y="16768"/>
                  </a:lnTo>
                  <a:cubicBezTo>
                    <a:pt x="17300" y="15851"/>
                    <a:pt x="18336" y="14625"/>
                    <a:pt x="19026" y="13112"/>
                  </a:cubicBezTo>
                  <a:cubicBezTo>
                    <a:pt x="21134" y="8445"/>
                    <a:pt x="19062" y="2944"/>
                    <a:pt x="14395" y="825"/>
                  </a:cubicBezTo>
                  <a:cubicBezTo>
                    <a:pt x="13156" y="266"/>
                    <a:pt x="11858" y="1"/>
                    <a:pt x="10580" y="1"/>
                  </a:cubicBezTo>
                  <a:close/>
                </a:path>
              </a:pathLst>
            </a:custGeom>
            <a:solidFill>
              <a:srgbClr val="69E781"/>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477" name="Google Shape;1477;p38"/>
            <p:cNvSpPr/>
            <p:nvPr/>
          </p:nvSpPr>
          <p:spPr>
            <a:xfrm>
              <a:off x="3854963" y="1694700"/>
              <a:ext cx="616775" cy="399175"/>
            </a:xfrm>
            <a:custGeom>
              <a:avLst/>
              <a:gdLst/>
              <a:ahLst/>
              <a:cxnLst/>
              <a:rect l="l" t="t" r="r" b="b"/>
              <a:pathLst>
                <a:path w="24671" h="15967" extrusionOk="0">
                  <a:moveTo>
                    <a:pt x="24670" y="0"/>
                  </a:moveTo>
                  <a:cubicBezTo>
                    <a:pt x="15252" y="715"/>
                    <a:pt x="6692" y="4501"/>
                    <a:pt x="1" y="10383"/>
                  </a:cubicBezTo>
                  <a:lnTo>
                    <a:pt x="5585" y="15967"/>
                  </a:lnTo>
                  <a:cubicBezTo>
                    <a:pt x="10823" y="11502"/>
                    <a:pt x="17419" y="8573"/>
                    <a:pt x="24670" y="7906"/>
                  </a:cubicBezTo>
                  <a:lnTo>
                    <a:pt x="24670" y="0"/>
                  </a:lnTo>
                  <a:close/>
                </a:path>
              </a:pathLst>
            </a:custGeom>
            <a:solidFill>
              <a:srgbClr val="69E781"/>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480" name="Google Shape;1480;p38"/>
            <p:cNvSpPr txBox="1"/>
            <p:nvPr/>
          </p:nvSpPr>
          <p:spPr>
            <a:xfrm>
              <a:off x="5447061" y="744974"/>
              <a:ext cx="3214871" cy="690135"/>
            </a:xfrm>
            <a:prstGeom prst="rect">
              <a:avLst/>
            </a:prstGeom>
            <a:noFill/>
            <a:ln>
              <a:noFill/>
            </a:ln>
          </p:spPr>
          <p:txBody>
            <a:bodyPr spcFirstLastPara="1" wrap="square" lIns="121900" tIns="121900" rIns="121900" bIns="121900" anchor="ctr" anchorCtr="0">
              <a:noAutofit/>
            </a:bodyPr>
            <a:lstStyle/>
            <a:p>
              <a:pPr>
                <a:buClr>
                  <a:srgbClr val="000000"/>
                </a:buClr>
                <a:defRPr/>
              </a:pPr>
              <a:r>
                <a:rPr lang="el-GR" sz="2000">
                  <a:solidFill>
                    <a:srgbClr val="629DD1"/>
                  </a:solidFill>
                  <a:latin typeface="Fira Sans Extra Condensed Medium"/>
                  <a:ea typeface="Fira Sans Extra Condensed Medium"/>
                  <a:cs typeface="Fira Sans Extra Condensed Medium"/>
                  <a:sym typeface="Fira Sans Extra Condensed Medium"/>
                </a:rPr>
                <a:t>Εθνικό Χιονοδρομικό Κέντρο </a:t>
              </a:r>
              <a:r>
                <a:rPr lang="el-GR" sz="2000" err="1">
                  <a:solidFill>
                    <a:srgbClr val="629DD1"/>
                  </a:solidFill>
                  <a:latin typeface="Fira Sans Extra Condensed Medium"/>
                  <a:ea typeface="Fira Sans Extra Condensed Medium"/>
                  <a:cs typeface="Fira Sans Extra Condensed Medium"/>
                  <a:sym typeface="Fira Sans Extra Condensed Medium"/>
                </a:rPr>
                <a:t>Βασιλίτσας</a:t>
              </a:r>
              <a:r>
                <a:rPr lang="el-GR" sz="2000">
                  <a:solidFill>
                    <a:srgbClr val="629DD1"/>
                  </a:solidFill>
                  <a:latin typeface="Fira Sans Extra Condensed Medium"/>
                  <a:ea typeface="Fira Sans Extra Condensed Medium"/>
                  <a:cs typeface="Fira Sans Extra Condensed Medium"/>
                  <a:sym typeface="Fira Sans Extra Condensed Medium"/>
                </a:rPr>
                <a:t> </a:t>
              </a:r>
              <a:endParaRPr lang="el-GR" sz="1600">
                <a:solidFill>
                  <a:srgbClr val="629DD1"/>
                </a:solidFill>
                <a:latin typeface="Fira Sans Extra Condensed Medium"/>
                <a:ea typeface="Fira Sans Extra Condensed Medium"/>
                <a:cs typeface="Fira Sans Extra Condensed Medium"/>
                <a:sym typeface="Arial"/>
              </a:endParaRPr>
            </a:p>
          </p:txBody>
        </p:sp>
      </p:grpSp>
      <p:grpSp>
        <p:nvGrpSpPr>
          <p:cNvPr id="15" name="Google Shape;1482;p38"/>
          <p:cNvGrpSpPr/>
          <p:nvPr/>
        </p:nvGrpSpPr>
        <p:grpSpPr>
          <a:xfrm>
            <a:off x="4071953" y="2841047"/>
            <a:ext cx="8618855" cy="1817134"/>
            <a:chOff x="3053963" y="2130787"/>
            <a:chExt cx="6464143" cy="1362851"/>
          </a:xfrm>
        </p:grpSpPr>
        <p:sp>
          <p:nvSpPr>
            <p:cNvPr id="1483" name="Google Shape;1483;p38"/>
            <p:cNvSpPr/>
            <p:nvPr/>
          </p:nvSpPr>
          <p:spPr>
            <a:xfrm>
              <a:off x="3053963" y="3029513"/>
              <a:ext cx="607850" cy="464125"/>
            </a:xfrm>
            <a:custGeom>
              <a:avLst/>
              <a:gdLst/>
              <a:ahLst/>
              <a:cxnLst/>
              <a:rect l="l" t="t" r="r" b="b"/>
              <a:pathLst>
                <a:path w="24314" h="18565" extrusionOk="0">
                  <a:moveTo>
                    <a:pt x="10603" y="1533"/>
                  </a:moveTo>
                  <a:cubicBezTo>
                    <a:pt x="11755" y="1533"/>
                    <a:pt x="12924" y="1791"/>
                    <a:pt x="14026" y="2335"/>
                  </a:cubicBezTo>
                  <a:cubicBezTo>
                    <a:pt x="17860" y="4240"/>
                    <a:pt x="19432" y="8884"/>
                    <a:pt x="17527" y="12729"/>
                  </a:cubicBezTo>
                  <a:cubicBezTo>
                    <a:pt x="16180" y="15458"/>
                    <a:pt x="13439" y="17034"/>
                    <a:pt x="10585" y="17034"/>
                  </a:cubicBezTo>
                  <a:cubicBezTo>
                    <a:pt x="9429" y="17034"/>
                    <a:pt x="8253" y="16776"/>
                    <a:pt x="7145" y="16230"/>
                  </a:cubicBezTo>
                  <a:cubicBezTo>
                    <a:pt x="3311" y="14325"/>
                    <a:pt x="1739" y="9681"/>
                    <a:pt x="3644" y="5848"/>
                  </a:cubicBezTo>
                  <a:cubicBezTo>
                    <a:pt x="5001" y="3116"/>
                    <a:pt x="7749" y="1533"/>
                    <a:pt x="10603" y="1533"/>
                  </a:cubicBezTo>
                  <a:close/>
                  <a:moveTo>
                    <a:pt x="10596" y="1"/>
                  </a:moveTo>
                  <a:cubicBezTo>
                    <a:pt x="7179" y="1"/>
                    <a:pt x="3894" y="1897"/>
                    <a:pt x="2275" y="5169"/>
                  </a:cubicBezTo>
                  <a:cubicBezTo>
                    <a:pt x="1" y="9765"/>
                    <a:pt x="1882" y="15325"/>
                    <a:pt x="6466" y="17599"/>
                  </a:cubicBezTo>
                  <a:cubicBezTo>
                    <a:pt x="7790" y="18254"/>
                    <a:pt x="9194" y="18564"/>
                    <a:pt x="10578" y="18564"/>
                  </a:cubicBezTo>
                  <a:cubicBezTo>
                    <a:pt x="13998" y="18564"/>
                    <a:pt x="17289" y="16668"/>
                    <a:pt x="18908" y="13396"/>
                  </a:cubicBezTo>
                  <a:cubicBezTo>
                    <a:pt x="19634" y="11920"/>
                    <a:pt x="19932" y="10324"/>
                    <a:pt x="19849" y="8788"/>
                  </a:cubicBezTo>
                  <a:lnTo>
                    <a:pt x="24313" y="4645"/>
                  </a:lnTo>
                  <a:lnTo>
                    <a:pt x="18265" y="4062"/>
                  </a:lnTo>
                  <a:cubicBezTo>
                    <a:pt x="17396" y="2788"/>
                    <a:pt x="16193" y="1704"/>
                    <a:pt x="14705" y="966"/>
                  </a:cubicBezTo>
                  <a:cubicBezTo>
                    <a:pt x="13381" y="311"/>
                    <a:pt x="11978" y="1"/>
                    <a:pt x="10596" y="1"/>
                  </a:cubicBezTo>
                  <a:close/>
                </a:path>
              </a:pathLst>
            </a:custGeom>
            <a:solidFill>
              <a:srgbClr val="4949E7"/>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484" name="Google Shape;1484;p38"/>
            <p:cNvSpPr/>
            <p:nvPr/>
          </p:nvSpPr>
          <p:spPr>
            <a:xfrm>
              <a:off x="3498963" y="2843650"/>
              <a:ext cx="397100" cy="602175"/>
            </a:xfrm>
            <a:custGeom>
              <a:avLst/>
              <a:gdLst/>
              <a:ahLst/>
              <a:cxnLst/>
              <a:rect l="l" t="t" r="r" b="b"/>
              <a:pathLst>
                <a:path w="15884" h="24087" extrusionOk="0">
                  <a:moveTo>
                    <a:pt x="1" y="0"/>
                  </a:moveTo>
                  <a:cubicBezTo>
                    <a:pt x="810" y="9192"/>
                    <a:pt x="4561" y="17538"/>
                    <a:pt x="10300" y="24087"/>
                  </a:cubicBezTo>
                  <a:lnTo>
                    <a:pt x="15884" y="18503"/>
                  </a:lnTo>
                  <a:cubicBezTo>
                    <a:pt x="11550" y="13395"/>
                    <a:pt x="8680" y="7025"/>
                    <a:pt x="7918" y="0"/>
                  </a:cubicBezTo>
                  <a:close/>
                </a:path>
              </a:pathLst>
            </a:custGeom>
            <a:solidFill>
              <a:srgbClr val="4949E7"/>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491" name="Google Shape;1491;p38"/>
            <p:cNvSpPr txBox="1"/>
            <p:nvPr/>
          </p:nvSpPr>
          <p:spPr>
            <a:xfrm>
              <a:off x="6425001" y="2130787"/>
              <a:ext cx="3093105" cy="429600"/>
            </a:xfrm>
            <a:prstGeom prst="rect">
              <a:avLst/>
            </a:prstGeom>
            <a:noFill/>
            <a:ln>
              <a:noFill/>
            </a:ln>
          </p:spPr>
          <p:txBody>
            <a:bodyPr spcFirstLastPara="1" wrap="square" lIns="121900" tIns="121900" rIns="121900" bIns="121900" anchor="ctr" anchorCtr="0">
              <a:noAutofit/>
            </a:bodyPr>
            <a:lstStyle/>
            <a:p>
              <a:pPr>
                <a:buFont typeface="Arial"/>
                <a:buNone/>
                <a:defRPr/>
              </a:pPr>
              <a:endParaRPr lang="el-GR" sz="1600">
                <a:solidFill>
                  <a:srgbClr val="7F8FA9"/>
                </a:solidFill>
                <a:latin typeface="Fira Sans Extra Condensed Medium"/>
                <a:ea typeface="Fira Sans Extra Condensed Medium"/>
                <a:cs typeface="Fira Sans Extra Condensed Medium"/>
                <a:sym typeface="Arial"/>
              </a:endParaRPr>
            </a:p>
          </p:txBody>
        </p:sp>
      </p:grpSp>
      <p:grpSp>
        <p:nvGrpSpPr>
          <p:cNvPr id="16" name="Google Shape;1493;p38"/>
          <p:cNvGrpSpPr/>
          <p:nvPr/>
        </p:nvGrpSpPr>
        <p:grpSpPr>
          <a:xfrm>
            <a:off x="4071968" y="2671667"/>
            <a:ext cx="1105318" cy="906766"/>
            <a:chOff x="3053975" y="2003750"/>
            <a:chExt cx="828988" cy="680075"/>
          </a:xfrm>
        </p:grpSpPr>
        <p:sp>
          <p:nvSpPr>
            <p:cNvPr id="1494" name="Google Shape;1494;p38"/>
            <p:cNvSpPr/>
            <p:nvPr/>
          </p:nvSpPr>
          <p:spPr>
            <a:xfrm>
              <a:off x="3053975" y="2003750"/>
              <a:ext cx="583425" cy="464175"/>
            </a:xfrm>
            <a:custGeom>
              <a:avLst/>
              <a:gdLst/>
              <a:ahLst/>
              <a:cxnLst/>
              <a:rect l="l" t="t" r="r" b="b"/>
              <a:pathLst>
                <a:path w="23337" h="18567" extrusionOk="0">
                  <a:moveTo>
                    <a:pt x="10410" y="1534"/>
                  </a:moveTo>
                  <a:cubicBezTo>
                    <a:pt x="13672" y="1534"/>
                    <a:pt x="16706" y="3604"/>
                    <a:pt x="17777" y="6863"/>
                  </a:cubicBezTo>
                  <a:cubicBezTo>
                    <a:pt x="19110" y="10935"/>
                    <a:pt x="16896" y="15305"/>
                    <a:pt x="12824" y="16638"/>
                  </a:cubicBezTo>
                  <a:cubicBezTo>
                    <a:pt x="12020" y="16905"/>
                    <a:pt x="11204" y="17031"/>
                    <a:pt x="10402" y="17031"/>
                  </a:cubicBezTo>
                  <a:cubicBezTo>
                    <a:pt x="7149" y="17031"/>
                    <a:pt x="4118" y="14954"/>
                    <a:pt x="3049" y="11697"/>
                  </a:cubicBezTo>
                  <a:cubicBezTo>
                    <a:pt x="1715" y="7625"/>
                    <a:pt x="3930" y="3256"/>
                    <a:pt x="7990" y="1922"/>
                  </a:cubicBezTo>
                  <a:cubicBezTo>
                    <a:pt x="8793" y="1659"/>
                    <a:pt x="9608" y="1534"/>
                    <a:pt x="10410" y="1534"/>
                  </a:cubicBezTo>
                  <a:close/>
                  <a:moveTo>
                    <a:pt x="10419" y="0"/>
                  </a:moveTo>
                  <a:cubicBezTo>
                    <a:pt x="9456" y="0"/>
                    <a:pt x="8477" y="152"/>
                    <a:pt x="7513" y="470"/>
                  </a:cubicBezTo>
                  <a:cubicBezTo>
                    <a:pt x="2644" y="2065"/>
                    <a:pt x="1" y="7304"/>
                    <a:pt x="1596" y="12174"/>
                  </a:cubicBezTo>
                  <a:cubicBezTo>
                    <a:pt x="2877" y="16084"/>
                    <a:pt x="6508" y="18567"/>
                    <a:pt x="10410" y="18567"/>
                  </a:cubicBezTo>
                  <a:cubicBezTo>
                    <a:pt x="11367" y="18567"/>
                    <a:pt x="12341" y="18417"/>
                    <a:pt x="13300" y="18103"/>
                  </a:cubicBezTo>
                  <a:cubicBezTo>
                    <a:pt x="14871" y="17579"/>
                    <a:pt x="16217" y="16686"/>
                    <a:pt x="17265" y="15543"/>
                  </a:cubicBezTo>
                  <a:lnTo>
                    <a:pt x="23337" y="15817"/>
                  </a:lnTo>
                  <a:lnTo>
                    <a:pt x="19503" y="11090"/>
                  </a:lnTo>
                  <a:cubicBezTo>
                    <a:pt x="19813" y="9578"/>
                    <a:pt x="19741" y="7959"/>
                    <a:pt x="19229" y="6387"/>
                  </a:cubicBezTo>
                  <a:cubicBezTo>
                    <a:pt x="17950" y="2482"/>
                    <a:pt x="14319" y="0"/>
                    <a:pt x="10419" y="0"/>
                  </a:cubicBezTo>
                  <a:close/>
                </a:path>
              </a:pathLst>
            </a:custGeom>
            <a:solidFill>
              <a:srgbClr val="5EB2FC"/>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495" name="Google Shape;1495;p38"/>
            <p:cNvSpPr/>
            <p:nvPr/>
          </p:nvSpPr>
          <p:spPr>
            <a:xfrm>
              <a:off x="3496888" y="2068250"/>
              <a:ext cx="386075" cy="615575"/>
            </a:xfrm>
            <a:custGeom>
              <a:avLst/>
              <a:gdLst/>
              <a:ahLst/>
              <a:cxnLst/>
              <a:rect l="l" t="t" r="r" b="b"/>
              <a:pathLst>
                <a:path w="15443" h="24623" extrusionOk="0">
                  <a:moveTo>
                    <a:pt x="9847" y="1"/>
                  </a:moveTo>
                  <a:cubicBezTo>
                    <a:pt x="4179" y="6740"/>
                    <a:pt x="572" y="15276"/>
                    <a:pt x="0" y="24623"/>
                  </a:cubicBezTo>
                  <a:lnTo>
                    <a:pt x="7882" y="24623"/>
                  </a:lnTo>
                  <a:cubicBezTo>
                    <a:pt x="8430" y="17443"/>
                    <a:pt x="11168" y="10883"/>
                    <a:pt x="15443" y="5597"/>
                  </a:cubicBezTo>
                  <a:lnTo>
                    <a:pt x="9847" y="1"/>
                  </a:lnTo>
                  <a:close/>
                </a:path>
              </a:pathLst>
            </a:custGeom>
            <a:solidFill>
              <a:srgbClr val="5EB2FC"/>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17" name="Google Shape;1501;p38"/>
          <p:cNvGrpSpPr/>
          <p:nvPr/>
        </p:nvGrpSpPr>
        <p:grpSpPr>
          <a:xfrm>
            <a:off x="5025633" y="4557104"/>
            <a:ext cx="936684" cy="1076834"/>
            <a:chOff x="3769225" y="3417825"/>
            <a:chExt cx="702513" cy="807625"/>
          </a:xfrm>
        </p:grpSpPr>
        <p:sp>
          <p:nvSpPr>
            <p:cNvPr id="1502" name="Google Shape;1502;p38"/>
            <p:cNvSpPr/>
            <p:nvPr/>
          </p:nvSpPr>
          <p:spPr>
            <a:xfrm>
              <a:off x="3769225" y="3663475"/>
              <a:ext cx="524500" cy="561975"/>
            </a:xfrm>
            <a:custGeom>
              <a:avLst/>
              <a:gdLst/>
              <a:ahLst/>
              <a:cxnLst/>
              <a:rect l="l" t="t" r="r" b="b"/>
              <a:pathLst>
                <a:path w="20980" h="22479" extrusionOk="0">
                  <a:moveTo>
                    <a:pt x="10481" y="5447"/>
                  </a:moveTo>
                  <a:cubicBezTo>
                    <a:pt x="13615" y="5447"/>
                    <a:pt x="16567" y="7361"/>
                    <a:pt x="17741" y="10466"/>
                  </a:cubicBezTo>
                  <a:cubicBezTo>
                    <a:pt x="19253" y="14467"/>
                    <a:pt x="17229" y="18944"/>
                    <a:pt x="13217" y="20444"/>
                  </a:cubicBezTo>
                  <a:cubicBezTo>
                    <a:pt x="12317" y="20784"/>
                    <a:pt x="11392" y="20945"/>
                    <a:pt x="10484" y="20945"/>
                  </a:cubicBezTo>
                  <a:cubicBezTo>
                    <a:pt x="7352" y="20945"/>
                    <a:pt x="4402" y="19032"/>
                    <a:pt x="3239" y="15931"/>
                  </a:cubicBezTo>
                  <a:cubicBezTo>
                    <a:pt x="1727" y="11919"/>
                    <a:pt x="3751" y="7454"/>
                    <a:pt x="7763" y="5942"/>
                  </a:cubicBezTo>
                  <a:cubicBezTo>
                    <a:pt x="8659" y="5606"/>
                    <a:pt x="9578" y="5447"/>
                    <a:pt x="10481" y="5447"/>
                  </a:cubicBezTo>
                  <a:close/>
                  <a:moveTo>
                    <a:pt x="16467" y="1"/>
                  </a:moveTo>
                  <a:lnTo>
                    <a:pt x="11907" y="4025"/>
                  </a:lnTo>
                  <a:cubicBezTo>
                    <a:pt x="11442" y="3952"/>
                    <a:pt x="10969" y="3915"/>
                    <a:pt x="10492" y="3915"/>
                  </a:cubicBezTo>
                  <a:cubicBezTo>
                    <a:pt x="9406" y="3915"/>
                    <a:pt x="8299" y="4108"/>
                    <a:pt x="7216" y="4513"/>
                  </a:cubicBezTo>
                  <a:cubicBezTo>
                    <a:pt x="2429" y="6323"/>
                    <a:pt x="1" y="11669"/>
                    <a:pt x="1810" y="16467"/>
                  </a:cubicBezTo>
                  <a:cubicBezTo>
                    <a:pt x="3205" y="20189"/>
                    <a:pt x="6742" y="22479"/>
                    <a:pt x="10499" y="22479"/>
                  </a:cubicBezTo>
                  <a:cubicBezTo>
                    <a:pt x="11584" y="22479"/>
                    <a:pt x="12688" y="22287"/>
                    <a:pt x="13764" y="21884"/>
                  </a:cubicBezTo>
                  <a:cubicBezTo>
                    <a:pt x="18551" y="20075"/>
                    <a:pt x="20979" y="14717"/>
                    <a:pt x="19170" y="9931"/>
                  </a:cubicBezTo>
                  <a:cubicBezTo>
                    <a:pt x="18586" y="8371"/>
                    <a:pt x="17634" y="7073"/>
                    <a:pt x="16443" y="6085"/>
                  </a:cubicBezTo>
                  <a:lnTo>
                    <a:pt x="16467" y="1"/>
                  </a:lnTo>
                  <a:close/>
                </a:path>
              </a:pathLst>
            </a:custGeom>
            <a:solidFill>
              <a:srgbClr val="FCBD24"/>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503" name="Google Shape;1503;p38"/>
            <p:cNvSpPr/>
            <p:nvPr/>
          </p:nvSpPr>
          <p:spPr>
            <a:xfrm>
              <a:off x="3870738" y="3417825"/>
              <a:ext cx="601000" cy="386075"/>
            </a:xfrm>
            <a:custGeom>
              <a:avLst/>
              <a:gdLst/>
              <a:ahLst/>
              <a:cxnLst/>
              <a:rect l="l" t="t" r="r" b="b"/>
              <a:pathLst>
                <a:path w="24040" h="15443" extrusionOk="0">
                  <a:moveTo>
                    <a:pt x="5585" y="1"/>
                  </a:moveTo>
                  <a:lnTo>
                    <a:pt x="1" y="5596"/>
                  </a:lnTo>
                  <a:cubicBezTo>
                    <a:pt x="6585" y="11169"/>
                    <a:pt x="14907" y="14752"/>
                    <a:pt x="24039" y="15443"/>
                  </a:cubicBezTo>
                  <a:lnTo>
                    <a:pt x="24039" y="7537"/>
                  </a:lnTo>
                  <a:cubicBezTo>
                    <a:pt x="17074" y="6894"/>
                    <a:pt x="10728" y="4168"/>
                    <a:pt x="5585" y="1"/>
                  </a:cubicBezTo>
                  <a:close/>
                </a:path>
              </a:pathLst>
            </a:custGeom>
            <a:solidFill>
              <a:srgbClr val="FCBD24"/>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18" name="Google Shape;1512;p38"/>
          <p:cNvGrpSpPr/>
          <p:nvPr/>
        </p:nvGrpSpPr>
        <p:grpSpPr>
          <a:xfrm>
            <a:off x="6176731" y="1199706"/>
            <a:ext cx="5542609" cy="1592129"/>
            <a:chOff x="4632548" y="899779"/>
            <a:chExt cx="4156957" cy="1194096"/>
          </a:xfrm>
        </p:grpSpPr>
        <p:sp>
          <p:nvSpPr>
            <p:cNvPr id="1516" name="Google Shape;1516;p38"/>
            <p:cNvSpPr txBox="1"/>
            <p:nvPr/>
          </p:nvSpPr>
          <p:spPr>
            <a:xfrm>
              <a:off x="5298433" y="899779"/>
              <a:ext cx="3491072" cy="395983"/>
            </a:xfrm>
            <a:prstGeom prst="rect">
              <a:avLst/>
            </a:prstGeom>
            <a:noFill/>
            <a:ln>
              <a:noFill/>
            </a:ln>
          </p:spPr>
          <p:txBody>
            <a:bodyPr spcFirstLastPara="1" wrap="square" lIns="121900" tIns="121900" rIns="121900" bIns="121900" anchor="ctr" anchorCtr="0">
              <a:noAutofit/>
            </a:bodyPr>
            <a:lstStyle/>
            <a:p>
              <a:pPr>
                <a:buFont typeface="Arial"/>
                <a:buNone/>
                <a:defRPr/>
              </a:pPr>
              <a:endParaRPr lang="el-GR" sz="1600">
                <a:solidFill>
                  <a:srgbClr val="5AA2AE"/>
                </a:solidFill>
                <a:latin typeface="Fira Sans Extra Condensed Medium"/>
                <a:ea typeface="Fira Sans Extra Condensed Medium"/>
                <a:cs typeface="Fira Sans Extra Condensed Medium"/>
                <a:sym typeface="Arial"/>
              </a:endParaRPr>
            </a:p>
          </p:txBody>
        </p:sp>
        <p:sp>
          <p:nvSpPr>
            <p:cNvPr id="1517" name="Google Shape;1517;p38"/>
            <p:cNvSpPr/>
            <p:nvPr/>
          </p:nvSpPr>
          <p:spPr>
            <a:xfrm flipH="1">
              <a:off x="4815942" y="1262950"/>
              <a:ext cx="528350" cy="571000"/>
            </a:xfrm>
            <a:custGeom>
              <a:avLst/>
              <a:gdLst/>
              <a:ahLst/>
              <a:cxnLst/>
              <a:rect l="l" t="t" r="r" b="b"/>
              <a:pathLst>
                <a:path w="21134" h="22840" extrusionOk="0">
                  <a:moveTo>
                    <a:pt x="10576" y="1528"/>
                  </a:moveTo>
                  <a:cubicBezTo>
                    <a:pt x="11644" y="1528"/>
                    <a:pt x="12729" y="1750"/>
                    <a:pt x="13764" y="2218"/>
                  </a:cubicBezTo>
                  <a:cubicBezTo>
                    <a:pt x="17669" y="3992"/>
                    <a:pt x="19395" y="8576"/>
                    <a:pt x="17633" y="12481"/>
                  </a:cubicBezTo>
                  <a:cubicBezTo>
                    <a:pt x="16331" y="15339"/>
                    <a:pt x="13515" y="17030"/>
                    <a:pt x="10564" y="17030"/>
                  </a:cubicBezTo>
                  <a:cubicBezTo>
                    <a:pt x="9495" y="17030"/>
                    <a:pt x="8409" y="16808"/>
                    <a:pt x="7370" y="16339"/>
                  </a:cubicBezTo>
                  <a:cubicBezTo>
                    <a:pt x="3477" y="14577"/>
                    <a:pt x="1750" y="9981"/>
                    <a:pt x="3512" y="6088"/>
                  </a:cubicBezTo>
                  <a:cubicBezTo>
                    <a:pt x="4806" y="3221"/>
                    <a:pt x="7627" y="1528"/>
                    <a:pt x="10576" y="1528"/>
                  </a:cubicBezTo>
                  <a:close/>
                  <a:moveTo>
                    <a:pt x="10580" y="1"/>
                  </a:moveTo>
                  <a:cubicBezTo>
                    <a:pt x="7046" y="1"/>
                    <a:pt x="3667" y="2029"/>
                    <a:pt x="2119" y="5457"/>
                  </a:cubicBezTo>
                  <a:cubicBezTo>
                    <a:pt x="0" y="10124"/>
                    <a:pt x="2072" y="15613"/>
                    <a:pt x="6739" y="17732"/>
                  </a:cubicBezTo>
                  <a:cubicBezTo>
                    <a:pt x="7972" y="18295"/>
                    <a:pt x="9261" y="18558"/>
                    <a:pt x="10534" y="18558"/>
                  </a:cubicBezTo>
                  <a:cubicBezTo>
                    <a:pt x="10822" y="18558"/>
                    <a:pt x="11109" y="18544"/>
                    <a:pt x="11394" y="18518"/>
                  </a:cubicBezTo>
                  <a:lnTo>
                    <a:pt x="15669" y="22840"/>
                  </a:lnTo>
                  <a:lnTo>
                    <a:pt x="16050" y="16768"/>
                  </a:lnTo>
                  <a:cubicBezTo>
                    <a:pt x="17300" y="15851"/>
                    <a:pt x="18336" y="14625"/>
                    <a:pt x="19026" y="13112"/>
                  </a:cubicBezTo>
                  <a:cubicBezTo>
                    <a:pt x="21134" y="8445"/>
                    <a:pt x="19062" y="2944"/>
                    <a:pt x="14395" y="825"/>
                  </a:cubicBezTo>
                  <a:cubicBezTo>
                    <a:pt x="13156" y="266"/>
                    <a:pt x="11858" y="1"/>
                    <a:pt x="10580" y="1"/>
                  </a:cubicBezTo>
                  <a:close/>
                </a:path>
              </a:pathLst>
            </a:custGeom>
            <a:solidFill>
              <a:schemeClr val="accent5"/>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518" name="Google Shape;1518;p38"/>
            <p:cNvSpPr/>
            <p:nvPr/>
          </p:nvSpPr>
          <p:spPr>
            <a:xfrm flipH="1">
              <a:off x="4632548" y="1694700"/>
              <a:ext cx="616775" cy="399175"/>
            </a:xfrm>
            <a:custGeom>
              <a:avLst/>
              <a:gdLst/>
              <a:ahLst/>
              <a:cxnLst/>
              <a:rect l="l" t="t" r="r" b="b"/>
              <a:pathLst>
                <a:path w="24671" h="15967" extrusionOk="0">
                  <a:moveTo>
                    <a:pt x="24670" y="0"/>
                  </a:moveTo>
                  <a:cubicBezTo>
                    <a:pt x="15252" y="715"/>
                    <a:pt x="6692" y="4501"/>
                    <a:pt x="1" y="10383"/>
                  </a:cubicBezTo>
                  <a:lnTo>
                    <a:pt x="5585" y="15967"/>
                  </a:lnTo>
                  <a:cubicBezTo>
                    <a:pt x="10823" y="11502"/>
                    <a:pt x="17419" y="8573"/>
                    <a:pt x="24670" y="7906"/>
                  </a:cubicBezTo>
                  <a:lnTo>
                    <a:pt x="24670" y="0"/>
                  </a:lnTo>
                  <a:close/>
                </a:path>
              </a:pathLst>
            </a:custGeom>
            <a:solidFill>
              <a:schemeClr val="accent5"/>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19" name="Google Shape;1519;p38"/>
          <p:cNvGrpSpPr/>
          <p:nvPr/>
        </p:nvGrpSpPr>
        <p:grpSpPr>
          <a:xfrm>
            <a:off x="7006101" y="2671665"/>
            <a:ext cx="4795865" cy="2270447"/>
            <a:chOff x="5254575" y="2003750"/>
            <a:chExt cx="3596900" cy="1702837"/>
          </a:xfrm>
        </p:grpSpPr>
        <p:sp>
          <p:nvSpPr>
            <p:cNvPr id="1522" name="Google Shape;1522;p38"/>
            <p:cNvSpPr txBox="1"/>
            <p:nvPr/>
          </p:nvSpPr>
          <p:spPr>
            <a:xfrm>
              <a:off x="6334515" y="3185064"/>
              <a:ext cx="2516960" cy="521523"/>
            </a:xfrm>
            <a:prstGeom prst="rect">
              <a:avLst/>
            </a:prstGeom>
            <a:noFill/>
            <a:ln>
              <a:noFill/>
            </a:ln>
          </p:spPr>
          <p:txBody>
            <a:bodyPr spcFirstLastPara="1" wrap="square" lIns="121900" tIns="121900" rIns="121900" bIns="121900" anchor="ctr" anchorCtr="0">
              <a:noAutofit/>
            </a:bodyPr>
            <a:lstStyle/>
            <a:p>
              <a:pPr>
                <a:defRPr/>
              </a:pPr>
              <a:r>
                <a:rPr lang="el-GR" sz="2000">
                  <a:solidFill>
                    <a:srgbClr val="7F8FA9"/>
                  </a:solidFill>
                  <a:latin typeface="Fira Sans Extra Condensed Medium"/>
                  <a:sym typeface="Fira Sans Extra Condensed Medium"/>
                </a:rPr>
                <a:t>Ανακατασκευή γηπέδου </a:t>
              </a:r>
              <a:endParaRPr lang="el-GR" err="1">
                <a:solidFill>
                  <a:srgbClr val="000000"/>
                </a:solidFill>
                <a:latin typeface="Arial"/>
                <a:cs typeface="Arial"/>
                <a:sym typeface="Fira Sans Extra Condensed Medium"/>
              </a:endParaRPr>
            </a:p>
            <a:p>
              <a:pPr>
                <a:defRPr/>
              </a:pPr>
              <a:r>
                <a:rPr lang="el-GR" sz="2000">
                  <a:solidFill>
                    <a:srgbClr val="7F8FA9"/>
                  </a:solidFill>
                  <a:latin typeface="Fira Sans Extra Condensed Medium"/>
                  <a:sym typeface="Fira Sans Extra Condensed Medium"/>
                </a:rPr>
                <a:t>Μίλτος </a:t>
              </a:r>
              <a:r>
                <a:rPr lang="el-GR" sz="2000" err="1">
                  <a:solidFill>
                    <a:srgbClr val="7F8FA9"/>
                  </a:solidFill>
                  <a:latin typeface="Fira Sans Extra Condensed Medium"/>
                  <a:sym typeface="Fira Sans Extra Condensed Medium"/>
                </a:rPr>
                <a:t>Τεντόγλου</a:t>
              </a:r>
              <a:endParaRPr lang="el-GR" err="1">
                <a:cs typeface="Arial"/>
              </a:endParaRPr>
            </a:p>
          </p:txBody>
        </p:sp>
        <p:sp>
          <p:nvSpPr>
            <p:cNvPr id="1524" name="Google Shape;1524;p38"/>
            <p:cNvSpPr/>
            <p:nvPr/>
          </p:nvSpPr>
          <p:spPr>
            <a:xfrm flipH="1">
              <a:off x="5500138" y="2003750"/>
              <a:ext cx="583425" cy="464175"/>
            </a:xfrm>
            <a:custGeom>
              <a:avLst/>
              <a:gdLst/>
              <a:ahLst/>
              <a:cxnLst/>
              <a:rect l="l" t="t" r="r" b="b"/>
              <a:pathLst>
                <a:path w="23337" h="18567" extrusionOk="0">
                  <a:moveTo>
                    <a:pt x="10410" y="1534"/>
                  </a:moveTo>
                  <a:cubicBezTo>
                    <a:pt x="13672" y="1534"/>
                    <a:pt x="16706" y="3604"/>
                    <a:pt x="17777" y="6863"/>
                  </a:cubicBezTo>
                  <a:cubicBezTo>
                    <a:pt x="19110" y="10935"/>
                    <a:pt x="16896" y="15305"/>
                    <a:pt x="12824" y="16638"/>
                  </a:cubicBezTo>
                  <a:cubicBezTo>
                    <a:pt x="12020" y="16905"/>
                    <a:pt x="11204" y="17031"/>
                    <a:pt x="10402" y="17031"/>
                  </a:cubicBezTo>
                  <a:cubicBezTo>
                    <a:pt x="7149" y="17031"/>
                    <a:pt x="4118" y="14954"/>
                    <a:pt x="3049" y="11697"/>
                  </a:cubicBezTo>
                  <a:cubicBezTo>
                    <a:pt x="1715" y="7625"/>
                    <a:pt x="3930" y="3256"/>
                    <a:pt x="7990" y="1922"/>
                  </a:cubicBezTo>
                  <a:cubicBezTo>
                    <a:pt x="8793" y="1659"/>
                    <a:pt x="9608" y="1534"/>
                    <a:pt x="10410" y="1534"/>
                  </a:cubicBezTo>
                  <a:close/>
                  <a:moveTo>
                    <a:pt x="10419" y="0"/>
                  </a:moveTo>
                  <a:cubicBezTo>
                    <a:pt x="9456" y="0"/>
                    <a:pt x="8477" y="152"/>
                    <a:pt x="7513" y="470"/>
                  </a:cubicBezTo>
                  <a:cubicBezTo>
                    <a:pt x="2644" y="2065"/>
                    <a:pt x="1" y="7304"/>
                    <a:pt x="1596" y="12174"/>
                  </a:cubicBezTo>
                  <a:cubicBezTo>
                    <a:pt x="2877" y="16084"/>
                    <a:pt x="6508" y="18567"/>
                    <a:pt x="10410" y="18567"/>
                  </a:cubicBezTo>
                  <a:cubicBezTo>
                    <a:pt x="11367" y="18567"/>
                    <a:pt x="12341" y="18417"/>
                    <a:pt x="13300" y="18103"/>
                  </a:cubicBezTo>
                  <a:cubicBezTo>
                    <a:pt x="14871" y="17579"/>
                    <a:pt x="16217" y="16686"/>
                    <a:pt x="17265" y="15543"/>
                  </a:cubicBezTo>
                  <a:lnTo>
                    <a:pt x="23337" y="15817"/>
                  </a:lnTo>
                  <a:lnTo>
                    <a:pt x="19503" y="11090"/>
                  </a:lnTo>
                  <a:cubicBezTo>
                    <a:pt x="19813" y="9578"/>
                    <a:pt x="19741" y="7959"/>
                    <a:pt x="19229" y="6387"/>
                  </a:cubicBezTo>
                  <a:cubicBezTo>
                    <a:pt x="17950" y="2482"/>
                    <a:pt x="14319" y="0"/>
                    <a:pt x="10419" y="0"/>
                  </a:cubicBezTo>
                  <a:close/>
                </a:path>
              </a:pathLst>
            </a:custGeom>
            <a:solidFill>
              <a:schemeClr val="accent4"/>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525" name="Google Shape;1525;p38"/>
            <p:cNvSpPr/>
            <p:nvPr/>
          </p:nvSpPr>
          <p:spPr>
            <a:xfrm flipH="1">
              <a:off x="5254575" y="2068250"/>
              <a:ext cx="386075" cy="615575"/>
            </a:xfrm>
            <a:custGeom>
              <a:avLst/>
              <a:gdLst/>
              <a:ahLst/>
              <a:cxnLst/>
              <a:rect l="l" t="t" r="r" b="b"/>
              <a:pathLst>
                <a:path w="15443" h="24623" extrusionOk="0">
                  <a:moveTo>
                    <a:pt x="9847" y="1"/>
                  </a:moveTo>
                  <a:cubicBezTo>
                    <a:pt x="4179" y="6740"/>
                    <a:pt x="572" y="15276"/>
                    <a:pt x="0" y="24623"/>
                  </a:cubicBezTo>
                  <a:lnTo>
                    <a:pt x="7882" y="24623"/>
                  </a:lnTo>
                  <a:cubicBezTo>
                    <a:pt x="8430" y="17443"/>
                    <a:pt x="11168" y="10883"/>
                    <a:pt x="15443" y="5597"/>
                  </a:cubicBezTo>
                  <a:lnTo>
                    <a:pt x="9847" y="1"/>
                  </a:lnTo>
                  <a:close/>
                </a:path>
              </a:pathLst>
            </a:custGeom>
            <a:solidFill>
              <a:schemeClr val="accent4"/>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20" name="Google Shape;1526;p38"/>
          <p:cNvGrpSpPr/>
          <p:nvPr/>
        </p:nvGrpSpPr>
        <p:grpSpPr>
          <a:xfrm>
            <a:off x="6988630" y="3791538"/>
            <a:ext cx="1122800" cy="866652"/>
            <a:chOff x="5241475" y="2843650"/>
            <a:chExt cx="842100" cy="649988"/>
          </a:xfrm>
        </p:grpSpPr>
        <p:sp>
          <p:nvSpPr>
            <p:cNvPr id="1533" name="Google Shape;1533;p38"/>
            <p:cNvSpPr/>
            <p:nvPr/>
          </p:nvSpPr>
          <p:spPr>
            <a:xfrm flipH="1">
              <a:off x="5475725" y="3029513"/>
              <a:ext cx="607850" cy="464125"/>
            </a:xfrm>
            <a:custGeom>
              <a:avLst/>
              <a:gdLst/>
              <a:ahLst/>
              <a:cxnLst/>
              <a:rect l="l" t="t" r="r" b="b"/>
              <a:pathLst>
                <a:path w="24314" h="18565" extrusionOk="0">
                  <a:moveTo>
                    <a:pt x="10603" y="1533"/>
                  </a:moveTo>
                  <a:cubicBezTo>
                    <a:pt x="11755" y="1533"/>
                    <a:pt x="12924" y="1791"/>
                    <a:pt x="14026" y="2335"/>
                  </a:cubicBezTo>
                  <a:cubicBezTo>
                    <a:pt x="17860" y="4240"/>
                    <a:pt x="19432" y="8884"/>
                    <a:pt x="17527" y="12729"/>
                  </a:cubicBezTo>
                  <a:cubicBezTo>
                    <a:pt x="16180" y="15458"/>
                    <a:pt x="13439" y="17034"/>
                    <a:pt x="10585" y="17034"/>
                  </a:cubicBezTo>
                  <a:cubicBezTo>
                    <a:pt x="9429" y="17034"/>
                    <a:pt x="8253" y="16776"/>
                    <a:pt x="7145" y="16230"/>
                  </a:cubicBezTo>
                  <a:cubicBezTo>
                    <a:pt x="3311" y="14325"/>
                    <a:pt x="1739" y="9681"/>
                    <a:pt x="3644" y="5848"/>
                  </a:cubicBezTo>
                  <a:cubicBezTo>
                    <a:pt x="5001" y="3116"/>
                    <a:pt x="7749" y="1533"/>
                    <a:pt x="10603" y="1533"/>
                  </a:cubicBezTo>
                  <a:close/>
                  <a:moveTo>
                    <a:pt x="10596" y="1"/>
                  </a:moveTo>
                  <a:cubicBezTo>
                    <a:pt x="7179" y="1"/>
                    <a:pt x="3894" y="1897"/>
                    <a:pt x="2275" y="5169"/>
                  </a:cubicBezTo>
                  <a:cubicBezTo>
                    <a:pt x="1" y="9765"/>
                    <a:pt x="1882" y="15325"/>
                    <a:pt x="6466" y="17599"/>
                  </a:cubicBezTo>
                  <a:cubicBezTo>
                    <a:pt x="7790" y="18254"/>
                    <a:pt x="9194" y="18564"/>
                    <a:pt x="10578" y="18564"/>
                  </a:cubicBezTo>
                  <a:cubicBezTo>
                    <a:pt x="13998" y="18564"/>
                    <a:pt x="17289" y="16668"/>
                    <a:pt x="18908" y="13396"/>
                  </a:cubicBezTo>
                  <a:cubicBezTo>
                    <a:pt x="19634" y="11920"/>
                    <a:pt x="19932" y="10324"/>
                    <a:pt x="19849" y="8788"/>
                  </a:cubicBezTo>
                  <a:lnTo>
                    <a:pt x="24313" y="4645"/>
                  </a:lnTo>
                  <a:lnTo>
                    <a:pt x="18265" y="4062"/>
                  </a:lnTo>
                  <a:cubicBezTo>
                    <a:pt x="17396" y="2788"/>
                    <a:pt x="16193" y="1704"/>
                    <a:pt x="14705" y="966"/>
                  </a:cubicBezTo>
                  <a:cubicBezTo>
                    <a:pt x="13381" y="311"/>
                    <a:pt x="11978" y="1"/>
                    <a:pt x="10596" y="1"/>
                  </a:cubicBezTo>
                  <a:close/>
                </a:path>
              </a:pathLst>
            </a:custGeom>
            <a:solidFill>
              <a:schemeClr val="accent1"/>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534" name="Google Shape;1534;p38"/>
            <p:cNvSpPr/>
            <p:nvPr/>
          </p:nvSpPr>
          <p:spPr>
            <a:xfrm flipH="1">
              <a:off x="5241475" y="2843650"/>
              <a:ext cx="397100" cy="602175"/>
            </a:xfrm>
            <a:custGeom>
              <a:avLst/>
              <a:gdLst/>
              <a:ahLst/>
              <a:cxnLst/>
              <a:rect l="l" t="t" r="r" b="b"/>
              <a:pathLst>
                <a:path w="15884" h="24087" extrusionOk="0">
                  <a:moveTo>
                    <a:pt x="1" y="0"/>
                  </a:moveTo>
                  <a:cubicBezTo>
                    <a:pt x="810" y="9192"/>
                    <a:pt x="4561" y="17538"/>
                    <a:pt x="10300" y="24087"/>
                  </a:cubicBezTo>
                  <a:lnTo>
                    <a:pt x="15884" y="18503"/>
                  </a:lnTo>
                  <a:cubicBezTo>
                    <a:pt x="11550" y="13395"/>
                    <a:pt x="8680" y="7025"/>
                    <a:pt x="7918" y="0"/>
                  </a:cubicBezTo>
                  <a:close/>
                </a:path>
              </a:pathLst>
            </a:custGeom>
            <a:solidFill>
              <a:schemeClr val="accent1"/>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21" name="Google Shape;1535;p38"/>
          <p:cNvGrpSpPr/>
          <p:nvPr/>
        </p:nvGrpSpPr>
        <p:grpSpPr>
          <a:xfrm>
            <a:off x="6165039" y="4557105"/>
            <a:ext cx="5618518" cy="1741215"/>
            <a:chOff x="4665800" y="3417825"/>
            <a:chExt cx="4213889" cy="1305910"/>
          </a:xfrm>
        </p:grpSpPr>
        <p:sp>
          <p:nvSpPr>
            <p:cNvPr id="1538" name="Google Shape;1538;p38"/>
            <p:cNvSpPr txBox="1"/>
            <p:nvPr/>
          </p:nvSpPr>
          <p:spPr>
            <a:xfrm>
              <a:off x="5944882" y="4294135"/>
              <a:ext cx="2934807" cy="429600"/>
            </a:xfrm>
            <a:prstGeom prst="rect">
              <a:avLst/>
            </a:prstGeom>
            <a:noFill/>
            <a:ln>
              <a:noFill/>
            </a:ln>
          </p:spPr>
          <p:txBody>
            <a:bodyPr spcFirstLastPara="1" wrap="square" lIns="121900" tIns="121900" rIns="121900" bIns="121900" anchor="ctr" anchorCtr="0">
              <a:noAutofit/>
            </a:bodyPr>
            <a:lstStyle/>
            <a:p>
              <a:pPr>
                <a:defRPr/>
              </a:pPr>
              <a:r>
                <a:rPr lang="el-GR" sz="2000" dirty="0">
                  <a:solidFill>
                    <a:srgbClr val="629DD1"/>
                  </a:solidFill>
                  <a:latin typeface="Fira Sans Extra Condensed Medium"/>
                  <a:sym typeface="Fira Sans Extra Condensed Medium"/>
                </a:rPr>
                <a:t>'</a:t>
              </a:r>
              <a:r>
                <a:rPr lang="el-GR" sz="2000" dirty="0" err="1">
                  <a:solidFill>
                    <a:srgbClr val="629DD1"/>
                  </a:solidFill>
                  <a:latin typeface="Fira Sans Extra Condensed Medium"/>
                  <a:sym typeface="Fira Sans Extra Condensed Medium"/>
                </a:rPr>
                <a:t>Ιδρυση</a:t>
              </a:r>
              <a:r>
                <a:rPr lang="el-GR" sz="2000" dirty="0">
                  <a:solidFill>
                    <a:srgbClr val="629DD1"/>
                  </a:solidFill>
                  <a:latin typeface="Fira Sans Extra Condensed Medium"/>
                  <a:sym typeface="Fira Sans Extra Condensed Medium"/>
                </a:rPr>
                <a:t> εκπαιδευτικού κέντρου επαγγελματικής εκπαίδευσης και κατάρτισης του Ε.Κ.Α.Β. </a:t>
              </a:r>
              <a:endParaRPr lang="el-GR" dirty="0"/>
            </a:p>
          </p:txBody>
        </p:sp>
        <p:sp>
          <p:nvSpPr>
            <p:cNvPr id="1540" name="Google Shape;1540;p38"/>
            <p:cNvSpPr/>
            <p:nvPr/>
          </p:nvSpPr>
          <p:spPr>
            <a:xfrm flipH="1">
              <a:off x="4843813" y="3663475"/>
              <a:ext cx="524500" cy="561975"/>
            </a:xfrm>
            <a:custGeom>
              <a:avLst/>
              <a:gdLst/>
              <a:ahLst/>
              <a:cxnLst/>
              <a:rect l="l" t="t" r="r" b="b"/>
              <a:pathLst>
                <a:path w="20980" h="22479" extrusionOk="0">
                  <a:moveTo>
                    <a:pt x="10481" y="5447"/>
                  </a:moveTo>
                  <a:cubicBezTo>
                    <a:pt x="13615" y="5447"/>
                    <a:pt x="16567" y="7361"/>
                    <a:pt x="17741" y="10466"/>
                  </a:cubicBezTo>
                  <a:cubicBezTo>
                    <a:pt x="19253" y="14467"/>
                    <a:pt x="17229" y="18944"/>
                    <a:pt x="13217" y="20444"/>
                  </a:cubicBezTo>
                  <a:cubicBezTo>
                    <a:pt x="12317" y="20784"/>
                    <a:pt x="11392" y="20945"/>
                    <a:pt x="10484" y="20945"/>
                  </a:cubicBezTo>
                  <a:cubicBezTo>
                    <a:pt x="7352" y="20945"/>
                    <a:pt x="4402" y="19032"/>
                    <a:pt x="3239" y="15931"/>
                  </a:cubicBezTo>
                  <a:cubicBezTo>
                    <a:pt x="1727" y="11919"/>
                    <a:pt x="3751" y="7454"/>
                    <a:pt x="7763" y="5942"/>
                  </a:cubicBezTo>
                  <a:cubicBezTo>
                    <a:pt x="8659" y="5606"/>
                    <a:pt x="9578" y="5447"/>
                    <a:pt x="10481" y="5447"/>
                  </a:cubicBezTo>
                  <a:close/>
                  <a:moveTo>
                    <a:pt x="16467" y="1"/>
                  </a:moveTo>
                  <a:lnTo>
                    <a:pt x="11907" y="4025"/>
                  </a:lnTo>
                  <a:cubicBezTo>
                    <a:pt x="11442" y="3952"/>
                    <a:pt x="10969" y="3915"/>
                    <a:pt x="10492" y="3915"/>
                  </a:cubicBezTo>
                  <a:cubicBezTo>
                    <a:pt x="9406" y="3915"/>
                    <a:pt x="8299" y="4108"/>
                    <a:pt x="7216" y="4513"/>
                  </a:cubicBezTo>
                  <a:cubicBezTo>
                    <a:pt x="2429" y="6323"/>
                    <a:pt x="1" y="11669"/>
                    <a:pt x="1810" y="16467"/>
                  </a:cubicBezTo>
                  <a:cubicBezTo>
                    <a:pt x="3205" y="20189"/>
                    <a:pt x="6742" y="22479"/>
                    <a:pt x="10499" y="22479"/>
                  </a:cubicBezTo>
                  <a:cubicBezTo>
                    <a:pt x="11584" y="22479"/>
                    <a:pt x="12688" y="22287"/>
                    <a:pt x="13764" y="21884"/>
                  </a:cubicBezTo>
                  <a:cubicBezTo>
                    <a:pt x="18551" y="20075"/>
                    <a:pt x="20979" y="14717"/>
                    <a:pt x="19170" y="9931"/>
                  </a:cubicBezTo>
                  <a:cubicBezTo>
                    <a:pt x="18586" y="8371"/>
                    <a:pt x="17634" y="7073"/>
                    <a:pt x="16443" y="6085"/>
                  </a:cubicBezTo>
                  <a:lnTo>
                    <a:pt x="16467" y="1"/>
                  </a:lnTo>
                  <a:close/>
                </a:path>
              </a:pathLst>
            </a:custGeom>
            <a:solidFill>
              <a:schemeClr val="accent2"/>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541" name="Google Shape;1541;p38"/>
            <p:cNvSpPr/>
            <p:nvPr/>
          </p:nvSpPr>
          <p:spPr>
            <a:xfrm flipH="1">
              <a:off x="4665800" y="3417825"/>
              <a:ext cx="601000" cy="386075"/>
            </a:xfrm>
            <a:custGeom>
              <a:avLst/>
              <a:gdLst/>
              <a:ahLst/>
              <a:cxnLst/>
              <a:rect l="l" t="t" r="r" b="b"/>
              <a:pathLst>
                <a:path w="24040" h="15443" extrusionOk="0">
                  <a:moveTo>
                    <a:pt x="5585" y="1"/>
                  </a:moveTo>
                  <a:lnTo>
                    <a:pt x="1" y="5596"/>
                  </a:lnTo>
                  <a:cubicBezTo>
                    <a:pt x="6585" y="11169"/>
                    <a:pt x="14907" y="14752"/>
                    <a:pt x="24039" y="15443"/>
                  </a:cubicBezTo>
                  <a:lnTo>
                    <a:pt x="24039" y="7537"/>
                  </a:lnTo>
                  <a:cubicBezTo>
                    <a:pt x="17074" y="6894"/>
                    <a:pt x="10728" y="4168"/>
                    <a:pt x="5585" y="1"/>
                  </a:cubicBezTo>
                  <a:close/>
                </a:path>
              </a:pathLst>
            </a:custGeom>
            <a:solidFill>
              <a:schemeClr val="accent2"/>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22" name="Google Shape;8734;p72">
            <a:extLst>
              <a:ext uri="{FF2B5EF4-FFF2-40B4-BE49-F238E27FC236}">
                <a16:creationId xmlns:a16="http://schemas.microsoft.com/office/drawing/2014/main" id="{E317150D-9C98-0283-CBFC-D2AE7312B141}"/>
              </a:ext>
            </a:extLst>
          </p:cNvPr>
          <p:cNvGrpSpPr/>
          <p:nvPr/>
        </p:nvGrpSpPr>
        <p:grpSpPr>
          <a:xfrm>
            <a:off x="286061" y="1045298"/>
            <a:ext cx="707615" cy="616173"/>
            <a:chOff x="-1951475" y="3273100"/>
            <a:chExt cx="291875" cy="222775"/>
          </a:xfrm>
          <a:solidFill>
            <a:srgbClr val="00B0F0"/>
          </a:solidFill>
        </p:grpSpPr>
        <p:sp>
          <p:nvSpPr>
            <p:cNvPr id="4" name="Google Shape;8735;p72">
              <a:extLst>
                <a:ext uri="{FF2B5EF4-FFF2-40B4-BE49-F238E27FC236}">
                  <a16:creationId xmlns:a16="http://schemas.microsoft.com/office/drawing/2014/main" id="{339DB5D8-6532-66FE-A6C6-49FF9FA8ED0A}"/>
                </a:ext>
              </a:extLst>
            </p:cNvPr>
            <p:cNvSpPr/>
            <p:nvPr/>
          </p:nvSpPr>
          <p:spPr>
            <a:xfrm>
              <a:off x="-1951475" y="3325050"/>
              <a:ext cx="51225" cy="119250"/>
            </a:xfrm>
            <a:custGeom>
              <a:avLst/>
              <a:gdLst/>
              <a:ahLst/>
              <a:cxnLst/>
              <a:rect l="l" t="t" r="r" b="b"/>
              <a:pathLst>
                <a:path w="2049" h="4770" extrusionOk="0">
                  <a:moveTo>
                    <a:pt x="1033" y="0"/>
                  </a:moveTo>
                  <a:cubicBezTo>
                    <a:pt x="518" y="0"/>
                    <a:pt x="0" y="339"/>
                    <a:pt x="0" y="1004"/>
                  </a:cubicBezTo>
                  <a:lnTo>
                    <a:pt x="0" y="3777"/>
                  </a:lnTo>
                  <a:cubicBezTo>
                    <a:pt x="0" y="4438"/>
                    <a:pt x="512" y="4769"/>
                    <a:pt x="1024" y="4769"/>
                  </a:cubicBezTo>
                  <a:cubicBezTo>
                    <a:pt x="1536" y="4769"/>
                    <a:pt x="2048" y="4438"/>
                    <a:pt x="2048" y="3777"/>
                  </a:cubicBezTo>
                  <a:lnTo>
                    <a:pt x="2048" y="1004"/>
                  </a:lnTo>
                  <a:cubicBezTo>
                    <a:pt x="2048" y="331"/>
                    <a:pt x="1542" y="0"/>
                    <a:pt x="1033" y="0"/>
                  </a:cubicBezTo>
                  <a:close/>
                </a:path>
              </a:pathLst>
            </a:custGeom>
            <a:grpFill/>
            <a:ln>
              <a:noFill/>
            </a:ln>
          </p:spPr>
          <p:txBody>
            <a:bodyPr spcFirstLastPara="1" wrap="square" lIns="91425" tIns="91425" rIns="91425" bIns="91425" anchor="ctr" anchorCtr="0">
              <a:noAutofit/>
            </a:bodyPr>
            <a:lstStyle/>
            <a:p>
              <a:pPr>
                <a:defRPr/>
              </a:pPr>
              <a:endParaRPr>
                <a:solidFill>
                  <a:srgbClr val="000000"/>
                </a:solidFill>
                <a:cs typeface="Arial"/>
                <a:sym typeface="Arial"/>
              </a:endParaRPr>
            </a:p>
          </p:txBody>
        </p:sp>
        <p:sp>
          <p:nvSpPr>
            <p:cNvPr id="5" name="Google Shape;8736;p72">
              <a:extLst>
                <a:ext uri="{FF2B5EF4-FFF2-40B4-BE49-F238E27FC236}">
                  <a16:creationId xmlns:a16="http://schemas.microsoft.com/office/drawing/2014/main" id="{B91C4007-0828-DCF2-CB33-C018010A83B2}"/>
                </a:ext>
              </a:extLst>
            </p:cNvPr>
            <p:cNvSpPr/>
            <p:nvPr/>
          </p:nvSpPr>
          <p:spPr>
            <a:xfrm>
              <a:off x="-1711250" y="3273100"/>
              <a:ext cx="51650" cy="221725"/>
            </a:xfrm>
            <a:custGeom>
              <a:avLst/>
              <a:gdLst/>
              <a:ahLst/>
              <a:cxnLst/>
              <a:rect l="l" t="t" r="r" b="b"/>
              <a:pathLst>
                <a:path w="2066" h="8869" extrusionOk="0">
                  <a:moveTo>
                    <a:pt x="1027" y="0"/>
                  </a:moveTo>
                  <a:cubicBezTo>
                    <a:pt x="608" y="0"/>
                    <a:pt x="186" y="229"/>
                    <a:pt x="32" y="719"/>
                  </a:cubicBezTo>
                  <a:cubicBezTo>
                    <a:pt x="0" y="814"/>
                    <a:pt x="0" y="940"/>
                    <a:pt x="0" y="1003"/>
                  </a:cubicBezTo>
                  <a:lnTo>
                    <a:pt x="0" y="7871"/>
                  </a:lnTo>
                  <a:cubicBezTo>
                    <a:pt x="0" y="7934"/>
                    <a:pt x="0" y="8060"/>
                    <a:pt x="32" y="8123"/>
                  </a:cubicBezTo>
                  <a:cubicBezTo>
                    <a:pt x="173" y="8632"/>
                    <a:pt x="594" y="8869"/>
                    <a:pt x="1015" y="8869"/>
                  </a:cubicBezTo>
                  <a:cubicBezTo>
                    <a:pt x="1532" y="8869"/>
                    <a:pt x="2048" y="8513"/>
                    <a:pt x="2048" y="7871"/>
                  </a:cubicBezTo>
                  <a:lnTo>
                    <a:pt x="2048" y="1003"/>
                  </a:lnTo>
                  <a:cubicBezTo>
                    <a:pt x="2066" y="356"/>
                    <a:pt x="1549" y="0"/>
                    <a:pt x="1027" y="0"/>
                  </a:cubicBezTo>
                  <a:close/>
                </a:path>
              </a:pathLst>
            </a:custGeom>
            <a:grpFill/>
            <a:ln>
              <a:noFill/>
            </a:ln>
          </p:spPr>
          <p:txBody>
            <a:bodyPr spcFirstLastPara="1" wrap="square" lIns="91425" tIns="91425" rIns="91425" bIns="91425" anchor="ctr" anchorCtr="0">
              <a:noAutofit/>
            </a:bodyPr>
            <a:lstStyle/>
            <a:p>
              <a:pPr>
                <a:defRPr/>
              </a:pPr>
              <a:endParaRPr>
                <a:solidFill>
                  <a:srgbClr val="000000"/>
                </a:solidFill>
                <a:cs typeface="Arial"/>
                <a:sym typeface="Arial"/>
              </a:endParaRPr>
            </a:p>
          </p:txBody>
        </p:sp>
        <p:sp>
          <p:nvSpPr>
            <p:cNvPr id="6" name="Google Shape;8737;p72">
              <a:extLst>
                <a:ext uri="{FF2B5EF4-FFF2-40B4-BE49-F238E27FC236}">
                  <a16:creationId xmlns:a16="http://schemas.microsoft.com/office/drawing/2014/main" id="{C431037B-4D1A-F8ED-DACE-D59DA55B1AFE}"/>
                </a:ext>
              </a:extLst>
            </p:cNvPr>
            <p:cNvSpPr/>
            <p:nvPr/>
          </p:nvSpPr>
          <p:spPr>
            <a:xfrm>
              <a:off x="-1886900" y="3296575"/>
              <a:ext cx="156775" cy="199300"/>
            </a:xfrm>
            <a:custGeom>
              <a:avLst/>
              <a:gdLst/>
              <a:ahLst/>
              <a:cxnLst/>
              <a:rect l="l" t="t" r="r" b="b"/>
              <a:pathLst>
                <a:path w="6271" h="7972" extrusionOk="0">
                  <a:moveTo>
                    <a:pt x="851" y="5672"/>
                  </a:moveTo>
                  <a:lnTo>
                    <a:pt x="3466" y="6333"/>
                  </a:lnTo>
                  <a:cubicBezTo>
                    <a:pt x="3277" y="6869"/>
                    <a:pt x="2773" y="7279"/>
                    <a:pt x="2174" y="7279"/>
                  </a:cubicBezTo>
                  <a:cubicBezTo>
                    <a:pt x="1418" y="7279"/>
                    <a:pt x="788" y="6648"/>
                    <a:pt x="788" y="5892"/>
                  </a:cubicBezTo>
                  <a:cubicBezTo>
                    <a:pt x="851" y="5798"/>
                    <a:pt x="851" y="5735"/>
                    <a:pt x="851" y="5672"/>
                  </a:cubicBezTo>
                  <a:close/>
                  <a:moveTo>
                    <a:pt x="6270" y="1"/>
                  </a:moveTo>
                  <a:lnTo>
                    <a:pt x="1" y="1576"/>
                  </a:lnTo>
                  <a:cubicBezTo>
                    <a:pt x="95" y="1734"/>
                    <a:pt x="127" y="1923"/>
                    <a:pt x="127" y="2143"/>
                  </a:cubicBezTo>
                  <a:lnTo>
                    <a:pt x="127" y="4916"/>
                  </a:lnTo>
                  <a:cubicBezTo>
                    <a:pt x="127" y="5105"/>
                    <a:pt x="95" y="5294"/>
                    <a:pt x="1" y="5514"/>
                  </a:cubicBezTo>
                  <a:lnTo>
                    <a:pt x="158" y="5546"/>
                  </a:lnTo>
                  <a:cubicBezTo>
                    <a:pt x="127" y="5672"/>
                    <a:pt x="127" y="5829"/>
                    <a:pt x="127" y="5924"/>
                  </a:cubicBezTo>
                  <a:cubicBezTo>
                    <a:pt x="127" y="7090"/>
                    <a:pt x="1040" y="7972"/>
                    <a:pt x="2174" y="7972"/>
                  </a:cubicBezTo>
                  <a:cubicBezTo>
                    <a:pt x="3120" y="7972"/>
                    <a:pt x="3907" y="7405"/>
                    <a:pt x="4159" y="6522"/>
                  </a:cubicBezTo>
                  <a:lnTo>
                    <a:pt x="6270" y="7090"/>
                  </a:lnTo>
                  <a:lnTo>
                    <a:pt x="6270" y="5672"/>
                  </a:lnTo>
                  <a:lnTo>
                    <a:pt x="6270" y="2238"/>
                  </a:lnTo>
                  <a:lnTo>
                    <a:pt x="6270" y="1"/>
                  </a:lnTo>
                  <a:close/>
                </a:path>
              </a:pathLst>
            </a:custGeom>
            <a:grpFill/>
            <a:ln>
              <a:noFill/>
            </a:ln>
          </p:spPr>
          <p:txBody>
            <a:bodyPr spcFirstLastPara="1" wrap="square" lIns="91425" tIns="91425" rIns="91425" bIns="91425" anchor="ctr" anchorCtr="0">
              <a:noAutofit/>
            </a:bodyPr>
            <a:lstStyle/>
            <a:p>
              <a:pPr>
                <a:defRPr/>
              </a:pPr>
              <a:endParaRPr>
                <a:solidFill>
                  <a:srgbClr val="000000"/>
                </a:solidFill>
                <a:cs typeface="Arial"/>
                <a:sym typeface="Arial"/>
              </a:endParaRPr>
            </a:p>
          </p:txBody>
        </p:sp>
      </p:grpSp>
      <p:sp>
        <p:nvSpPr>
          <p:cNvPr id="8" name="Google Shape;1499;p38"/>
          <p:cNvSpPr txBox="1"/>
          <p:nvPr/>
        </p:nvSpPr>
        <p:spPr>
          <a:xfrm>
            <a:off x="106938" y="4715438"/>
            <a:ext cx="4555581" cy="1106550"/>
          </a:xfrm>
          <a:prstGeom prst="rect">
            <a:avLst/>
          </a:prstGeom>
          <a:noFill/>
          <a:ln>
            <a:noFill/>
          </a:ln>
        </p:spPr>
        <p:txBody>
          <a:bodyPr spcFirstLastPara="1" wrap="square" lIns="121900" tIns="121900" rIns="121900" bIns="121900" anchor="ctr" anchorCtr="0">
            <a:noAutofit/>
          </a:bodyPr>
          <a:lstStyle/>
          <a:p>
            <a:pPr>
              <a:defRPr/>
            </a:pPr>
            <a:r>
              <a:rPr lang="el-GR" sz="2000" dirty="0">
                <a:solidFill>
                  <a:srgbClr val="4A66AC"/>
                </a:solidFill>
                <a:latin typeface="Fira Sans Extra Condensed Medium"/>
                <a:sym typeface="Fira Sans Extra Condensed Medium"/>
              </a:rPr>
              <a:t>Αναβάθμιση του Τμήματος Επειγόντων Περιστατικών του Γ.Ν. Γρεβενών</a:t>
            </a:r>
            <a:endParaRPr lang="el-GR" dirty="0"/>
          </a:p>
        </p:txBody>
      </p:sp>
      <p:sp>
        <p:nvSpPr>
          <p:cNvPr id="9" name="Google Shape;1499;p38">
            <a:extLst>
              <a:ext uri="{FF2B5EF4-FFF2-40B4-BE49-F238E27FC236}">
                <a16:creationId xmlns:a16="http://schemas.microsoft.com/office/drawing/2014/main" id="{A5968D0C-510B-EF09-09B9-974D17026FDA}"/>
              </a:ext>
            </a:extLst>
          </p:cNvPr>
          <p:cNvSpPr txBox="1"/>
          <p:nvPr/>
        </p:nvSpPr>
        <p:spPr>
          <a:xfrm>
            <a:off x="8407048" y="1878679"/>
            <a:ext cx="3299853" cy="559663"/>
          </a:xfrm>
          <a:prstGeom prst="rect">
            <a:avLst/>
          </a:prstGeom>
          <a:noFill/>
          <a:ln>
            <a:noFill/>
          </a:ln>
        </p:spPr>
        <p:txBody>
          <a:bodyPr spcFirstLastPara="1" wrap="square" lIns="121900" tIns="121900" rIns="121900" bIns="121900" anchor="ctr" anchorCtr="0">
            <a:noAutofit/>
          </a:bodyPr>
          <a:lstStyle/>
          <a:p>
            <a:pPr>
              <a:defRPr/>
            </a:pPr>
            <a:r>
              <a:rPr lang="el-GR" sz="2000" dirty="0">
                <a:solidFill>
                  <a:srgbClr val="4A66AC"/>
                </a:solidFill>
                <a:latin typeface="Fira Sans Extra Condensed Medium"/>
                <a:sym typeface="Fira Sans Extra Condensed Medium"/>
              </a:rPr>
              <a:t>Δημιουργία μονοπατιών και διαδρομών πεζοπορίας</a:t>
            </a:r>
            <a:endParaRPr lang="el-GR" dirty="0"/>
          </a:p>
        </p:txBody>
      </p:sp>
      <p:sp>
        <p:nvSpPr>
          <p:cNvPr id="13" name="Google Shape;1516;p38">
            <a:extLst>
              <a:ext uri="{FF2B5EF4-FFF2-40B4-BE49-F238E27FC236}">
                <a16:creationId xmlns:a16="http://schemas.microsoft.com/office/drawing/2014/main" id="{76609D03-4217-AEBF-664E-AF8D90CD8D2F}"/>
              </a:ext>
            </a:extLst>
          </p:cNvPr>
          <p:cNvSpPr txBox="1"/>
          <p:nvPr/>
        </p:nvSpPr>
        <p:spPr>
          <a:xfrm>
            <a:off x="310853" y="3669293"/>
            <a:ext cx="3761100" cy="572800"/>
          </a:xfrm>
          <a:prstGeom prst="rect">
            <a:avLst/>
          </a:prstGeom>
          <a:noFill/>
          <a:ln>
            <a:noFill/>
          </a:ln>
        </p:spPr>
        <p:txBody>
          <a:bodyPr spcFirstLastPara="1" wrap="square" lIns="121900" tIns="121900" rIns="121900" bIns="121900" anchor="ctr" anchorCtr="0">
            <a:noAutofit/>
          </a:bodyPr>
          <a:lstStyle/>
          <a:p>
            <a:pPr>
              <a:defRPr/>
            </a:pPr>
            <a:r>
              <a:rPr lang="el-GR" sz="2000" dirty="0">
                <a:solidFill>
                  <a:srgbClr val="5AA2AE"/>
                </a:solidFill>
                <a:latin typeface="Fira Sans Extra Condensed Medium"/>
                <a:sym typeface="Fira Sans Extra Condensed Medium"/>
              </a:rPr>
              <a:t>Στέγαση πυροσβεστικής υπηρεσίας και διοικητικών υπηρεσιών</a:t>
            </a:r>
            <a:endParaRPr lang="el-GR" dirty="0"/>
          </a:p>
        </p:txBody>
      </p:sp>
      <p:sp>
        <p:nvSpPr>
          <p:cNvPr id="3" name="Google Shape;414;p13">
            <a:extLst>
              <a:ext uri="{FF2B5EF4-FFF2-40B4-BE49-F238E27FC236}">
                <a16:creationId xmlns:a16="http://schemas.microsoft.com/office/drawing/2014/main" id="{D5F67DE0-CCEF-9D07-8B9F-AB95F0AE7D12}"/>
              </a:ext>
            </a:extLst>
          </p:cNvPr>
          <p:cNvSpPr/>
          <p:nvPr/>
        </p:nvSpPr>
        <p:spPr>
          <a:xfrm>
            <a:off x="779435" y="158892"/>
            <a:ext cx="7669240"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buFont typeface="Arial"/>
              <a:buNone/>
              <a:defRPr/>
            </a:pPr>
            <a:r>
              <a:rPr lang="el-GR" sz="3300" kern="0">
                <a:solidFill>
                  <a:srgbClr val="002060"/>
                </a:solidFill>
                <a:latin typeface="Arial Black"/>
                <a:ea typeface="Arial Black"/>
                <a:cs typeface="Arial Black"/>
                <a:sym typeface="Arial Black"/>
              </a:rPr>
              <a:t>Άμεσες παρεμβάσεις - Γρεβενά</a:t>
            </a:r>
            <a:endParaRPr lang="el-GR" sz="3300" kern="0">
              <a:solidFill>
                <a:srgbClr val="002060"/>
              </a:solidFill>
              <a:latin typeface="Arial Black"/>
              <a:ea typeface="Arial Black"/>
              <a:cs typeface="Arial Black"/>
            </a:endParaRPr>
          </a:p>
        </p:txBody>
      </p:sp>
      <p:cxnSp>
        <p:nvCxnSpPr>
          <p:cNvPr id="10" name="Ευθεία γραμμή σύνδεσης 9">
            <a:extLst>
              <a:ext uri="{FF2B5EF4-FFF2-40B4-BE49-F238E27FC236}">
                <a16:creationId xmlns:a16="http://schemas.microsoft.com/office/drawing/2014/main" id="{3594813D-2BC7-8FD0-7914-3B59FA49E062}"/>
              </a:ext>
            </a:extLst>
          </p:cNvPr>
          <p:cNvCxnSpPr/>
          <p:nvPr/>
        </p:nvCxnSpPr>
        <p:spPr>
          <a:xfrm>
            <a:off x="261643" y="779953"/>
            <a:ext cx="11668715" cy="0"/>
          </a:xfrm>
          <a:prstGeom prst="line">
            <a:avLst/>
          </a:prstGeom>
        </p:spPr>
        <p:style>
          <a:lnRef idx="3">
            <a:schemeClr val="accent1"/>
          </a:lnRef>
          <a:fillRef idx="0">
            <a:schemeClr val="accent1"/>
          </a:fillRef>
          <a:effectRef idx="2">
            <a:schemeClr val="accent1"/>
          </a:effectRef>
          <a:fontRef idx="minor">
            <a:schemeClr val="tx1"/>
          </a:fontRef>
        </p:style>
      </p:cxnSp>
      <p:sp>
        <p:nvSpPr>
          <p:cNvPr id="12" name="Google Shape;1491;p38">
            <a:extLst>
              <a:ext uri="{FF2B5EF4-FFF2-40B4-BE49-F238E27FC236}">
                <a16:creationId xmlns:a16="http://schemas.microsoft.com/office/drawing/2014/main" id="{D9CC85D6-2505-60AF-A0B0-D57B78E09538}"/>
              </a:ext>
            </a:extLst>
          </p:cNvPr>
          <p:cNvSpPr txBox="1"/>
          <p:nvPr/>
        </p:nvSpPr>
        <p:spPr>
          <a:xfrm>
            <a:off x="1474233" y="1118560"/>
            <a:ext cx="3798666" cy="537697"/>
          </a:xfrm>
          <a:prstGeom prst="rect">
            <a:avLst/>
          </a:prstGeom>
          <a:noFill/>
          <a:ln>
            <a:noFill/>
          </a:ln>
        </p:spPr>
        <p:txBody>
          <a:bodyPr spcFirstLastPara="1" wrap="square" lIns="121900" tIns="121900" rIns="121900" bIns="121900" anchor="ctr" anchorCtr="0">
            <a:noAutofit/>
          </a:bodyPr>
          <a:lstStyle/>
          <a:p>
            <a:pPr>
              <a:defRPr/>
            </a:pPr>
            <a:r>
              <a:rPr lang="el-GR" sz="2000">
                <a:solidFill>
                  <a:srgbClr val="629DD1"/>
                </a:solidFill>
                <a:latin typeface="Fira Sans Extra Condensed Medium"/>
                <a:cs typeface="Arial"/>
                <a:sym typeface="Fira Sans Extra Condensed Medium"/>
              </a:rPr>
              <a:t>Κατασκευή αυτοκινητόδρομου Ε65- Τμήμα Τρίκαλα- Εγνατία Οδός| 480 εκατ. </a:t>
            </a:r>
            <a:r>
              <a:rPr lang="el-GR" sz="2000" b="1">
                <a:solidFill>
                  <a:srgbClr val="629DD1"/>
                </a:solidFill>
                <a:ea typeface="+mn-lt"/>
                <a:cs typeface="+mn-lt"/>
                <a:sym typeface="Fira Sans Extra Condensed Medium"/>
              </a:rPr>
              <a:t>€</a:t>
            </a:r>
            <a:endParaRPr lang="el-GR" sz="2000">
              <a:solidFill>
                <a:srgbClr val="629DD1"/>
              </a:solidFill>
              <a:ea typeface="+mn-lt"/>
              <a:cs typeface="+mn-lt"/>
            </a:endParaRPr>
          </a:p>
        </p:txBody>
      </p:sp>
      <p:sp>
        <p:nvSpPr>
          <p:cNvPr id="14" name="Google Shape;1522;p38">
            <a:extLst>
              <a:ext uri="{FF2B5EF4-FFF2-40B4-BE49-F238E27FC236}">
                <a16:creationId xmlns:a16="http://schemas.microsoft.com/office/drawing/2014/main" id="{C06EB1C2-B1EB-324E-AD44-2BFD094CE24A}"/>
              </a:ext>
            </a:extLst>
          </p:cNvPr>
          <p:cNvSpPr txBox="1"/>
          <p:nvPr/>
        </p:nvSpPr>
        <p:spPr>
          <a:xfrm>
            <a:off x="632656" y="2381460"/>
            <a:ext cx="4050672" cy="572800"/>
          </a:xfrm>
          <a:prstGeom prst="rect">
            <a:avLst/>
          </a:prstGeom>
          <a:noFill/>
          <a:ln>
            <a:noFill/>
          </a:ln>
        </p:spPr>
        <p:txBody>
          <a:bodyPr spcFirstLastPara="1" wrap="square" lIns="121900" tIns="121900" rIns="121900" bIns="121900" anchor="ctr" anchorCtr="0">
            <a:noAutofit/>
          </a:bodyPr>
          <a:lstStyle/>
          <a:p>
            <a:pPr>
              <a:defRPr/>
            </a:pPr>
            <a:r>
              <a:rPr lang="el-GR" sz="2000">
                <a:solidFill>
                  <a:srgbClr val="7F8FA9"/>
                </a:solidFill>
                <a:latin typeface="Fira Sans Extra Condensed Medium"/>
              </a:rPr>
              <a:t>Έργα ανάπτυξης δικτύων </a:t>
            </a:r>
          </a:p>
          <a:p>
            <a:pPr>
              <a:defRPr/>
            </a:pPr>
            <a:r>
              <a:rPr lang="el-GR" sz="2000">
                <a:solidFill>
                  <a:srgbClr val="7F8FA9"/>
                </a:solidFill>
                <a:latin typeface="Fira Sans Extra Condensed Medium"/>
              </a:rPr>
              <a:t>φυσικού αερίου</a:t>
            </a:r>
          </a:p>
        </p:txBody>
      </p:sp>
      <p:sp>
        <p:nvSpPr>
          <p:cNvPr id="7" name="Google Shape;1516;p38">
            <a:extLst>
              <a:ext uri="{FF2B5EF4-FFF2-40B4-BE49-F238E27FC236}">
                <a16:creationId xmlns:a16="http://schemas.microsoft.com/office/drawing/2014/main" id="{4834FE67-3BE2-8EB2-A214-09AF7249F465}"/>
              </a:ext>
            </a:extLst>
          </p:cNvPr>
          <p:cNvSpPr txBox="1"/>
          <p:nvPr/>
        </p:nvSpPr>
        <p:spPr>
          <a:xfrm>
            <a:off x="3276994" y="6126308"/>
            <a:ext cx="4429202" cy="572800"/>
          </a:xfrm>
          <a:prstGeom prst="rect">
            <a:avLst/>
          </a:prstGeom>
          <a:noFill/>
          <a:ln>
            <a:noFill/>
          </a:ln>
        </p:spPr>
        <p:txBody>
          <a:bodyPr spcFirstLastPara="1" wrap="square" lIns="121900" tIns="121900" rIns="121900" bIns="121900" anchor="ctr" anchorCtr="0">
            <a:noAutofit/>
          </a:bodyPr>
          <a:lstStyle/>
          <a:p>
            <a:pPr>
              <a:defRPr/>
            </a:pPr>
            <a:r>
              <a:rPr lang="el-GR" sz="2000" dirty="0">
                <a:solidFill>
                  <a:srgbClr val="5AA2AE"/>
                </a:solidFill>
                <a:latin typeface="Fira Sans Extra Condensed Medium"/>
                <a:sym typeface="Fira Sans Extra Condensed Medium"/>
              </a:rPr>
              <a:t>Αναβάθμιση Κέντρου Υγείας </a:t>
            </a:r>
            <a:r>
              <a:rPr lang="el-GR" sz="2000" dirty="0" err="1">
                <a:solidFill>
                  <a:srgbClr val="5AA2AE"/>
                </a:solidFill>
                <a:latin typeface="Fira Sans Extra Condensed Medium"/>
                <a:sym typeface="Fira Sans Extra Condensed Medium"/>
              </a:rPr>
              <a:t>Δεσκάτης</a:t>
            </a:r>
            <a:endParaRPr lang="el-GR" dirty="0"/>
          </a:p>
          <a:p>
            <a:pPr>
              <a:defRPr/>
            </a:pPr>
            <a:endParaRPr lang="el-GR" sz="2000" dirty="0">
              <a:solidFill>
                <a:srgbClr val="5AA2AE"/>
              </a:solidFill>
              <a:latin typeface="Fira Sans Extra Condensed Medium"/>
              <a:ea typeface="Fira Sans Extra Condensed Medium"/>
              <a:cs typeface="Fira Sans Extra Condensed Medium"/>
              <a:sym typeface="Fira Sans Extra Condensed Medium"/>
            </a:endParaRPr>
          </a:p>
        </p:txBody>
      </p:sp>
      <p:sp>
        <p:nvSpPr>
          <p:cNvPr id="11" name="Google Shape;1516;p38">
            <a:extLst>
              <a:ext uri="{FF2B5EF4-FFF2-40B4-BE49-F238E27FC236}">
                <a16:creationId xmlns:a16="http://schemas.microsoft.com/office/drawing/2014/main" id="{E40C28B8-1C06-0F56-E169-AB79D0AA3246}"/>
              </a:ext>
            </a:extLst>
          </p:cNvPr>
          <p:cNvSpPr txBox="1"/>
          <p:nvPr/>
        </p:nvSpPr>
        <p:spPr>
          <a:xfrm>
            <a:off x="8289180" y="2928509"/>
            <a:ext cx="3761100" cy="572800"/>
          </a:xfrm>
          <a:prstGeom prst="rect">
            <a:avLst/>
          </a:prstGeom>
          <a:noFill/>
          <a:ln>
            <a:noFill/>
          </a:ln>
        </p:spPr>
        <p:txBody>
          <a:bodyPr spcFirstLastPara="1" wrap="square" lIns="121900" tIns="121900" rIns="121900" bIns="121900" anchor="ctr" anchorCtr="0">
            <a:noAutofit/>
          </a:bodyPr>
          <a:lstStyle/>
          <a:p>
            <a:pPr>
              <a:defRPr/>
            </a:pPr>
            <a:r>
              <a:rPr lang="el-GR" sz="2000">
                <a:solidFill>
                  <a:srgbClr val="5AA2AE"/>
                </a:solidFill>
                <a:latin typeface="Fira Sans Extra Condensed Medium"/>
                <a:sym typeface="Fira Sans Extra Condensed Medium"/>
              </a:rPr>
              <a:t>Τμήμα Δοκίμων </a:t>
            </a:r>
            <a:endParaRPr lang="el-GR">
              <a:solidFill>
                <a:srgbClr val="000000"/>
              </a:solidFill>
              <a:latin typeface="Arial"/>
              <a:cs typeface="Arial"/>
            </a:endParaRPr>
          </a:p>
          <a:p>
            <a:pPr>
              <a:defRPr/>
            </a:pPr>
            <a:r>
              <a:rPr lang="el-GR" sz="2000">
                <a:solidFill>
                  <a:srgbClr val="5AA2AE"/>
                </a:solidFill>
                <a:latin typeface="Fira Sans Extra Condensed Medium"/>
                <a:sym typeface="Fira Sans Extra Condensed Medium"/>
              </a:rPr>
              <a:t>Αστυφυλάκων Γρεβενών </a:t>
            </a:r>
            <a:endParaRPr lang="el-GR">
              <a:cs typeface="Arial"/>
            </a:endParaRPr>
          </a:p>
        </p:txBody>
      </p:sp>
    </p:spTree>
    <p:extLst>
      <p:ext uri="{BB962C8B-B14F-4D97-AF65-F5344CB8AC3E}">
        <p14:creationId xmlns:p14="http://schemas.microsoft.com/office/powerpoint/2010/main" val="42092846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Google Shape;1275;p29">
            <a:extLst>
              <a:ext uri="{FF2B5EF4-FFF2-40B4-BE49-F238E27FC236}">
                <a16:creationId xmlns:a16="http://schemas.microsoft.com/office/drawing/2014/main" id="{403935F5-B6E5-4AA6-948A-6F7130264969}"/>
              </a:ext>
            </a:extLst>
          </p:cNvPr>
          <p:cNvSpPr/>
          <p:nvPr/>
        </p:nvSpPr>
        <p:spPr>
          <a:xfrm>
            <a:off x="57081" y="1575365"/>
            <a:ext cx="3761089" cy="4299238"/>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7" name="Google Shape;1282;p29">
            <a:extLst>
              <a:ext uri="{FF2B5EF4-FFF2-40B4-BE49-F238E27FC236}">
                <a16:creationId xmlns:a16="http://schemas.microsoft.com/office/drawing/2014/main" id="{EFC5EEDC-E669-F295-8310-1C3F5DE693C0}"/>
              </a:ext>
            </a:extLst>
          </p:cNvPr>
          <p:cNvSpPr/>
          <p:nvPr/>
        </p:nvSpPr>
        <p:spPr>
          <a:xfrm>
            <a:off x="416675" y="713835"/>
            <a:ext cx="3059340" cy="106207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buClr>
                <a:srgbClr val="000000"/>
              </a:buClr>
              <a:buFont typeface="Arial"/>
              <a:buNone/>
            </a:pPr>
            <a:r>
              <a:rPr lang="el-GR" sz="1400" b="1" kern="0">
                <a:solidFill>
                  <a:srgbClr val="002060"/>
                </a:solidFill>
                <a:latin typeface="Arial Black" panose="020B0A04020102020204" pitchFamily="34" charset="0"/>
                <a:cs typeface="Arial"/>
                <a:sym typeface="Arial"/>
              </a:rPr>
              <a:t>Ανέγερση Φοιτητικών Εστιών</a:t>
            </a:r>
          </a:p>
          <a:p>
            <a:pPr algn="ctr">
              <a:buClr>
                <a:srgbClr val="000000"/>
              </a:buClr>
              <a:buFont typeface="Arial"/>
              <a:buNone/>
            </a:pPr>
            <a:r>
              <a:rPr lang="el-GR" sz="1400" b="1" kern="0">
                <a:solidFill>
                  <a:srgbClr val="002060"/>
                </a:solidFill>
                <a:latin typeface="Arial Black" panose="020B0A04020102020204" pitchFamily="34" charset="0"/>
                <a:cs typeface="Arial"/>
                <a:sym typeface="Arial"/>
              </a:rPr>
              <a:t>του </a:t>
            </a:r>
            <a:r>
              <a:rPr lang="el-GR" sz="1400" b="1" kern="0">
                <a:solidFill>
                  <a:srgbClr val="00B0F0"/>
                </a:solidFill>
                <a:latin typeface="Arial Black" panose="020B0A04020102020204" pitchFamily="34" charset="0"/>
                <a:cs typeface="Arial"/>
                <a:sym typeface="Arial"/>
              </a:rPr>
              <a:t>Πανεπιστημίου Δυτικής Μακεδονίας </a:t>
            </a:r>
          </a:p>
        </p:txBody>
      </p:sp>
      <p:sp>
        <p:nvSpPr>
          <p:cNvPr id="19" name="Google Shape;1275;p29">
            <a:extLst>
              <a:ext uri="{FF2B5EF4-FFF2-40B4-BE49-F238E27FC236}">
                <a16:creationId xmlns:a16="http://schemas.microsoft.com/office/drawing/2014/main" id="{B9021CD0-F440-F512-310F-2624B35418C2}"/>
              </a:ext>
            </a:extLst>
          </p:cNvPr>
          <p:cNvSpPr/>
          <p:nvPr/>
        </p:nvSpPr>
        <p:spPr>
          <a:xfrm>
            <a:off x="3929258" y="1585392"/>
            <a:ext cx="4379050" cy="4299237"/>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21" name="Google Shape;1282;p29">
            <a:extLst>
              <a:ext uri="{FF2B5EF4-FFF2-40B4-BE49-F238E27FC236}">
                <a16:creationId xmlns:a16="http://schemas.microsoft.com/office/drawing/2014/main" id="{5614788A-7EFF-36F6-79B4-D96AACB398BE}"/>
              </a:ext>
            </a:extLst>
          </p:cNvPr>
          <p:cNvSpPr/>
          <p:nvPr/>
        </p:nvSpPr>
        <p:spPr>
          <a:xfrm>
            <a:off x="4046377" y="753941"/>
            <a:ext cx="4144934" cy="125257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400" b="1" kern="0">
                <a:solidFill>
                  <a:srgbClr val="002060"/>
                </a:solidFill>
                <a:latin typeface="Arial Black"/>
                <a:cs typeface="Arial"/>
                <a:sym typeface="Arial"/>
              </a:rPr>
              <a:t>Θύλακας Υποδοχής Καινοτόμων Δραστηριοτήτων της </a:t>
            </a:r>
            <a:r>
              <a:rPr lang="el-GR" sz="1400" b="1" kern="0">
                <a:solidFill>
                  <a:srgbClr val="00B0F0"/>
                </a:solidFill>
                <a:latin typeface="Arial Black"/>
                <a:cs typeface="Arial"/>
                <a:sym typeface="Arial"/>
              </a:rPr>
              <a:t>Ζώνης Καινοτομίας της Δυτικής Μακεδονίας</a:t>
            </a:r>
            <a:r>
              <a:rPr lang="el-GR" sz="1400" b="1" kern="0">
                <a:solidFill>
                  <a:srgbClr val="002060"/>
                </a:solidFill>
                <a:latin typeface="Arial Black"/>
                <a:cs typeface="Arial"/>
                <a:sym typeface="Arial"/>
              </a:rPr>
              <a:t>/ Τεχνολογικό Πάρκο</a:t>
            </a:r>
            <a:endParaRPr lang="el-GR"/>
          </a:p>
        </p:txBody>
      </p:sp>
      <p:sp>
        <p:nvSpPr>
          <p:cNvPr id="23" name="Ορθογώνιο 22">
            <a:extLst>
              <a:ext uri="{FF2B5EF4-FFF2-40B4-BE49-F238E27FC236}">
                <a16:creationId xmlns:a16="http://schemas.microsoft.com/office/drawing/2014/main" id="{DAE1D20A-95B7-6BF3-9F4C-F03695730974}"/>
              </a:ext>
            </a:extLst>
          </p:cNvPr>
          <p:cNvSpPr/>
          <p:nvPr/>
        </p:nvSpPr>
        <p:spPr>
          <a:xfrm>
            <a:off x="135461" y="1894413"/>
            <a:ext cx="3260562" cy="523220"/>
          </a:xfrm>
          <a:prstGeom prst="rect">
            <a:avLst/>
          </a:prstGeom>
        </p:spPr>
        <p:txBody>
          <a:bodyPr wrap="square" lIns="91440" tIns="45720" rIns="91440" bIns="45720" anchor="t">
            <a:spAutoFit/>
          </a:bodyPr>
          <a:lstStyle/>
          <a:p>
            <a:pPr>
              <a:buClr>
                <a:srgbClr val="000000"/>
              </a:buClr>
              <a:buFont typeface="Arial"/>
              <a:buNone/>
            </a:pPr>
            <a:r>
              <a:rPr lang="el-GR" sz="1400" b="1" kern="0">
                <a:solidFill>
                  <a:srgbClr val="002060"/>
                </a:solidFill>
                <a:cs typeface="Arial"/>
                <a:sym typeface="Arial"/>
              </a:rPr>
              <a:t>Π/Υ: 84,9 εκ.€</a:t>
            </a:r>
          </a:p>
          <a:p>
            <a:r>
              <a:rPr lang="el-GR" sz="1400" kern="0">
                <a:solidFill>
                  <a:srgbClr val="002060"/>
                </a:solidFill>
                <a:latin typeface="Calibri"/>
                <a:ea typeface="Calibri"/>
                <a:cs typeface="Calibri"/>
              </a:rPr>
              <a:t>Εκτιμώμενη ολοκλήρωση: 03/2026</a:t>
            </a:r>
          </a:p>
        </p:txBody>
      </p:sp>
      <p:sp>
        <p:nvSpPr>
          <p:cNvPr id="25" name="Ορθογώνιο 24">
            <a:extLst>
              <a:ext uri="{FF2B5EF4-FFF2-40B4-BE49-F238E27FC236}">
                <a16:creationId xmlns:a16="http://schemas.microsoft.com/office/drawing/2014/main" id="{E7DD79B6-3DC0-CD19-6898-35846B58A725}"/>
              </a:ext>
            </a:extLst>
          </p:cNvPr>
          <p:cNvSpPr/>
          <p:nvPr/>
        </p:nvSpPr>
        <p:spPr>
          <a:xfrm>
            <a:off x="136450" y="2445220"/>
            <a:ext cx="3481994" cy="3108543"/>
          </a:xfrm>
          <a:prstGeom prst="rect">
            <a:avLst/>
          </a:prstGeom>
        </p:spPr>
        <p:txBody>
          <a:bodyPr wrap="square">
            <a:spAutoFit/>
          </a:bodyPr>
          <a:lstStyle/>
          <a:p>
            <a:pPr>
              <a:buClr>
                <a:srgbClr val="000000"/>
              </a:buClr>
              <a:buFont typeface="Arial"/>
              <a:buNone/>
            </a:pPr>
            <a:r>
              <a:rPr lang="el-GR" sz="1400" kern="0">
                <a:solidFill>
                  <a:srgbClr val="002060"/>
                </a:solidFill>
                <a:cs typeface="Arial"/>
                <a:sym typeface="Arial"/>
              </a:rPr>
              <a:t>Για την Ζώνη Ενεργού Πολεοδομίας Κοζάνης προβλέπεται η κατασκευή </a:t>
            </a:r>
            <a:r>
              <a:rPr lang="el-GR" sz="1400" b="1" kern="0">
                <a:solidFill>
                  <a:srgbClr val="F79D25"/>
                </a:solidFill>
                <a:cs typeface="Arial"/>
                <a:sym typeface="Arial"/>
              </a:rPr>
              <a:t>φοιτητικών εστιών </a:t>
            </a:r>
            <a:r>
              <a:rPr lang="el-GR" sz="1400" kern="0">
                <a:solidFill>
                  <a:srgbClr val="002060"/>
                </a:solidFill>
                <a:cs typeface="Arial"/>
                <a:sym typeface="Arial"/>
              </a:rPr>
              <a:t>δυναμικότητας </a:t>
            </a:r>
            <a:r>
              <a:rPr lang="el-GR" sz="1400" b="1" kern="0">
                <a:solidFill>
                  <a:srgbClr val="F79D25"/>
                </a:solidFill>
                <a:cs typeface="Arial"/>
                <a:sym typeface="Arial"/>
              </a:rPr>
              <a:t>350</a:t>
            </a:r>
            <a:r>
              <a:rPr lang="el-GR" sz="1400" kern="0">
                <a:solidFill>
                  <a:srgbClr val="002060"/>
                </a:solidFill>
                <a:cs typeface="Arial"/>
                <a:sym typeface="Arial"/>
              </a:rPr>
              <a:t> ατόμων</a:t>
            </a:r>
          </a:p>
          <a:p>
            <a:pPr>
              <a:buClr>
                <a:srgbClr val="000000"/>
              </a:buClr>
              <a:buFont typeface="Arial"/>
              <a:buNone/>
            </a:pPr>
            <a:endParaRPr lang="el-GR" sz="1400" kern="0">
              <a:solidFill>
                <a:srgbClr val="002060"/>
              </a:solidFill>
              <a:cs typeface="Arial"/>
              <a:sym typeface="Arial"/>
            </a:endParaRPr>
          </a:p>
          <a:p>
            <a:pPr>
              <a:buClr>
                <a:srgbClr val="000000"/>
              </a:buClr>
              <a:buFont typeface="Arial"/>
              <a:buNone/>
            </a:pPr>
            <a:r>
              <a:rPr lang="el-GR" sz="1400" kern="0">
                <a:solidFill>
                  <a:srgbClr val="002060"/>
                </a:solidFill>
                <a:cs typeface="Arial"/>
                <a:sym typeface="Arial"/>
              </a:rPr>
              <a:t>Η </a:t>
            </a:r>
            <a:r>
              <a:rPr lang="el-GR" sz="1400" b="1" kern="0">
                <a:solidFill>
                  <a:srgbClr val="002060"/>
                </a:solidFill>
                <a:cs typeface="Arial"/>
                <a:sym typeface="Arial"/>
              </a:rPr>
              <a:t>χρονική διάρκεια </a:t>
            </a:r>
            <a:r>
              <a:rPr lang="el-GR" sz="1400" kern="0">
                <a:solidFill>
                  <a:srgbClr val="002060"/>
                </a:solidFill>
                <a:cs typeface="Arial"/>
                <a:sym typeface="Arial"/>
              </a:rPr>
              <a:t>υλοποίησης στο σύνολο του έργου, έχει προβλεφθεί στα 3 έτη και η χρονική διάρκεια λειτουργίας στα 27 έτη.</a:t>
            </a:r>
          </a:p>
          <a:p>
            <a:pPr>
              <a:buClr>
                <a:srgbClr val="000000"/>
              </a:buClr>
              <a:buFont typeface="Arial"/>
              <a:buNone/>
            </a:pPr>
            <a:endParaRPr lang="el-GR" sz="1400" kern="0">
              <a:solidFill>
                <a:srgbClr val="002060"/>
              </a:solidFill>
              <a:cs typeface="Arial"/>
              <a:sym typeface="Arial"/>
            </a:endParaRPr>
          </a:p>
          <a:p>
            <a:pPr>
              <a:buClr>
                <a:srgbClr val="000000"/>
              </a:buClr>
              <a:buFont typeface="Arial"/>
              <a:buNone/>
            </a:pPr>
            <a:r>
              <a:rPr lang="el-GR" sz="1400" b="1" kern="0">
                <a:solidFill>
                  <a:srgbClr val="002060"/>
                </a:solidFill>
                <a:cs typeface="Arial"/>
                <a:sym typeface="Arial"/>
              </a:rPr>
              <a:t>Πρόοδος υλοποίησης:</a:t>
            </a:r>
            <a:r>
              <a:rPr lang="el-GR" sz="1400" kern="0">
                <a:solidFill>
                  <a:srgbClr val="002060"/>
                </a:solidFill>
                <a:cs typeface="Arial"/>
                <a:sym typeface="Arial"/>
              </a:rPr>
              <a:t> Σε εξέλιξη βρίσκεται ο Ανταγωνιστικός Διάλογος του έργου με 5 προεπιλεγέντες συμμετέχοντες - Στάδιο ολοκλήρωσης των Συμβατικών Τευχών του έργου.</a:t>
            </a:r>
          </a:p>
          <a:p>
            <a:pPr>
              <a:buClr>
                <a:srgbClr val="000000"/>
              </a:buClr>
              <a:buFont typeface="Arial"/>
              <a:buNone/>
            </a:pPr>
            <a:endParaRPr lang="el-GR" sz="1400" kern="0">
              <a:solidFill>
                <a:srgbClr val="002060"/>
              </a:solidFill>
              <a:cs typeface="Arial"/>
              <a:sym typeface="Arial"/>
            </a:endParaRPr>
          </a:p>
        </p:txBody>
      </p:sp>
      <p:sp>
        <p:nvSpPr>
          <p:cNvPr id="27" name="Ορθογώνιο 26">
            <a:extLst>
              <a:ext uri="{FF2B5EF4-FFF2-40B4-BE49-F238E27FC236}">
                <a16:creationId xmlns:a16="http://schemas.microsoft.com/office/drawing/2014/main" id="{E34DBD71-E386-6175-6D16-124333880AC6}"/>
              </a:ext>
            </a:extLst>
          </p:cNvPr>
          <p:cNvSpPr/>
          <p:nvPr/>
        </p:nvSpPr>
        <p:spPr>
          <a:xfrm>
            <a:off x="3996626" y="2452820"/>
            <a:ext cx="4311682" cy="2893100"/>
          </a:xfrm>
          <a:prstGeom prst="rect">
            <a:avLst/>
          </a:prstGeom>
        </p:spPr>
        <p:txBody>
          <a:bodyPr wrap="square" lIns="91440" tIns="45720" rIns="91440" bIns="45720" anchor="t">
            <a:spAutoFit/>
          </a:bodyPr>
          <a:lstStyle/>
          <a:p>
            <a:r>
              <a:rPr lang="el-GR" sz="1400" kern="0">
                <a:solidFill>
                  <a:srgbClr val="002060"/>
                </a:solidFill>
                <a:ea typeface="+mn-lt"/>
                <a:cs typeface="+mn-lt"/>
                <a:sym typeface="Arial"/>
              </a:rPr>
              <a:t>Ο πρώτος θύλακας της Ζώνης Καινοτομίας Δυτικής Μακεδονίας περιλαμβάνει το Επιστημονικό Τεχνολογικό Πάρκο Πανεπιστημίου Δυτικής Μακεδονίας στη ΖΕΠ Κοζάνης όπου προβλέπεται η δημιουργία χώρων φιλοξενίας νεοφυών επιχειρήσεων, ώριμων μικρομεσαίων επιχειρήσεων τεχνολογίας και </a:t>
            </a:r>
            <a:r>
              <a:rPr lang="el-GR" sz="1400" kern="0" err="1">
                <a:solidFill>
                  <a:srgbClr val="002060"/>
                </a:solidFill>
                <a:ea typeface="+mn-lt"/>
                <a:cs typeface="+mn-lt"/>
                <a:sym typeface="Arial"/>
              </a:rPr>
              <a:t>spin</a:t>
            </a:r>
            <a:r>
              <a:rPr lang="el-GR" sz="1400" kern="0">
                <a:solidFill>
                  <a:srgbClr val="002060"/>
                </a:solidFill>
                <a:ea typeface="+mn-lt"/>
                <a:cs typeface="+mn-lt"/>
                <a:sym typeface="Arial"/>
              </a:rPr>
              <a:t> </a:t>
            </a:r>
            <a:r>
              <a:rPr lang="el-GR" sz="1400" kern="0" err="1">
                <a:solidFill>
                  <a:srgbClr val="002060"/>
                </a:solidFill>
                <a:ea typeface="+mn-lt"/>
                <a:cs typeface="+mn-lt"/>
                <a:sym typeface="Arial"/>
              </a:rPr>
              <a:t>off</a:t>
            </a:r>
            <a:r>
              <a:rPr lang="el-GR" sz="1400" kern="0">
                <a:solidFill>
                  <a:srgbClr val="002060"/>
                </a:solidFill>
                <a:ea typeface="+mn-lt"/>
                <a:cs typeface="+mn-lt"/>
                <a:sym typeface="Arial"/>
              </a:rPr>
              <a:t> εταιρειών ερευνητικών ινστιτούτων.</a:t>
            </a:r>
            <a:endParaRPr lang="en-US" sz="1400" kern="0">
              <a:solidFill>
                <a:srgbClr val="002060"/>
              </a:solidFill>
              <a:ea typeface="+mn-lt"/>
              <a:cs typeface="+mn-lt"/>
              <a:sym typeface="Arial"/>
            </a:endParaRPr>
          </a:p>
          <a:p>
            <a:pPr>
              <a:buFont typeface="Arial"/>
            </a:pPr>
            <a:endParaRPr lang="el-GR" sz="1400" kern="0">
              <a:solidFill>
                <a:srgbClr val="002060"/>
              </a:solidFill>
              <a:latin typeface="Arial"/>
              <a:cs typeface="Arial"/>
            </a:endParaRPr>
          </a:p>
          <a:p>
            <a:pPr>
              <a:buClr>
                <a:srgbClr val="000000"/>
              </a:buClr>
              <a:buFont typeface="Arial"/>
              <a:buNone/>
            </a:pPr>
            <a:endParaRPr lang="el-GR" sz="1400" kern="0">
              <a:solidFill>
                <a:srgbClr val="002060"/>
              </a:solidFill>
              <a:cs typeface="Arial"/>
              <a:sym typeface="Arial"/>
            </a:endParaRPr>
          </a:p>
          <a:p>
            <a:pPr>
              <a:buClr>
                <a:srgbClr val="000000"/>
              </a:buClr>
              <a:buFont typeface="Arial"/>
              <a:buNone/>
            </a:pPr>
            <a:endParaRPr lang="el-GR" sz="1400" kern="0">
              <a:solidFill>
                <a:srgbClr val="002060"/>
              </a:solidFill>
              <a:cs typeface="Arial"/>
              <a:sym typeface="Arial"/>
            </a:endParaRPr>
          </a:p>
          <a:p>
            <a:pPr>
              <a:buClr>
                <a:srgbClr val="000000"/>
              </a:buClr>
            </a:pPr>
            <a:r>
              <a:rPr lang="el-GR" sz="1400" b="1" kern="0">
                <a:solidFill>
                  <a:srgbClr val="002060"/>
                </a:solidFill>
                <a:cs typeface="Arial"/>
                <a:sym typeface="Arial"/>
              </a:rPr>
              <a:t>Πρόοδος υλοποίησης: </a:t>
            </a:r>
            <a:r>
              <a:rPr lang="el-GR" sz="1400" kern="0">
                <a:solidFill>
                  <a:srgbClr val="002060"/>
                </a:solidFill>
                <a:cs typeface="Arial"/>
                <a:sym typeface="Arial"/>
              </a:rPr>
              <a:t>Η πράξη βρίσκεται στο στάδιο ένταξης.</a:t>
            </a:r>
            <a:endParaRPr lang="el-GR" sz="1400" kern="0">
              <a:solidFill>
                <a:srgbClr val="002060"/>
              </a:solidFill>
              <a:cs typeface="Arial"/>
            </a:endParaRPr>
          </a:p>
        </p:txBody>
      </p:sp>
      <p:sp>
        <p:nvSpPr>
          <p:cNvPr id="29" name="Ορθογώνιο 28">
            <a:extLst>
              <a:ext uri="{FF2B5EF4-FFF2-40B4-BE49-F238E27FC236}">
                <a16:creationId xmlns:a16="http://schemas.microsoft.com/office/drawing/2014/main" id="{68E20ADD-ACDB-5B7C-3D8E-AED46DDF4475}"/>
              </a:ext>
            </a:extLst>
          </p:cNvPr>
          <p:cNvSpPr/>
          <p:nvPr/>
        </p:nvSpPr>
        <p:spPr>
          <a:xfrm>
            <a:off x="4371337" y="2113083"/>
            <a:ext cx="3488081" cy="307777"/>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Υ: 11 εκ.€</a:t>
            </a:r>
            <a:endParaRPr lang="el-GR" sz="1400" b="1" kern="0">
              <a:solidFill>
                <a:srgbClr val="000000"/>
              </a:solidFill>
              <a:cs typeface="Arial"/>
              <a:sym typeface="Arial"/>
            </a:endParaRPr>
          </a:p>
        </p:txBody>
      </p:sp>
      <p:sp>
        <p:nvSpPr>
          <p:cNvPr id="2" name="Google Shape;1275;p29">
            <a:extLst>
              <a:ext uri="{FF2B5EF4-FFF2-40B4-BE49-F238E27FC236}">
                <a16:creationId xmlns:a16="http://schemas.microsoft.com/office/drawing/2014/main" id="{FDF718AD-F56F-BBE5-0C4E-6881DB550C89}"/>
              </a:ext>
            </a:extLst>
          </p:cNvPr>
          <p:cNvSpPr/>
          <p:nvPr/>
        </p:nvSpPr>
        <p:spPr>
          <a:xfrm>
            <a:off x="8409001" y="1635522"/>
            <a:ext cx="3761089" cy="4299238"/>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3" name="Google Shape;1282;p29">
            <a:extLst>
              <a:ext uri="{FF2B5EF4-FFF2-40B4-BE49-F238E27FC236}">
                <a16:creationId xmlns:a16="http://schemas.microsoft.com/office/drawing/2014/main" id="{BC9E78B4-6E51-BBD3-9BC5-013F6A1E7752}"/>
              </a:ext>
            </a:extLst>
          </p:cNvPr>
          <p:cNvSpPr/>
          <p:nvPr/>
        </p:nvSpPr>
        <p:spPr>
          <a:xfrm>
            <a:off x="8768595" y="773992"/>
            <a:ext cx="3059340" cy="1062079"/>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buClr>
                <a:srgbClr val="000000"/>
              </a:buClr>
            </a:pPr>
            <a:r>
              <a:rPr lang="el-GR" sz="1400" b="1" kern="0">
                <a:solidFill>
                  <a:srgbClr val="002060"/>
                </a:solidFill>
                <a:latin typeface="Arial Black"/>
                <a:cs typeface="Arial"/>
              </a:rPr>
              <a:t>Ανακατασκευή του γηπέδου Μίλτος </a:t>
            </a:r>
            <a:r>
              <a:rPr lang="el-GR" sz="1400" b="1" kern="0" err="1">
                <a:solidFill>
                  <a:srgbClr val="002060"/>
                </a:solidFill>
                <a:latin typeface="Arial Black"/>
                <a:cs typeface="Arial"/>
              </a:rPr>
              <a:t>Τεντόγλου</a:t>
            </a:r>
            <a:endParaRPr lang="el-GR" sz="1400" b="1" kern="0" err="1">
              <a:solidFill>
                <a:srgbClr val="002060"/>
              </a:solidFill>
              <a:latin typeface="Arial Black" panose="020B0A04020102020204" pitchFamily="34" charset="0"/>
              <a:cs typeface="Arial"/>
            </a:endParaRPr>
          </a:p>
        </p:txBody>
      </p:sp>
      <p:sp>
        <p:nvSpPr>
          <p:cNvPr id="4" name="Ορθογώνιο 3">
            <a:extLst>
              <a:ext uri="{FF2B5EF4-FFF2-40B4-BE49-F238E27FC236}">
                <a16:creationId xmlns:a16="http://schemas.microsoft.com/office/drawing/2014/main" id="{CB3FF14B-CF8A-73C4-1970-5F2F448D75D6}"/>
              </a:ext>
            </a:extLst>
          </p:cNvPr>
          <p:cNvSpPr/>
          <p:nvPr/>
        </p:nvSpPr>
        <p:spPr>
          <a:xfrm>
            <a:off x="8768596" y="2163213"/>
            <a:ext cx="3260562" cy="307777"/>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Υ: 1,5 εκ. €</a:t>
            </a:r>
            <a:endParaRPr lang="en-US" sz="1400" kern="0">
              <a:solidFill>
                <a:srgbClr val="002060"/>
              </a:solidFill>
              <a:cs typeface="Arial"/>
              <a:sym typeface="Arial"/>
            </a:endParaRPr>
          </a:p>
        </p:txBody>
      </p:sp>
      <p:sp>
        <p:nvSpPr>
          <p:cNvPr id="5" name="Ορθογώνιο 4">
            <a:extLst>
              <a:ext uri="{FF2B5EF4-FFF2-40B4-BE49-F238E27FC236}">
                <a16:creationId xmlns:a16="http://schemas.microsoft.com/office/drawing/2014/main" id="{E4EFA157-8FEE-9408-6A56-18B26342428E}"/>
              </a:ext>
            </a:extLst>
          </p:cNvPr>
          <p:cNvSpPr/>
          <p:nvPr/>
        </p:nvSpPr>
        <p:spPr>
          <a:xfrm>
            <a:off x="8498396" y="2455246"/>
            <a:ext cx="3582257" cy="1169551"/>
          </a:xfrm>
          <a:prstGeom prst="rect">
            <a:avLst/>
          </a:prstGeom>
        </p:spPr>
        <p:txBody>
          <a:bodyPr wrap="square" lIns="91440" tIns="45720" rIns="91440" bIns="45720" anchor="t">
            <a:spAutoFit/>
          </a:bodyPr>
          <a:lstStyle/>
          <a:p>
            <a:pPr>
              <a:buClr>
                <a:srgbClr val="000000"/>
              </a:buClr>
            </a:pPr>
            <a:r>
              <a:rPr lang="el-GR" sz="1400" b="1" kern="0">
                <a:solidFill>
                  <a:srgbClr val="002060"/>
                </a:solidFill>
                <a:cs typeface="Arial"/>
                <a:sym typeface="Arial"/>
              </a:rPr>
              <a:t>Πρόοδος υλοποίησης:</a:t>
            </a:r>
            <a:r>
              <a:rPr lang="el-GR" sz="1400" kern="0">
                <a:solidFill>
                  <a:srgbClr val="002060"/>
                </a:solidFill>
                <a:cs typeface="Arial"/>
                <a:sym typeface="Arial"/>
              </a:rPr>
              <a:t> </a:t>
            </a:r>
            <a:r>
              <a:rPr lang="el-GR" sz="1400" kern="0">
                <a:solidFill>
                  <a:srgbClr val="002060"/>
                </a:solidFill>
                <a:ea typeface="+mn-lt"/>
                <a:cs typeface="+mn-lt"/>
                <a:sym typeface="Arial"/>
              </a:rPr>
              <a:t>Εξασφαλίστηκε χρηματοδότηση 1,5 εκατ. € από το Υπουργείο Εσωτερικών για την ανακατασκευή του γηπέδου</a:t>
            </a:r>
            <a:r>
              <a:rPr lang="el-GR" sz="1400" b="1" kern="0">
                <a:solidFill>
                  <a:srgbClr val="002060"/>
                </a:solidFill>
                <a:ea typeface="+mn-lt"/>
                <a:cs typeface="+mn-lt"/>
                <a:sym typeface="Arial"/>
              </a:rPr>
              <a:t> Μίλτος </a:t>
            </a:r>
            <a:r>
              <a:rPr lang="el-GR" sz="1400" b="1" kern="0" err="1">
                <a:solidFill>
                  <a:srgbClr val="002060"/>
                </a:solidFill>
                <a:ea typeface="+mn-lt"/>
                <a:cs typeface="+mn-lt"/>
                <a:sym typeface="Arial"/>
              </a:rPr>
              <a:t>Τεντόγλου</a:t>
            </a:r>
            <a:r>
              <a:rPr lang="el-GR" sz="1400" b="1" kern="0">
                <a:solidFill>
                  <a:srgbClr val="002060"/>
                </a:solidFill>
                <a:ea typeface="+mn-lt"/>
                <a:cs typeface="+mn-lt"/>
                <a:sym typeface="Arial"/>
              </a:rPr>
              <a:t>. </a:t>
            </a:r>
            <a:endParaRPr lang="el-GR" sz="1400" kern="0">
              <a:solidFill>
                <a:srgbClr val="002060"/>
              </a:solidFill>
              <a:cs typeface="Arial"/>
            </a:endParaRPr>
          </a:p>
        </p:txBody>
      </p:sp>
    </p:spTree>
    <p:extLst>
      <p:ext uri="{BB962C8B-B14F-4D97-AF65-F5344CB8AC3E}">
        <p14:creationId xmlns:p14="http://schemas.microsoft.com/office/powerpoint/2010/main" val="307290527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DCEF3-706B-FADA-C1E5-BF026B349B3F}"/>
            </a:ext>
          </a:extLst>
        </p:cNvPr>
        <p:cNvGrpSpPr/>
        <p:nvPr/>
      </p:nvGrpSpPr>
      <p:grpSpPr>
        <a:xfrm>
          <a:off x="0" y="0"/>
          <a:ext cx="0" cy="0"/>
          <a:chOff x="0" y="0"/>
          <a:chExt cx="0" cy="0"/>
        </a:xfrm>
      </p:grpSpPr>
      <p:sp>
        <p:nvSpPr>
          <p:cNvPr id="15" name="Google Shape;1275;p29">
            <a:extLst>
              <a:ext uri="{FF2B5EF4-FFF2-40B4-BE49-F238E27FC236}">
                <a16:creationId xmlns:a16="http://schemas.microsoft.com/office/drawing/2014/main" id="{EB9923EA-CCC9-5A96-052F-BE3FECF17907}"/>
              </a:ext>
            </a:extLst>
          </p:cNvPr>
          <p:cNvSpPr/>
          <p:nvPr/>
        </p:nvSpPr>
        <p:spPr>
          <a:xfrm>
            <a:off x="327792" y="2287233"/>
            <a:ext cx="3761089" cy="2283949"/>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7" name="Google Shape;1282;p29">
            <a:extLst>
              <a:ext uri="{FF2B5EF4-FFF2-40B4-BE49-F238E27FC236}">
                <a16:creationId xmlns:a16="http://schemas.microsoft.com/office/drawing/2014/main" id="{7F41CAEA-ADDB-B14A-81B7-1C67D19CDDF5}"/>
              </a:ext>
            </a:extLst>
          </p:cNvPr>
          <p:cNvSpPr/>
          <p:nvPr/>
        </p:nvSpPr>
        <p:spPr>
          <a:xfrm>
            <a:off x="607175" y="1656309"/>
            <a:ext cx="3059340" cy="821448"/>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400" b="1" kern="0">
                <a:solidFill>
                  <a:srgbClr val="002060"/>
                </a:solidFill>
                <a:latin typeface="Arial Black"/>
                <a:cs typeface="Arial"/>
                <a:sym typeface="Arial"/>
              </a:rPr>
              <a:t>Νέα Προγράμματα Σπουδών</a:t>
            </a:r>
            <a:endParaRPr lang="el-GR"/>
          </a:p>
        </p:txBody>
      </p:sp>
      <p:sp>
        <p:nvSpPr>
          <p:cNvPr id="25" name="Ορθογώνιο 24">
            <a:extLst>
              <a:ext uri="{FF2B5EF4-FFF2-40B4-BE49-F238E27FC236}">
                <a16:creationId xmlns:a16="http://schemas.microsoft.com/office/drawing/2014/main" id="{86CF8FAF-E445-DE18-5A70-9A5AD19EBF9F}"/>
              </a:ext>
            </a:extLst>
          </p:cNvPr>
          <p:cNvSpPr/>
          <p:nvPr/>
        </p:nvSpPr>
        <p:spPr>
          <a:xfrm>
            <a:off x="527476" y="2515404"/>
            <a:ext cx="3361678" cy="2031325"/>
          </a:xfrm>
          <a:prstGeom prst="rect">
            <a:avLst/>
          </a:prstGeom>
        </p:spPr>
        <p:txBody>
          <a:bodyPr wrap="square" lIns="91440" tIns="45720" rIns="91440" bIns="45720" anchor="t">
            <a:spAutoFit/>
          </a:bodyPr>
          <a:lstStyle/>
          <a:p>
            <a:r>
              <a:rPr lang="el-GR" sz="1400" kern="0">
                <a:solidFill>
                  <a:srgbClr val="002060"/>
                </a:solidFill>
                <a:latin typeface="Arial"/>
                <a:ea typeface="Calibri"/>
                <a:cs typeface="Calibri"/>
              </a:rPr>
              <a:t>Στην </a:t>
            </a:r>
            <a:r>
              <a:rPr lang="el-GR" sz="1400" kern="0">
                <a:solidFill>
                  <a:srgbClr val="00B0F0"/>
                </a:solidFill>
                <a:latin typeface="Arial"/>
                <a:ea typeface="Calibri"/>
                <a:cs typeface="Calibri"/>
              </a:rPr>
              <a:t>Κοζάνη</a:t>
            </a:r>
            <a:r>
              <a:rPr lang="el-GR" sz="1400" kern="0">
                <a:latin typeface="Arial"/>
                <a:ea typeface="Calibri"/>
                <a:cs typeface="Calibri"/>
              </a:rPr>
              <a:t>: </a:t>
            </a:r>
            <a:r>
              <a:rPr lang="el-GR" sz="1400" kern="0">
                <a:solidFill>
                  <a:srgbClr val="002060"/>
                </a:solidFill>
                <a:latin typeface="Arial"/>
                <a:ea typeface="Calibri"/>
                <a:cs typeface="Calibri"/>
              </a:rPr>
              <a:t>Επιστήμης Δεδομένων – </a:t>
            </a:r>
            <a:r>
              <a:rPr lang="en-US" sz="1400" kern="0">
                <a:solidFill>
                  <a:srgbClr val="002060"/>
                </a:solidFill>
                <a:latin typeface="Arial"/>
                <a:ea typeface="Calibri"/>
                <a:cs typeface="Calibri"/>
              </a:rPr>
              <a:t>Data Analytics</a:t>
            </a:r>
            <a:endParaRPr lang="el-GR" sz="1400" kern="0">
              <a:solidFill>
                <a:srgbClr val="002060"/>
              </a:solidFill>
              <a:latin typeface="Arial"/>
              <a:ea typeface="Calibri"/>
              <a:cs typeface="Calibri"/>
            </a:endParaRPr>
          </a:p>
          <a:p>
            <a:r>
              <a:rPr lang="el-GR" sz="1400" kern="0">
                <a:solidFill>
                  <a:srgbClr val="002060"/>
                </a:solidFill>
                <a:latin typeface="Arial"/>
                <a:ea typeface="Calibri"/>
                <a:cs typeface="Calibri"/>
                <a:sym typeface="Arial"/>
              </a:rPr>
              <a:t>Στη </a:t>
            </a:r>
            <a:r>
              <a:rPr lang="el-GR" sz="1400" kern="0">
                <a:solidFill>
                  <a:srgbClr val="00B0F0"/>
                </a:solidFill>
                <a:latin typeface="Arial"/>
                <a:ea typeface="Calibri"/>
                <a:cs typeface="Calibri"/>
                <a:sym typeface="Arial"/>
              </a:rPr>
              <a:t>Φλώρινα</a:t>
            </a:r>
            <a:r>
              <a:rPr lang="el-GR" sz="1400" kern="0">
                <a:latin typeface="Arial"/>
                <a:ea typeface="Calibri"/>
                <a:cs typeface="Calibri"/>
                <a:sym typeface="Arial"/>
              </a:rPr>
              <a:t>: </a:t>
            </a:r>
            <a:r>
              <a:rPr lang="el-GR" sz="1400" kern="0">
                <a:solidFill>
                  <a:srgbClr val="002060"/>
                </a:solidFill>
                <a:latin typeface="Arial"/>
                <a:ea typeface="Calibri"/>
                <a:cs typeface="Calibri"/>
                <a:sym typeface="Arial"/>
              </a:rPr>
              <a:t>Συμπεριληπτική Εκπαίδευση </a:t>
            </a:r>
            <a:endParaRPr lang="el-GR" sz="1400">
              <a:solidFill>
                <a:srgbClr val="002060"/>
              </a:solidFill>
              <a:latin typeface="Arial"/>
              <a:cs typeface="Arial"/>
            </a:endParaRPr>
          </a:p>
          <a:p>
            <a:pPr>
              <a:buClr>
                <a:srgbClr val="000000"/>
              </a:buClr>
              <a:buFont typeface="Arial"/>
              <a:buNone/>
            </a:pPr>
            <a:endParaRPr lang="el-GR" sz="1400" kern="0">
              <a:solidFill>
                <a:srgbClr val="002060"/>
              </a:solidFill>
              <a:cs typeface="Arial"/>
            </a:endParaRPr>
          </a:p>
          <a:p>
            <a:pPr>
              <a:buFont typeface="Arial"/>
            </a:pPr>
            <a:endParaRPr lang="el-GR" sz="1400" kern="0">
              <a:solidFill>
                <a:srgbClr val="002060"/>
              </a:solidFill>
              <a:cs typeface="Arial"/>
              <a:sym typeface="Arial"/>
            </a:endParaRPr>
          </a:p>
          <a:p>
            <a:pPr>
              <a:buClr>
                <a:srgbClr val="000000"/>
              </a:buClr>
            </a:pPr>
            <a:r>
              <a:rPr lang="el-GR" sz="1400" b="1" kern="0">
                <a:solidFill>
                  <a:srgbClr val="002060"/>
                </a:solidFill>
                <a:cs typeface="Arial"/>
                <a:sym typeface="Arial"/>
              </a:rPr>
              <a:t>Πρόοδος υλοποίησης:</a:t>
            </a:r>
            <a:r>
              <a:rPr lang="el-GR" sz="1400" kern="0">
                <a:solidFill>
                  <a:srgbClr val="002060"/>
                </a:solidFill>
                <a:cs typeface="Arial"/>
                <a:sym typeface="Arial"/>
              </a:rPr>
              <a:t> Η δράση βρίσκεται στο στάδιο του σχεδιασμού.</a:t>
            </a:r>
            <a:endParaRPr lang="el-GR" sz="1400" kern="0">
              <a:solidFill>
                <a:srgbClr val="002060"/>
              </a:solidFill>
              <a:cs typeface="Arial"/>
            </a:endParaRPr>
          </a:p>
          <a:p>
            <a:pPr>
              <a:buClr>
                <a:srgbClr val="000000"/>
              </a:buClr>
              <a:buFont typeface="Arial"/>
              <a:buNone/>
            </a:pPr>
            <a:endParaRPr lang="el-GR" sz="1400" kern="0">
              <a:solidFill>
                <a:srgbClr val="002060"/>
              </a:solidFill>
              <a:cs typeface="Arial"/>
              <a:sym typeface="Arial"/>
            </a:endParaRPr>
          </a:p>
        </p:txBody>
      </p:sp>
      <p:sp>
        <p:nvSpPr>
          <p:cNvPr id="8" name="Google Shape;1275;p29">
            <a:extLst>
              <a:ext uri="{FF2B5EF4-FFF2-40B4-BE49-F238E27FC236}">
                <a16:creationId xmlns:a16="http://schemas.microsoft.com/office/drawing/2014/main" id="{5F381940-24B2-6B5F-6EBC-0D65751B0071}"/>
              </a:ext>
            </a:extLst>
          </p:cNvPr>
          <p:cNvSpPr/>
          <p:nvPr/>
        </p:nvSpPr>
        <p:spPr>
          <a:xfrm>
            <a:off x="4288184" y="2297260"/>
            <a:ext cx="3761089" cy="2283949"/>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9" name="Google Shape;1282;p29">
            <a:extLst>
              <a:ext uri="{FF2B5EF4-FFF2-40B4-BE49-F238E27FC236}">
                <a16:creationId xmlns:a16="http://schemas.microsoft.com/office/drawing/2014/main" id="{C67CB123-55D5-214E-9DC3-98CD32F87E63}"/>
              </a:ext>
            </a:extLst>
          </p:cNvPr>
          <p:cNvSpPr/>
          <p:nvPr/>
        </p:nvSpPr>
        <p:spPr>
          <a:xfrm>
            <a:off x="4647778" y="1666335"/>
            <a:ext cx="3049314" cy="821448"/>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600" b="1" kern="0">
                <a:solidFill>
                  <a:srgbClr val="002060"/>
                </a:solidFill>
                <a:latin typeface="Arial Black"/>
                <a:ea typeface="Calibri"/>
                <a:cs typeface="Calibri"/>
                <a:sym typeface="Arial"/>
              </a:rPr>
              <a:t>Ξενόγλωσσα Προπτυχιακά Προγράμματα Σπουδών</a:t>
            </a:r>
            <a:endParaRPr lang="x-none" sz="1600" b="1" kern="0">
              <a:solidFill>
                <a:srgbClr val="002060"/>
              </a:solidFill>
              <a:latin typeface="Arial Black"/>
              <a:ea typeface="Calibri"/>
              <a:cs typeface="Calibri"/>
            </a:endParaRPr>
          </a:p>
        </p:txBody>
      </p:sp>
      <p:sp>
        <p:nvSpPr>
          <p:cNvPr id="10" name="Ορθογώνιο 9">
            <a:extLst>
              <a:ext uri="{FF2B5EF4-FFF2-40B4-BE49-F238E27FC236}">
                <a16:creationId xmlns:a16="http://schemas.microsoft.com/office/drawing/2014/main" id="{7167D957-53F3-2EDD-7A45-668305D5E84D}"/>
              </a:ext>
            </a:extLst>
          </p:cNvPr>
          <p:cNvSpPr/>
          <p:nvPr/>
        </p:nvSpPr>
        <p:spPr>
          <a:xfrm>
            <a:off x="4517949" y="2585589"/>
            <a:ext cx="3321573" cy="1815882"/>
          </a:xfrm>
          <a:prstGeom prst="rect">
            <a:avLst/>
          </a:prstGeom>
        </p:spPr>
        <p:txBody>
          <a:bodyPr wrap="square" lIns="91440" tIns="45720" rIns="91440" bIns="45720" anchor="t">
            <a:spAutoFit/>
          </a:bodyPr>
          <a:lstStyle/>
          <a:p>
            <a:r>
              <a:rPr lang="el-GR" sz="1400" kern="0">
                <a:solidFill>
                  <a:srgbClr val="002060"/>
                </a:solidFill>
                <a:latin typeface="Arial"/>
                <a:ea typeface="Calibri"/>
                <a:cs typeface="Calibri"/>
              </a:rPr>
              <a:t>Στην </a:t>
            </a:r>
            <a:r>
              <a:rPr lang="el-GR" sz="1400" kern="0">
                <a:solidFill>
                  <a:srgbClr val="00B0F0"/>
                </a:solidFill>
                <a:latin typeface="Arial"/>
                <a:ea typeface="Calibri"/>
                <a:cs typeface="Calibri"/>
              </a:rPr>
              <a:t>Κοζάνη</a:t>
            </a:r>
            <a:r>
              <a:rPr lang="el-GR" sz="1400" kern="0">
                <a:latin typeface="Arial"/>
                <a:ea typeface="Calibri"/>
                <a:cs typeface="Calibri"/>
              </a:rPr>
              <a:t>: </a:t>
            </a:r>
            <a:r>
              <a:rPr lang="en-US" sz="1400" kern="0">
                <a:solidFill>
                  <a:srgbClr val="002060"/>
                </a:solidFill>
                <a:latin typeface="Arial"/>
                <a:ea typeface="Calibri"/>
                <a:cs typeface="Calibri"/>
              </a:rPr>
              <a:t>Product Design Engineering </a:t>
            </a:r>
            <a:r>
              <a:rPr lang="el-GR" sz="1400" kern="0">
                <a:solidFill>
                  <a:srgbClr val="002060"/>
                </a:solidFill>
                <a:latin typeface="Arial"/>
                <a:ea typeface="Calibri"/>
                <a:cs typeface="Calibri"/>
              </a:rPr>
              <a:t>σε συνεργασία</a:t>
            </a:r>
            <a:r>
              <a:rPr lang="el-GR" sz="1400" b="1" kern="0">
                <a:solidFill>
                  <a:srgbClr val="002060"/>
                </a:solidFill>
                <a:latin typeface="Arial"/>
                <a:ea typeface="Calibri"/>
                <a:cs typeface="Calibri"/>
              </a:rPr>
              <a:t> </a:t>
            </a:r>
            <a:r>
              <a:rPr lang="el-GR" sz="1400" kern="0">
                <a:solidFill>
                  <a:srgbClr val="002060"/>
                </a:solidFill>
                <a:latin typeface="Arial"/>
                <a:ea typeface="Calibri"/>
                <a:cs typeface="Calibri"/>
              </a:rPr>
              <a:t>με το Πανεπιστήμιο της Πάφου - 2</a:t>
            </a:r>
            <a:r>
              <a:rPr lang="el-GR" sz="1400" kern="0">
                <a:solidFill>
                  <a:srgbClr val="002060"/>
                </a:solidFill>
                <a:latin typeface="Arial"/>
                <a:ea typeface="Calibri"/>
                <a:cs typeface="Calibri"/>
                <a:sym typeface="Arial"/>
              </a:rPr>
              <a:t> χρόνια στην Πάφο &amp; 2 χρόνια στην Κοζάνη</a:t>
            </a:r>
            <a:endParaRPr lang="el-GR" sz="1400" kern="0">
              <a:solidFill>
                <a:srgbClr val="002060"/>
              </a:solidFill>
              <a:latin typeface="Arial"/>
              <a:ea typeface="Calibri"/>
              <a:cs typeface="Calibri"/>
            </a:endParaRPr>
          </a:p>
          <a:p>
            <a:endParaRPr lang="el-GR" sz="1400" kern="0">
              <a:solidFill>
                <a:srgbClr val="002060"/>
              </a:solidFill>
              <a:latin typeface="Arial"/>
              <a:ea typeface="Calibri"/>
              <a:cs typeface="Calibri"/>
            </a:endParaRPr>
          </a:p>
          <a:p>
            <a:pPr>
              <a:buClr>
                <a:srgbClr val="000000"/>
              </a:buClr>
            </a:pPr>
            <a:r>
              <a:rPr lang="el-GR" sz="1400" b="1" kern="0">
                <a:solidFill>
                  <a:srgbClr val="002060"/>
                </a:solidFill>
                <a:cs typeface="Arial"/>
                <a:sym typeface="Arial"/>
              </a:rPr>
              <a:t>Πρόοδος υλοποίησης:</a:t>
            </a:r>
            <a:r>
              <a:rPr lang="el-GR" sz="1400" kern="0">
                <a:solidFill>
                  <a:srgbClr val="002060"/>
                </a:solidFill>
                <a:cs typeface="Arial"/>
                <a:sym typeface="Arial"/>
              </a:rPr>
              <a:t> Η δράση βρίσκεται στο στάδιο πιστοποίησης από την ΕΘΑΑΕ. </a:t>
            </a:r>
            <a:endParaRPr lang="el-GR" sz="1400" kern="0">
              <a:solidFill>
                <a:srgbClr val="002060"/>
              </a:solidFill>
              <a:cs typeface="Arial"/>
            </a:endParaRPr>
          </a:p>
        </p:txBody>
      </p:sp>
      <p:sp>
        <p:nvSpPr>
          <p:cNvPr id="11" name="Google Shape;1275;p29">
            <a:extLst>
              <a:ext uri="{FF2B5EF4-FFF2-40B4-BE49-F238E27FC236}">
                <a16:creationId xmlns:a16="http://schemas.microsoft.com/office/drawing/2014/main" id="{6A6C0DE7-126D-923A-EBD9-4484C3637F59}"/>
              </a:ext>
            </a:extLst>
          </p:cNvPr>
          <p:cNvSpPr/>
          <p:nvPr/>
        </p:nvSpPr>
        <p:spPr>
          <a:xfrm>
            <a:off x="8288684" y="2257154"/>
            <a:ext cx="3761089" cy="2283949"/>
          </a:xfrm>
          <a:custGeom>
            <a:avLst/>
            <a:gdLst/>
            <a:ahLst/>
            <a:cxnLst/>
            <a:rect l="l" t="t" r="r" b="b"/>
            <a:pathLst>
              <a:path w="76150" h="93860" extrusionOk="0">
                <a:moveTo>
                  <a:pt x="9921" y="0"/>
                </a:moveTo>
                <a:cubicBezTo>
                  <a:pt x="4367" y="0"/>
                  <a:pt x="1" y="4367"/>
                  <a:pt x="1" y="9886"/>
                </a:cubicBezTo>
                <a:lnTo>
                  <a:pt x="1" y="83974"/>
                </a:lnTo>
                <a:cubicBezTo>
                  <a:pt x="1" y="89493"/>
                  <a:pt x="4367" y="93859"/>
                  <a:pt x="9921" y="93859"/>
                </a:cubicBezTo>
                <a:lnTo>
                  <a:pt x="66229" y="93859"/>
                </a:lnTo>
                <a:cubicBezTo>
                  <a:pt x="71609" y="93859"/>
                  <a:pt x="76150" y="89493"/>
                  <a:pt x="76150" y="83974"/>
                </a:cubicBezTo>
                <a:lnTo>
                  <a:pt x="76150" y="9886"/>
                </a:lnTo>
                <a:cubicBezTo>
                  <a:pt x="76150" y="4367"/>
                  <a:pt x="71609" y="0"/>
                  <a:pt x="66229" y="0"/>
                </a:cubicBezTo>
                <a:close/>
              </a:path>
            </a:pathLst>
          </a:custGeom>
          <a:solidFill>
            <a:srgbClr val="DEECE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cs typeface="Arial"/>
              <a:sym typeface="Arial"/>
            </a:endParaRPr>
          </a:p>
        </p:txBody>
      </p:sp>
      <p:sp>
        <p:nvSpPr>
          <p:cNvPr id="12" name="Google Shape;1282;p29">
            <a:extLst>
              <a:ext uri="{FF2B5EF4-FFF2-40B4-BE49-F238E27FC236}">
                <a16:creationId xmlns:a16="http://schemas.microsoft.com/office/drawing/2014/main" id="{412783B9-B4F5-DE76-9379-D5E2FB084D15}"/>
              </a:ext>
            </a:extLst>
          </p:cNvPr>
          <p:cNvSpPr/>
          <p:nvPr/>
        </p:nvSpPr>
        <p:spPr>
          <a:xfrm>
            <a:off x="8648278" y="1626229"/>
            <a:ext cx="3049314" cy="821448"/>
          </a:xfrm>
          <a:prstGeom prst="roundRect">
            <a:avLst>
              <a:gd name="adj" fmla="val 50000"/>
            </a:avLst>
          </a:prstGeom>
          <a:solidFill>
            <a:schemeClr val="lt1"/>
          </a:solidFill>
          <a:ln>
            <a:solidFill>
              <a:srgbClr val="00B0F0"/>
            </a:solidFill>
          </a:ln>
        </p:spPr>
        <p:txBody>
          <a:bodyPr spcFirstLastPara="1" wrap="square" lIns="91425" tIns="91425" rIns="91425" bIns="91425" anchor="ctr" anchorCtr="0">
            <a:noAutofit/>
          </a:bodyPr>
          <a:lstStyle/>
          <a:p>
            <a:pPr algn="ctr"/>
            <a:r>
              <a:rPr lang="el-GR" sz="1600" b="1" kern="0">
                <a:solidFill>
                  <a:srgbClr val="002060"/>
                </a:solidFill>
                <a:latin typeface="Arial Black"/>
                <a:ea typeface="Calibri"/>
                <a:cs typeface="Calibri"/>
                <a:sym typeface="Arial"/>
              </a:rPr>
              <a:t>Ξενόγλωσσα Προπτυχιακά Προγράμματα Σπουδών</a:t>
            </a:r>
            <a:endParaRPr lang="x-none" sz="1600" b="1" kern="0">
              <a:solidFill>
                <a:srgbClr val="002060"/>
              </a:solidFill>
              <a:latin typeface="Arial Black"/>
              <a:ea typeface="Calibri"/>
              <a:cs typeface="Calibri"/>
            </a:endParaRPr>
          </a:p>
        </p:txBody>
      </p:sp>
      <p:sp>
        <p:nvSpPr>
          <p:cNvPr id="13" name="Ορθογώνιο 12">
            <a:extLst>
              <a:ext uri="{FF2B5EF4-FFF2-40B4-BE49-F238E27FC236}">
                <a16:creationId xmlns:a16="http://schemas.microsoft.com/office/drawing/2014/main" id="{DF46C30E-DD48-05D8-C6E8-A6D0034D4275}"/>
              </a:ext>
            </a:extLst>
          </p:cNvPr>
          <p:cNvSpPr/>
          <p:nvPr/>
        </p:nvSpPr>
        <p:spPr>
          <a:xfrm>
            <a:off x="8508422" y="2585588"/>
            <a:ext cx="3321573" cy="1815882"/>
          </a:xfrm>
          <a:prstGeom prst="rect">
            <a:avLst/>
          </a:prstGeom>
        </p:spPr>
        <p:txBody>
          <a:bodyPr wrap="square" lIns="91440" tIns="45720" rIns="91440" bIns="45720" anchor="t">
            <a:spAutoFit/>
          </a:bodyPr>
          <a:lstStyle/>
          <a:p>
            <a:r>
              <a:rPr lang="el-GR" sz="1400" kern="0">
                <a:solidFill>
                  <a:srgbClr val="002060"/>
                </a:solidFill>
                <a:latin typeface="Arial"/>
                <a:ea typeface="Calibri"/>
                <a:cs typeface="Calibri"/>
              </a:rPr>
              <a:t>Στην </a:t>
            </a:r>
            <a:r>
              <a:rPr lang="el-GR" sz="1400" kern="0">
                <a:solidFill>
                  <a:srgbClr val="00B0F0"/>
                </a:solidFill>
                <a:latin typeface="Arial"/>
                <a:ea typeface="Calibri"/>
                <a:cs typeface="Calibri"/>
              </a:rPr>
              <a:t>Κοζάνη</a:t>
            </a:r>
            <a:r>
              <a:rPr lang="el-GR" sz="1400" kern="0">
                <a:solidFill>
                  <a:srgbClr val="002060"/>
                </a:solidFill>
                <a:latin typeface="Arial"/>
                <a:ea typeface="Calibri"/>
                <a:cs typeface="Calibri"/>
              </a:rPr>
              <a:t>: </a:t>
            </a:r>
            <a:r>
              <a:rPr lang="el-GR" sz="1400" kern="0" err="1">
                <a:solidFill>
                  <a:srgbClr val="002060"/>
                </a:solidFill>
                <a:latin typeface="Arial"/>
                <a:ea typeface="Calibri"/>
                <a:cs typeface="Calibri"/>
              </a:rPr>
              <a:t>Creative</a:t>
            </a:r>
            <a:r>
              <a:rPr lang="el-GR" sz="1400" kern="0">
                <a:solidFill>
                  <a:srgbClr val="002060"/>
                </a:solidFill>
                <a:latin typeface="Arial"/>
                <a:ea typeface="Calibri"/>
                <a:cs typeface="Calibri"/>
              </a:rPr>
              <a:t> </a:t>
            </a:r>
            <a:r>
              <a:rPr lang="el-GR" sz="1400" kern="0" err="1">
                <a:solidFill>
                  <a:srgbClr val="002060"/>
                </a:solidFill>
                <a:latin typeface="Arial"/>
                <a:ea typeface="Calibri"/>
                <a:cs typeface="Calibri"/>
              </a:rPr>
              <a:t>Writing</a:t>
            </a:r>
            <a:r>
              <a:rPr lang="el-GR" sz="1400" kern="0">
                <a:solidFill>
                  <a:srgbClr val="002060"/>
                </a:solidFill>
                <a:latin typeface="Arial"/>
                <a:ea typeface="Calibri"/>
                <a:cs typeface="Calibri"/>
              </a:rPr>
              <a:t>, </a:t>
            </a:r>
            <a:r>
              <a:rPr lang="el-GR" sz="1400" kern="0" err="1">
                <a:solidFill>
                  <a:srgbClr val="002060"/>
                </a:solidFill>
                <a:latin typeface="Arial"/>
                <a:ea typeface="Calibri"/>
                <a:cs typeface="Calibri"/>
              </a:rPr>
              <a:t>Arts</a:t>
            </a:r>
            <a:r>
              <a:rPr lang="el-GR" sz="1400" kern="0">
                <a:solidFill>
                  <a:srgbClr val="002060"/>
                </a:solidFill>
                <a:latin typeface="Arial"/>
                <a:ea typeface="Calibri"/>
                <a:cs typeface="Calibri"/>
              </a:rPr>
              <a:t> and </a:t>
            </a:r>
            <a:r>
              <a:rPr lang="el-GR" sz="1400" kern="0" err="1">
                <a:solidFill>
                  <a:srgbClr val="002060"/>
                </a:solidFill>
                <a:latin typeface="Arial"/>
                <a:ea typeface="Calibri"/>
                <a:cs typeface="Calibri"/>
              </a:rPr>
              <a:t>Humanities</a:t>
            </a:r>
            <a:r>
              <a:rPr lang="el-GR" sz="1400" kern="0">
                <a:solidFill>
                  <a:srgbClr val="002060"/>
                </a:solidFill>
                <a:latin typeface="Arial"/>
                <a:ea typeface="Calibri"/>
                <a:cs typeface="Calibri"/>
              </a:rPr>
              <a:t> </a:t>
            </a:r>
          </a:p>
          <a:p>
            <a:endParaRPr lang="el-GR" sz="1400" kern="0">
              <a:solidFill>
                <a:srgbClr val="000000"/>
              </a:solidFill>
              <a:ea typeface="Calibri"/>
              <a:cs typeface="Calibri"/>
              <a:sym typeface="Arial"/>
            </a:endParaRPr>
          </a:p>
          <a:p>
            <a:endParaRPr lang="el-GR" sz="1400" kern="0">
              <a:solidFill>
                <a:srgbClr val="000000"/>
              </a:solidFill>
              <a:ea typeface="Calibri"/>
              <a:cs typeface="Calibri"/>
              <a:sym typeface="Arial"/>
            </a:endParaRPr>
          </a:p>
          <a:p>
            <a:pPr>
              <a:buClr>
                <a:srgbClr val="000000"/>
              </a:buClr>
            </a:pPr>
            <a:r>
              <a:rPr lang="el-GR" sz="1400" b="1" kern="0">
                <a:solidFill>
                  <a:srgbClr val="002060"/>
                </a:solidFill>
                <a:cs typeface="Arial"/>
                <a:sym typeface="Arial"/>
              </a:rPr>
              <a:t>Πρόοδος υλοποίησης: </a:t>
            </a:r>
            <a:r>
              <a:rPr lang="el-GR" sz="1400" kern="0">
                <a:solidFill>
                  <a:srgbClr val="002060"/>
                </a:solidFill>
                <a:cs typeface="Arial"/>
                <a:sym typeface="Arial"/>
              </a:rPr>
              <a:t>Έχει λάβει πιστοποίηση από την ΕΘΑΑΕ και αναμένεται η έναρξη λειτουργίας του το Σεπτέμβριο 2025. </a:t>
            </a:r>
            <a:endParaRPr lang="el-GR" sz="1400" kern="0">
              <a:solidFill>
                <a:srgbClr val="002060"/>
              </a:solidFill>
              <a:cs typeface="Arial"/>
            </a:endParaRPr>
          </a:p>
        </p:txBody>
      </p:sp>
    </p:spTree>
    <p:extLst>
      <p:ext uri="{BB962C8B-B14F-4D97-AF65-F5344CB8AC3E}">
        <p14:creationId xmlns:p14="http://schemas.microsoft.com/office/powerpoint/2010/main" val="28652656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9E3CAC-8491-155C-E83E-5E3D782FF9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 y="3368"/>
            <a:ext cx="12171790" cy="6904638"/>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473">
          <a:extLst>
            <a:ext uri="{FF2B5EF4-FFF2-40B4-BE49-F238E27FC236}">
              <a16:creationId xmlns:a16="http://schemas.microsoft.com/office/drawing/2014/main" id="{48DEC5F3-37DD-E561-354C-3A6F62110653}"/>
            </a:ext>
          </a:extLst>
        </p:cNvPr>
        <p:cNvGrpSpPr/>
        <p:nvPr/>
      </p:nvGrpSpPr>
      <p:grpSpPr>
        <a:xfrm>
          <a:off x="0" y="0"/>
          <a:ext cx="0" cy="0"/>
          <a:chOff x="0" y="0"/>
          <a:chExt cx="0" cy="0"/>
        </a:xfrm>
      </p:grpSpPr>
      <p:grpSp>
        <p:nvGrpSpPr>
          <p:cNvPr id="1475" name="Google Shape;1475;p38">
            <a:extLst>
              <a:ext uri="{FF2B5EF4-FFF2-40B4-BE49-F238E27FC236}">
                <a16:creationId xmlns:a16="http://schemas.microsoft.com/office/drawing/2014/main" id="{DB92CF9B-77EF-4182-98AF-DDA701052C0B}"/>
              </a:ext>
            </a:extLst>
          </p:cNvPr>
          <p:cNvGrpSpPr/>
          <p:nvPr/>
        </p:nvGrpSpPr>
        <p:grpSpPr>
          <a:xfrm>
            <a:off x="1484249" y="850116"/>
            <a:ext cx="4478069" cy="1930833"/>
            <a:chOff x="1113187" y="645751"/>
            <a:chExt cx="3358551" cy="1448124"/>
          </a:xfrm>
        </p:grpSpPr>
        <p:sp>
          <p:nvSpPr>
            <p:cNvPr id="1476" name="Google Shape;1476;p38">
              <a:extLst>
                <a:ext uri="{FF2B5EF4-FFF2-40B4-BE49-F238E27FC236}">
                  <a16:creationId xmlns:a16="http://schemas.microsoft.com/office/drawing/2014/main" id="{1C7D5DC2-75F9-6EAB-1FFE-064525874C87}"/>
                </a:ext>
              </a:extLst>
            </p:cNvPr>
            <p:cNvSpPr/>
            <p:nvPr/>
          </p:nvSpPr>
          <p:spPr>
            <a:xfrm>
              <a:off x="3755838" y="1279575"/>
              <a:ext cx="528350" cy="571000"/>
            </a:xfrm>
            <a:custGeom>
              <a:avLst/>
              <a:gdLst/>
              <a:ahLst/>
              <a:cxnLst/>
              <a:rect l="l" t="t" r="r" b="b"/>
              <a:pathLst>
                <a:path w="21134" h="22840" extrusionOk="0">
                  <a:moveTo>
                    <a:pt x="10576" y="1528"/>
                  </a:moveTo>
                  <a:cubicBezTo>
                    <a:pt x="11644" y="1528"/>
                    <a:pt x="12729" y="1750"/>
                    <a:pt x="13764" y="2218"/>
                  </a:cubicBezTo>
                  <a:cubicBezTo>
                    <a:pt x="17669" y="3992"/>
                    <a:pt x="19395" y="8576"/>
                    <a:pt x="17633" y="12481"/>
                  </a:cubicBezTo>
                  <a:cubicBezTo>
                    <a:pt x="16331" y="15339"/>
                    <a:pt x="13515" y="17030"/>
                    <a:pt x="10564" y="17030"/>
                  </a:cubicBezTo>
                  <a:cubicBezTo>
                    <a:pt x="9495" y="17030"/>
                    <a:pt x="8409" y="16808"/>
                    <a:pt x="7370" y="16339"/>
                  </a:cubicBezTo>
                  <a:cubicBezTo>
                    <a:pt x="3477" y="14577"/>
                    <a:pt x="1750" y="9981"/>
                    <a:pt x="3512" y="6088"/>
                  </a:cubicBezTo>
                  <a:cubicBezTo>
                    <a:pt x="4806" y="3221"/>
                    <a:pt x="7627" y="1528"/>
                    <a:pt x="10576" y="1528"/>
                  </a:cubicBezTo>
                  <a:close/>
                  <a:moveTo>
                    <a:pt x="10580" y="1"/>
                  </a:moveTo>
                  <a:cubicBezTo>
                    <a:pt x="7046" y="1"/>
                    <a:pt x="3667" y="2029"/>
                    <a:pt x="2119" y="5457"/>
                  </a:cubicBezTo>
                  <a:cubicBezTo>
                    <a:pt x="0" y="10124"/>
                    <a:pt x="2072" y="15613"/>
                    <a:pt x="6739" y="17732"/>
                  </a:cubicBezTo>
                  <a:cubicBezTo>
                    <a:pt x="7972" y="18295"/>
                    <a:pt x="9261" y="18558"/>
                    <a:pt x="10534" y="18558"/>
                  </a:cubicBezTo>
                  <a:cubicBezTo>
                    <a:pt x="10822" y="18558"/>
                    <a:pt x="11109" y="18544"/>
                    <a:pt x="11394" y="18518"/>
                  </a:cubicBezTo>
                  <a:lnTo>
                    <a:pt x="15669" y="22840"/>
                  </a:lnTo>
                  <a:lnTo>
                    <a:pt x="16050" y="16768"/>
                  </a:lnTo>
                  <a:cubicBezTo>
                    <a:pt x="17300" y="15851"/>
                    <a:pt x="18336" y="14625"/>
                    <a:pt x="19026" y="13112"/>
                  </a:cubicBezTo>
                  <a:cubicBezTo>
                    <a:pt x="21134" y="8445"/>
                    <a:pt x="19062" y="2944"/>
                    <a:pt x="14395" y="825"/>
                  </a:cubicBezTo>
                  <a:cubicBezTo>
                    <a:pt x="13156" y="266"/>
                    <a:pt x="11858" y="1"/>
                    <a:pt x="10580" y="1"/>
                  </a:cubicBezTo>
                  <a:close/>
                </a:path>
              </a:pathLst>
            </a:custGeom>
            <a:solidFill>
              <a:srgbClr val="69E781"/>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477" name="Google Shape;1477;p38">
              <a:extLst>
                <a:ext uri="{FF2B5EF4-FFF2-40B4-BE49-F238E27FC236}">
                  <a16:creationId xmlns:a16="http://schemas.microsoft.com/office/drawing/2014/main" id="{BC734262-6FFE-082F-B70F-FA43F5B709B4}"/>
                </a:ext>
              </a:extLst>
            </p:cNvPr>
            <p:cNvSpPr/>
            <p:nvPr/>
          </p:nvSpPr>
          <p:spPr>
            <a:xfrm>
              <a:off x="3854963" y="1694700"/>
              <a:ext cx="616775" cy="399175"/>
            </a:xfrm>
            <a:custGeom>
              <a:avLst/>
              <a:gdLst/>
              <a:ahLst/>
              <a:cxnLst/>
              <a:rect l="l" t="t" r="r" b="b"/>
              <a:pathLst>
                <a:path w="24671" h="15967" extrusionOk="0">
                  <a:moveTo>
                    <a:pt x="24670" y="0"/>
                  </a:moveTo>
                  <a:cubicBezTo>
                    <a:pt x="15252" y="715"/>
                    <a:pt x="6692" y="4501"/>
                    <a:pt x="1" y="10383"/>
                  </a:cubicBezTo>
                  <a:lnTo>
                    <a:pt x="5585" y="15967"/>
                  </a:lnTo>
                  <a:cubicBezTo>
                    <a:pt x="10823" y="11502"/>
                    <a:pt x="17419" y="8573"/>
                    <a:pt x="24670" y="7906"/>
                  </a:cubicBezTo>
                  <a:lnTo>
                    <a:pt x="24670" y="0"/>
                  </a:lnTo>
                  <a:close/>
                </a:path>
              </a:pathLst>
            </a:custGeom>
            <a:solidFill>
              <a:srgbClr val="69E781"/>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480" name="Google Shape;1480;p38">
              <a:extLst>
                <a:ext uri="{FF2B5EF4-FFF2-40B4-BE49-F238E27FC236}">
                  <a16:creationId xmlns:a16="http://schemas.microsoft.com/office/drawing/2014/main" id="{CC9F85F9-C4F7-4243-2521-61A95B395F7A}"/>
                </a:ext>
              </a:extLst>
            </p:cNvPr>
            <p:cNvSpPr txBox="1"/>
            <p:nvPr/>
          </p:nvSpPr>
          <p:spPr>
            <a:xfrm>
              <a:off x="1113187" y="645751"/>
              <a:ext cx="3214871" cy="690135"/>
            </a:xfrm>
            <a:prstGeom prst="rect">
              <a:avLst/>
            </a:prstGeom>
            <a:noFill/>
            <a:ln>
              <a:noFill/>
            </a:ln>
          </p:spPr>
          <p:txBody>
            <a:bodyPr spcFirstLastPara="1" wrap="square" lIns="121900" tIns="121900" rIns="121900" bIns="121900" anchor="ctr" anchorCtr="0">
              <a:noAutofit/>
            </a:bodyPr>
            <a:lstStyle/>
            <a:p>
              <a:pPr>
                <a:defRPr/>
              </a:pPr>
              <a:r>
                <a:rPr lang="el-GR" sz="2000" dirty="0">
                  <a:solidFill>
                    <a:srgbClr val="629DD1"/>
                  </a:solidFill>
                  <a:latin typeface="Fira Sans Extra Condensed Medium"/>
                  <a:sym typeface="Fira Sans Extra Condensed Medium"/>
                </a:rPr>
                <a:t>Σήραγγα Κλεισούρας| 71 εκατ. </a:t>
              </a:r>
              <a:r>
                <a:rPr lang="el-GR" sz="2000" dirty="0">
                  <a:solidFill>
                    <a:srgbClr val="629DD1"/>
                  </a:solidFill>
                  <a:ea typeface="+mn-lt"/>
                  <a:cs typeface="+mn-lt"/>
                  <a:sym typeface="Fira Sans Extra Condensed Medium"/>
                </a:rPr>
                <a:t>€</a:t>
              </a:r>
              <a:endParaRPr lang="el-GR" sz="2000" dirty="0">
                <a:solidFill>
                  <a:srgbClr val="629DD1"/>
                </a:solidFill>
                <a:ea typeface="+mn-lt"/>
                <a:cs typeface="+mn-lt"/>
              </a:endParaRPr>
            </a:p>
          </p:txBody>
        </p:sp>
      </p:grpSp>
      <p:grpSp>
        <p:nvGrpSpPr>
          <p:cNvPr id="1482" name="Google Shape;1482;p38">
            <a:extLst>
              <a:ext uri="{FF2B5EF4-FFF2-40B4-BE49-F238E27FC236}">
                <a16:creationId xmlns:a16="http://schemas.microsoft.com/office/drawing/2014/main" id="{088378FF-6934-68A7-1CD5-0B901C884B3F}"/>
              </a:ext>
            </a:extLst>
          </p:cNvPr>
          <p:cNvGrpSpPr/>
          <p:nvPr/>
        </p:nvGrpSpPr>
        <p:grpSpPr>
          <a:xfrm>
            <a:off x="4071954" y="3791533"/>
            <a:ext cx="1122800" cy="866651"/>
            <a:chOff x="3053963" y="2843650"/>
            <a:chExt cx="842100" cy="649988"/>
          </a:xfrm>
        </p:grpSpPr>
        <p:sp>
          <p:nvSpPr>
            <p:cNvPr id="1483" name="Google Shape;1483;p38">
              <a:extLst>
                <a:ext uri="{FF2B5EF4-FFF2-40B4-BE49-F238E27FC236}">
                  <a16:creationId xmlns:a16="http://schemas.microsoft.com/office/drawing/2014/main" id="{8B64D81B-9B3C-760B-3ED8-1E969CF074D7}"/>
                </a:ext>
              </a:extLst>
            </p:cNvPr>
            <p:cNvSpPr/>
            <p:nvPr/>
          </p:nvSpPr>
          <p:spPr>
            <a:xfrm>
              <a:off x="3053963" y="3029513"/>
              <a:ext cx="607850" cy="464125"/>
            </a:xfrm>
            <a:custGeom>
              <a:avLst/>
              <a:gdLst/>
              <a:ahLst/>
              <a:cxnLst/>
              <a:rect l="l" t="t" r="r" b="b"/>
              <a:pathLst>
                <a:path w="24314" h="18565" extrusionOk="0">
                  <a:moveTo>
                    <a:pt x="10603" y="1533"/>
                  </a:moveTo>
                  <a:cubicBezTo>
                    <a:pt x="11755" y="1533"/>
                    <a:pt x="12924" y="1791"/>
                    <a:pt x="14026" y="2335"/>
                  </a:cubicBezTo>
                  <a:cubicBezTo>
                    <a:pt x="17860" y="4240"/>
                    <a:pt x="19432" y="8884"/>
                    <a:pt x="17527" y="12729"/>
                  </a:cubicBezTo>
                  <a:cubicBezTo>
                    <a:pt x="16180" y="15458"/>
                    <a:pt x="13439" y="17034"/>
                    <a:pt x="10585" y="17034"/>
                  </a:cubicBezTo>
                  <a:cubicBezTo>
                    <a:pt x="9429" y="17034"/>
                    <a:pt x="8253" y="16776"/>
                    <a:pt x="7145" y="16230"/>
                  </a:cubicBezTo>
                  <a:cubicBezTo>
                    <a:pt x="3311" y="14325"/>
                    <a:pt x="1739" y="9681"/>
                    <a:pt x="3644" y="5848"/>
                  </a:cubicBezTo>
                  <a:cubicBezTo>
                    <a:pt x="5001" y="3116"/>
                    <a:pt x="7749" y="1533"/>
                    <a:pt x="10603" y="1533"/>
                  </a:cubicBezTo>
                  <a:close/>
                  <a:moveTo>
                    <a:pt x="10596" y="1"/>
                  </a:moveTo>
                  <a:cubicBezTo>
                    <a:pt x="7179" y="1"/>
                    <a:pt x="3894" y="1897"/>
                    <a:pt x="2275" y="5169"/>
                  </a:cubicBezTo>
                  <a:cubicBezTo>
                    <a:pt x="1" y="9765"/>
                    <a:pt x="1882" y="15325"/>
                    <a:pt x="6466" y="17599"/>
                  </a:cubicBezTo>
                  <a:cubicBezTo>
                    <a:pt x="7790" y="18254"/>
                    <a:pt x="9194" y="18564"/>
                    <a:pt x="10578" y="18564"/>
                  </a:cubicBezTo>
                  <a:cubicBezTo>
                    <a:pt x="13998" y="18564"/>
                    <a:pt x="17289" y="16668"/>
                    <a:pt x="18908" y="13396"/>
                  </a:cubicBezTo>
                  <a:cubicBezTo>
                    <a:pt x="19634" y="11920"/>
                    <a:pt x="19932" y="10324"/>
                    <a:pt x="19849" y="8788"/>
                  </a:cubicBezTo>
                  <a:lnTo>
                    <a:pt x="24313" y="4645"/>
                  </a:lnTo>
                  <a:lnTo>
                    <a:pt x="18265" y="4062"/>
                  </a:lnTo>
                  <a:cubicBezTo>
                    <a:pt x="17396" y="2788"/>
                    <a:pt x="16193" y="1704"/>
                    <a:pt x="14705" y="966"/>
                  </a:cubicBezTo>
                  <a:cubicBezTo>
                    <a:pt x="13381" y="311"/>
                    <a:pt x="11978" y="1"/>
                    <a:pt x="10596" y="1"/>
                  </a:cubicBezTo>
                  <a:close/>
                </a:path>
              </a:pathLst>
            </a:custGeom>
            <a:solidFill>
              <a:srgbClr val="4949E7"/>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484" name="Google Shape;1484;p38">
              <a:extLst>
                <a:ext uri="{FF2B5EF4-FFF2-40B4-BE49-F238E27FC236}">
                  <a16:creationId xmlns:a16="http://schemas.microsoft.com/office/drawing/2014/main" id="{B4848BB5-4405-9724-2C16-905362B7AA23}"/>
                </a:ext>
              </a:extLst>
            </p:cNvPr>
            <p:cNvSpPr/>
            <p:nvPr/>
          </p:nvSpPr>
          <p:spPr>
            <a:xfrm>
              <a:off x="3498963" y="2843650"/>
              <a:ext cx="397100" cy="602175"/>
            </a:xfrm>
            <a:custGeom>
              <a:avLst/>
              <a:gdLst/>
              <a:ahLst/>
              <a:cxnLst/>
              <a:rect l="l" t="t" r="r" b="b"/>
              <a:pathLst>
                <a:path w="15884" h="24087" extrusionOk="0">
                  <a:moveTo>
                    <a:pt x="1" y="0"/>
                  </a:moveTo>
                  <a:cubicBezTo>
                    <a:pt x="810" y="9192"/>
                    <a:pt x="4561" y="17538"/>
                    <a:pt x="10300" y="24087"/>
                  </a:cubicBezTo>
                  <a:lnTo>
                    <a:pt x="15884" y="18503"/>
                  </a:lnTo>
                  <a:cubicBezTo>
                    <a:pt x="11550" y="13395"/>
                    <a:pt x="8680" y="7025"/>
                    <a:pt x="7918" y="0"/>
                  </a:cubicBezTo>
                  <a:close/>
                </a:path>
              </a:pathLst>
            </a:custGeom>
            <a:solidFill>
              <a:srgbClr val="4949E7"/>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1493" name="Google Shape;1493;p38">
            <a:extLst>
              <a:ext uri="{FF2B5EF4-FFF2-40B4-BE49-F238E27FC236}">
                <a16:creationId xmlns:a16="http://schemas.microsoft.com/office/drawing/2014/main" id="{7FA53298-87C7-A520-6DC3-96A3AC0517C3}"/>
              </a:ext>
            </a:extLst>
          </p:cNvPr>
          <p:cNvGrpSpPr/>
          <p:nvPr/>
        </p:nvGrpSpPr>
        <p:grpSpPr>
          <a:xfrm>
            <a:off x="4071968" y="2671667"/>
            <a:ext cx="1105318" cy="906766"/>
            <a:chOff x="3053975" y="2003750"/>
            <a:chExt cx="828988" cy="680075"/>
          </a:xfrm>
        </p:grpSpPr>
        <p:sp>
          <p:nvSpPr>
            <p:cNvPr id="1494" name="Google Shape;1494;p38">
              <a:extLst>
                <a:ext uri="{FF2B5EF4-FFF2-40B4-BE49-F238E27FC236}">
                  <a16:creationId xmlns:a16="http://schemas.microsoft.com/office/drawing/2014/main" id="{16C815D7-13B7-2114-DC8B-FEC8C5DFD396}"/>
                </a:ext>
              </a:extLst>
            </p:cNvPr>
            <p:cNvSpPr/>
            <p:nvPr/>
          </p:nvSpPr>
          <p:spPr>
            <a:xfrm>
              <a:off x="3053975" y="2003750"/>
              <a:ext cx="583425" cy="464175"/>
            </a:xfrm>
            <a:custGeom>
              <a:avLst/>
              <a:gdLst/>
              <a:ahLst/>
              <a:cxnLst/>
              <a:rect l="l" t="t" r="r" b="b"/>
              <a:pathLst>
                <a:path w="23337" h="18567" extrusionOk="0">
                  <a:moveTo>
                    <a:pt x="10410" y="1534"/>
                  </a:moveTo>
                  <a:cubicBezTo>
                    <a:pt x="13672" y="1534"/>
                    <a:pt x="16706" y="3604"/>
                    <a:pt x="17777" y="6863"/>
                  </a:cubicBezTo>
                  <a:cubicBezTo>
                    <a:pt x="19110" y="10935"/>
                    <a:pt x="16896" y="15305"/>
                    <a:pt x="12824" y="16638"/>
                  </a:cubicBezTo>
                  <a:cubicBezTo>
                    <a:pt x="12020" y="16905"/>
                    <a:pt x="11204" y="17031"/>
                    <a:pt x="10402" y="17031"/>
                  </a:cubicBezTo>
                  <a:cubicBezTo>
                    <a:pt x="7149" y="17031"/>
                    <a:pt x="4118" y="14954"/>
                    <a:pt x="3049" y="11697"/>
                  </a:cubicBezTo>
                  <a:cubicBezTo>
                    <a:pt x="1715" y="7625"/>
                    <a:pt x="3930" y="3256"/>
                    <a:pt x="7990" y="1922"/>
                  </a:cubicBezTo>
                  <a:cubicBezTo>
                    <a:pt x="8793" y="1659"/>
                    <a:pt x="9608" y="1534"/>
                    <a:pt x="10410" y="1534"/>
                  </a:cubicBezTo>
                  <a:close/>
                  <a:moveTo>
                    <a:pt x="10419" y="0"/>
                  </a:moveTo>
                  <a:cubicBezTo>
                    <a:pt x="9456" y="0"/>
                    <a:pt x="8477" y="152"/>
                    <a:pt x="7513" y="470"/>
                  </a:cubicBezTo>
                  <a:cubicBezTo>
                    <a:pt x="2644" y="2065"/>
                    <a:pt x="1" y="7304"/>
                    <a:pt x="1596" y="12174"/>
                  </a:cubicBezTo>
                  <a:cubicBezTo>
                    <a:pt x="2877" y="16084"/>
                    <a:pt x="6508" y="18567"/>
                    <a:pt x="10410" y="18567"/>
                  </a:cubicBezTo>
                  <a:cubicBezTo>
                    <a:pt x="11367" y="18567"/>
                    <a:pt x="12341" y="18417"/>
                    <a:pt x="13300" y="18103"/>
                  </a:cubicBezTo>
                  <a:cubicBezTo>
                    <a:pt x="14871" y="17579"/>
                    <a:pt x="16217" y="16686"/>
                    <a:pt x="17265" y="15543"/>
                  </a:cubicBezTo>
                  <a:lnTo>
                    <a:pt x="23337" y="15817"/>
                  </a:lnTo>
                  <a:lnTo>
                    <a:pt x="19503" y="11090"/>
                  </a:lnTo>
                  <a:cubicBezTo>
                    <a:pt x="19813" y="9578"/>
                    <a:pt x="19741" y="7959"/>
                    <a:pt x="19229" y="6387"/>
                  </a:cubicBezTo>
                  <a:cubicBezTo>
                    <a:pt x="17950" y="2482"/>
                    <a:pt x="14319" y="0"/>
                    <a:pt x="10419" y="0"/>
                  </a:cubicBezTo>
                  <a:close/>
                </a:path>
              </a:pathLst>
            </a:custGeom>
            <a:solidFill>
              <a:srgbClr val="5EB2FC"/>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495" name="Google Shape;1495;p38">
              <a:extLst>
                <a:ext uri="{FF2B5EF4-FFF2-40B4-BE49-F238E27FC236}">
                  <a16:creationId xmlns:a16="http://schemas.microsoft.com/office/drawing/2014/main" id="{9A7DB67A-2370-3F2D-FF24-DC22F88BD95D}"/>
                </a:ext>
              </a:extLst>
            </p:cNvPr>
            <p:cNvSpPr/>
            <p:nvPr/>
          </p:nvSpPr>
          <p:spPr>
            <a:xfrm>
              <a:off x="3496888" y="2068250"/>
              <a:ext cx="386075" cy="615575"/>
            </a:xfrm>
            <a:custGeom>
              <a:avLst/>
              <a:gdLst/>
              <a:ahLst/>
              <a:cxnLst/>
              <a:rect l="l" t="t" r="r" b="b"/>
              <a:pathLst>
                <a:path w="15443" h="24623" extrusionOk="0">
                  <a:moveTo>
                    <a:pt x="9847" y="1"/>
                  </a:moveTo>
                  <a:cubicBezTo>
                    <a:pt x="4179" y="6740"/>
                    <a:pt x="572" y="15276"/>
                    <a:pt x="0" y="24623"/>
                  </a:cubicBezTo>
                  <a:lnTo>
                    <a:pt x="7882" y="24623"/>
                  </a:lnTo>
                  <a:cubicBezTo>
                    <a:pt x="8430" y="17443"/>
                    <a:pt x="11168" y="10883"/>
                    <a:pt x="15443" y="5597"/>
                  </a:cubicBezTo>
                  <a:lnTo>
                    <a:pt x="9847" y="1"/>
                  </a:lnTo>
                  <a:close/>
                </a:path>
              </a:pathLst>
            </a:custGeom>
            <a:solidFill>
              <a:srgbClr val="5EB2FC"/>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1501" name="Google Shape;1501;p38">
            <a:extLst>
              <a:ext uri="{FF2B5EF4-FFF2-40B4-BE49-F238E27FC236}">
                <a16:creationId xmlns:a16="http://schemas.microsoft.com/office/drawing/2014/main" id="{FCECFB6D-D672-7949-41BC-A0190FC457AF}"/>
              </a:ext>
            </a:extLst>
          </p:cNvPr>
          <p:cNvGrpSpPr/>
          <p:nvPr/>
        </p:nvGrpSpPr>
        <p:grpSpPr>
          <a:xfrm>
            <a:off x="5025633" y="4557104"/>
            <a:ext cx="936684" cy="1076834"/>
            <a:chOff x="3769225" y="3417825"/>
            <a:chExt cx="702513" cy="807625"/>
          </a:xfrm>
        </p:grpSpPr>
        <p:sp>
          <p:nvSpPr>
            <p:cNvPr id="1502" name="Google Shape;1502;p38">
              <a:extLst>
                <a:ext uri="{FF2B5EF4-FFF2-40B4-BE49-F238E27FC236}">
                  <a16:creationId xmlns:a16="http://schemas.microsoft.com/office/drawing/2014/main" id="{593A2D90-5D30-6708-2108-FEA106C986BF}"/>
                </a:ext>
              </a:extLst>
            </p:cNvPr>
            <p:cNvSpPr/>
            <p:nvPr/>
          </p:nvSpPr>
          <p:spPr>
            <a:xfrm>
              <a:off x="3769225" y="3663475"/>
              <a:ext cx="524500" cy="561975"/>
            </a:xfrm>
            <a:custGeom>
              <a:avLst/>
              <a:gdLst/>
              <a:ahLst/>
              <a:cxnLst/>
              <a:rect l="l" t="t" r="r" b="b"/>
              <a:pathLst>
                <a:path w="20980" h="22479" extrusionOk="0">
                  <a:moveTo>
                    <a:pt x="10481" y="5447"/>
                  </a:moveTo>
                  <a:cubicBezTo>
                    <a:pt x="13615" y="5447"/>
                    <a:pt x="16567" y="7361"/>
                    <a:pt x="17741" y="10466"/>
                  </a:cubicBezTo>
                  <a:cubicBezTo>
                    <a:pt x="19253" y="14467"/>
                    <a:pt x="17229" y="18944"/>
                    <a:pt x="13217" y="20444"/>
                  </a:cubicBezTo>
                  <a:cubicBezTo>
                    <a:pt x="12317" y="20784"/>
                    <a:pt x="11392" y="20945"/>
                    <a:pt x="10484" y="20945"/>
                  </a:cubicBezTo>
                  <a:cubicBezTo>
                    <a:pt x="7352" y="20945"/>
                    <a:pt x="4402" y="19032"/>
                    <a:pt x="3239" y="15931"/>
                  </a:cubicBezTo>
                  <a:cubicBezTo>
                    <a:pt x="1727" y="11919"/>
                    <a:pt x="3751" y="7454"/>
                    <a:pt x="7763" y="5942"/>
                  </a:cubicBezTo>
                  <a:cubicBezTo>
                    <a:pt x="8659" y="5606"/>
                    <a:pt x="9578" y="5447"/>
                    <a:pt x="10481" y="5447"/>
                  </a:cubicBezTo>
                  <a:close/>
                  <a:moveTo>
                    <a:pt x="16467" y="1"/>
                  </a:moveTo>
                  <a:lnTo>
                    <a:pt x="11907" y="4025"/>
                  </a:lnTo>
                  <a:cubicBezTo>
                    <a:pt x="11442" y="3952"/>
                    <a:pt x="10969" y="3915"/>
                    <a:pt x="10492" y="3915"/>
                  </a:cubicBezTo>
                  <a:cubicBezTo>
                    <a:pt x="9406" y="3915"/>
                    <a:pt x="8299" y="4108"/>
                    <a:pt x="7216" y="4513"/>
                  </a:cubicBezTo>
                  <a:cubicBezTo>
                    <a:pt x="2429" y="6323"/>
                    <a:pt x="1" y="11669"/>
                    <a:pt x="1810" y="16467"/>
                  </a:cubicBezTo>
                  <a:cubicBezTo>
                    <a:pt x="3205" y="20189"/>
                    <a:pt x="6742" y="22479"/>
                    <a:pt x="10499" y="22479"/>
                  </a:cubicBezTo>
                  <a:cubicBezTo>
                    <a:pt x="11584" y="22479"/>
                    <a:pt x="12688" y="22287"/>
                    <a:pt x="13764" y="21884"/>
                  </a:cubicBezTo>
                  <a:cubicBezTo>
                    <a:pt x="18551" y="20075"/>
                    <a:pt x="20979" y="14717"/>
                    <a:pt x="19170" y="9931"/>
                  </a:cubicBezTo>
                  <a:cubicBezTo>
                    <a:pt x="18586" y="8371"/>
                    <a:pt x="17634" y="7073"/>
                    <a:pt x="16443" y="6085"/>
                  </a:cubicBezTo>
                  <a:lnTo>
                    <a:pt x="16467" y="1"/>
                  </a:lnTo>
                  <a:close/>
                </a:path>
              </a:pathLst>
            </a:custGeom>
            <a:solidFill>
              <a:srgbClr val="FCBD24"/>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503" name="Google Shape;1503;p38">
              <a:extLst>
                <a:ext uri="{FF2B5EF4-FFF2-40B4-BE49-F238E27FC236}">
                  <a16:creationId xmlns:a16="http://schemas.microsoft.com/office/drawing/2014/main" id="{81CC24B1-5261-1CCD-DDF9-46F03CB4583A}"/>
                </a:ext>
              </a:extLst>
            </p:cNvPr>
            <p:cNvSpPr/>
            <p:nvPr/>
          </p:nvSpPr>
          <p:spPr>
            <a:xfrm>
              <a:off x="3870738" y="3417825"/>
              <a:ext cx="601000" cy="386075"/>
            </a:xfrm>
            <a:custGeom>
              <a:avLst/>
              <a:gdLst/>
              <a:ahLst/>
              <a:cxnLst/>
              <a:rect l="l" t="t" r="r" b="b"/>
              <a:pathLst>
                <a:path w="24040" h="15443" extrusionOk="0">
                  <a:moveTo>
                    <a:pt x="5585" y="1"/>
                  </a:moveTo>
                  <a:lnTo>
                    <a:pt x="1" y="5596"/>
                  </a:lnTo>
                  <a:cubicBezTo>
                    <a:pt x="6585" y="11169"/>
                    <a:pt x="14907" y="14752"/>
                    <a:pt x="24039" y="15443"/>
                  </a:cubicBezTo>
                  <a:lnTo>
                    <a:pt x="24039" y="7537"/>
                  </a:lnTo>
                  <a:cubicBezTo>
                    <a:pt x="17074" y="6894"/>
                    <a:pt x="10728" y="4168"/>
                    <a:pt x="5585" y="1"/>
                  </a:cubicBezTo>
                  <a:close/>
                </a:path>
              </a:pathLst>
            </a:custGeom>
            <a:solidFill>
              <a:srgbClr val="FCBD24"/>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1512" name="Google Shape;1512;p38">
            <a:extLst>
              <a:ext uri="{FF2B5EF4-FFF2-40B4-BE49-F238E27FC236}">
                <a16:creationId xmlns:a16="http://schemas.microsoft.com/office/drawing/2014/main" id="{16AA289F-E1F1-9722-EE36-0CB25B533353}"/>
              </a:ext>
            </a:extLst>
          </p:cNvPr>
          <p:cNvGrpSpPr/>
          <p:nvPr/>
        </p:nvGrpSpPr>
        <p:grpSpPr>
          <a:xfrm>
            <a:off x="6176731" y="1683935"/>
            <a:ext cx="948992" cy="1107901"/>
            <a:chOff x="4632548" y="1262950"/>
            <a:chExt cx="711744" cy="830925"/>
          </a:xfrm>
        </p:grpSpPr>
        <p:sp>
          <p:nvSpPr>
            <p:cNvPr id="1517" name="Google Shape;1517;p38">
              <a:extLst>
                <a:ext uri="{FF2B5EF4-FFF2-40B4-BE49-F238E27FC236}">
                  <a16:creationId xmlns:a16="http://schemas.microsoft.com/office/drawing/2014/main" id="{A10682DA-5D2E-F092-13C9-4D8BFB9D2CE8}"/>
                </a:ext>
              </a:extLst>
            </p:cNvPr>
            <p:cNvSpPr/>
            <p:nvPr/>
          </p:nvSpPr>
          <p:spPr>
            <a:xfrm flipH="1">
              <a:off x="4815942" y="1262950"/>
              <a:ext cx="528350" cy="571000"/>
            </a:xfrm>
            <a:custGeom>
              <a:avLst/>
              <a:gdLst/>
              <a:ahLst/>
              <a:cxnLst/>
              <a:rect l="l" t="t" r="r" b="b"/>
              <a:pathLst>
                <a:path w="21134" h="22840" extrusionOk="0">
                  <a:moveTo>
                    <a:pt x="10576" y="1528"/>
                  </a:moveTo>
                  <a:cubicBezTo>
                    <a:pt x="11644" y="1528"/>
                    <a:pt x="12729" y="1750"/>
                    <a:pt x="13764" y="2218"/>
                  </a:cubicBezTo>
                  <a:cubicBezTo>
                    <a:pt x="17669" y="3992"/>
                    <a:pt x="19395" y="8576"/>
                    <a:pt x="17633" y="12481"/>
                  </a:cubicBezTo>
                  <a:cubicBezTo>
                    <a:pt x="16331" y="15339"/>
                    <a:pt x="13515" y="17030"/>
                    <a:pt x="10564" y="17030"/>
                  </a:cubicBezTo>
                  <a:cubicBezTo>
                    <a:pt x="9495" y="17030"/>
                    <a:pt x="8409" y="16808"/>
                    <a:pt x="7370" y="16339"/>
                  </a:cubicBezTo>
                  <a:cubicBezTo>
                    <a:pt x="3477" y="14577"/>
                    <a:pt x="1750" y="9981"/>
                    <a:pt x="3512" y="6088"/>
                  </a:cubicBezTo>
                  <a:cubicBezTo>
                    <a:pt x="4806" y="3221"/>
                    <a:pt x="7627" y="1528"/>
                    <a:pt x="10576" y="1528"/>
                  </a:cubicBezTo>
                  <a:close/>
                  <a:moveTo>
                    <a:pt x="10580" y="1"/>
                  </a:moveTo>
                  <a:cubicBezTo>
                    <a:pt x="7046" y="1"/>
                    <a:pt x="3667" y="2029"/>
                    <a:pt x="2119" y="5457"/>
                  </a:cubicBezTo>
                  <a:cubicBezTo>
                    <a:pt x="0" y="10124"/>
                    <a:pt x="2072" y="15613"/>
                    <a:pt x="6739" y="17732"/>
                  </a:cubicBezTo>
                  <a:cubicBezTo>
                    <a:pt x="7972" y="18295"/>
                    <a:pt x="9261" y="18558"/>
                    <a:pt x="10534" y="18558"/>
                  </a:cubicBezTo>
                  <a:cubicBezTo>
                    <a:pt x="10822" y="18558"/>
                    <a:pt x="11109" y="18544"/>
                    <a:pt x="11394" y="18518"/>
                  </a:cubicBezTo>
                  <a:lnTo>
                    <a:pt x="15669" y="22840"/>
                  </a:lnTo>
                  <a:lnTo>
                    <a:pt x="16050" y="16768"/>
                  </a:lnTo>
                  <a:cubicBezTo>
                    <a:pt x="17300" y="15851"/>
                    <a:pt x="18336" y="14625"/>
                    <a:pt x="19026" y="13112"/>
                  </a:cubicBezTo>
                  <a:cubicBezTo>
                    <a:pt x="21134" y="8445"/>
                    <a:pt x="19062" y="2944"/>
                    <a:pt x="14395" y="825"/>
                  </a:cubicBezTo>
                  <a:cubicBezTo>
                    <a:pt x="13156" y="266"/>
                    <a:pt x="11858" y="1"/>
                    <a:pt x="10580" y="1"/>
                  </a:cubicBezTo>
                  <a:close/>
                </a:path>
              </a:pathLst>
            </a:custGeom>
            <a:solidFill>
              <a:schemeClr val="accent5"/>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518" name="Google Shape;1518;p38">
              <a:extLst>
                <a:ext uri="{FF2B5EF4-FFF2-40B4-BE49-F238E27FC236}">
                  <a16:creationId xmlns:a16="http://schemas.microsoft.com/office/drawing/2014/main" id="{0D02B9CF-F4D1-FC1D-780C-B8A805EF2249}"/>
                </a:ext>
              </a:extLst>
            </p:cNvPr>
            <p:cNvSpPr/>
            <p:nvPr/>
          </p:nvSpPr>
          <p:spPr>
            <a:xfrm flipH="1">
              <a:off x="4632548" y="1694700"/>
              <a:ext cx="616775" cy="399175"/>
            </a:xfrm>
            <a:custGeom>
              <a:avLst/>
              <a:gdLst/>
              <a:ahLst/>
              <a:cxnLst/>
              <a:rect l="l" t="t" r="r" b="b"/>
              <a:pathLst>
                <a:path w="24671" h="15967" extrusionOk="0">
                  <a:moveTo>
                    <a:pt x="24670" y="0"/>
                  </a:moveTo>
                  <a:cubicBezTo>
                    <a:pt x="15252" y="715"/>
                    <a:pt x="6692" y="4501"/>
                    <a:pt x="1" y="10383"/>
                  </a:cubicBezTo>
                  <a:lnTo>
                    <a:pt x="5585" y="15967"/>
                  </a:lnTo>
                  <a:cubicBezTo>
                    <a:pt x="10823" y="11502"/>
                    <a:pt x="17419" y="8573"/>
                    <a:pt x="24670" y="7906"/>
                  </a:cubicBezTo>
                  <a:lnTo>
                    <a:pt x="24670" y="0"/>
                  </a:lnTo>
                  <a:close/>
                </a:path>
              </a:pathLst>
            </a:custGeom>
            <a:solidFill>
              <a:schemeClr val="accent5"/>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1519" name="Google Shape;1519;p38">
            <a:extLst>
              <a:ext uri="{FF2B5EF4-FFF2-40B4-BE49-F238E27FC236}">
                <a16:creationId xmlns:a16="http://schemas.microsoft.com/office/drawing/2014/main" id="{FF6F191D-F5C2-C40C-8E4E-48043960C0DF}"/>
              </a:ext>
            </a:extLst>
          </p:cNvPr>
          <p:cNvGrpSpPr/>
          <p:nvPr/>
        </p:nvGrpSpPr>
        <p:grpSpPr>
          <a:xfrm>
            <a:off x="7006100" y="2671665"/>
            <a:ext cx="1105317" cy="906766"/>
            <a:chOff x="5254575" y="2003750"/>
            <a:chExt cx="828988" cy="680075"/>
          </a:xfrm>
        </p:grpSpPr>
        <p:sp>
          <p:nvSpPr>
            <p:cNvPr id="1524" name="Google Shape;1524;p38">
              <a:extLst>
                <a:ext uri="{FF2B5EF4-FFF2-40B4-BE49-F238E27FC236}">
                  <a16:creationId xmlns:a16="http://schemas.microsoft.com/office/drawing/2014/main" id="{FEA802AD-738D-0E48-CCB8-FB1C9274A43A}"/>
                </a:ext>
              </a:extLst>
            </p:cNvPr>
            <p:cNvSpPr/>
            <p:nvPr/>
          </p:nvSpPr>
          <p:spPr>
            <a:xfrm flipH="1">
              <a:off x="5500138" y="2003750"/>
              <a:ext cx="583425" cy="464175"/>
            </a:xfrm>
            <a:custGeom>
              <a:avLst/>
              <a:gdLst/>
              <a:ahLst/>
              <a:cxnLst/>
              <a:rect l="l" t="t" r="r" b="b"/>
              <a:pathLst>
                <a:path w="23337" h="18567" extrusionOk="0">
                  <a:moveTo>
                    <a:pt x="10410" y="1534"/>
                  </a:moveTo>
                  <a:cubicBezTo>
                    <a:pt x="13672" y="1534"/>
                    <a:pt x="16706" y="3604"/>
                    <a:pt x="17777" y="6863"/>
                  </a:cubicBezTo>
                  <a:cubicBezTo>
                    <a:pt x="19110" y="10935"/>
                    <a:pt x="16896" y="15305"/>
                    <a:pt x="12824" y="16638"/>
                  </a:cubicBezTo>
                  <a:cubicBezTo>
                    <a:pt x="12020" y="16905"/>
                    <a:pt x="11204" y="17031"/>
                    <a:pt x="10402" y="17031"/>
                  </a:cubicBezTo>
                  <a:cubicBezTo>
                    <a:pt x="7149" y="17031"/>
                    <a:pt x="4118" y="14954"/>
                    <a:pt x="3049" y="11697"/>
                  </a:cubicBezTo>
                  <a:cubicBezTo>
                    <a:pt x="1715" y="7625"/>
                    <a:pt x="3930" y="3256"/>
                    <a:pt x="7990" y="1922"/>
                  </a:cubicBezTo>
                  <a:cubicBezTo>
                    <a:pt x="8793" y="1659"/>
                    <a:pt x="9608" y="1534"/>
                    <a:pt x="10410" y="1534"/>
                  </a:cubicBezTo>
                  <a:close/>
                  <a:moveTo>
                    <a:pt x="10419" y="0"/>
                  </a:moveTo>
                  <a:cubicBezTo>
                    <a:pt x="9456" y="0"/>
                    <a:pt x="8477" y="152"/>
                    <a:pt x="7513" y="470"/>
                  </a:cubicBezTo>
                  <a:cubicBezTo>
                    <a:pt x="2644" y="2065"/>
                    <a:pt x="1" y="7304"/>
                    <a:pt x="1596" y="12174"/>
                  </a:cubicBezTo>
                  <a:cubicBezTo>
                    <a:pt x="2877" y="16084"/>
                    <a:pt x="6508" y="18567"/>
                    <a:pt x="10410" y="18567"/>
                  </a:cubicBezTo>
                  <a:cubicBezTo>
                    <a:pt x="11367" y="18567"/>
                    <a:pt x="12341" y="18417"/>
                    <a:pt x="13300" y="18103"/>
                  </a:cubicBezTo>
                  <a:cubicBezTo>
                    <a:pt x="14871" y="17579"/>
                    <a:pt x="16217" y="16686"/>
                    <a:pt x="17265" y="15543"/>
                  </a:cubicBezTo>
                  <a:lnTo>
                    <a:pt x="23337" y="15817"/>
                  </a:lnTo>
                  <a:lnTo>
                    <a:pt x="19503" y="11090"/>
                  </a:lnTo>
                  <a:cubicBezTo>
                    <a:pt x="19813" y="9578"/>
                    <a:pt x="19741" y="7959"/>
                    <a:pt x="19229" y="6387"/>
                  </a:cubicBezTo>
                  <a:cubicBezTo>
                    <a:pt x="17950" y="2482"/>
                    <a:pt x="14319" y="0"/>
                    <a:pt x="10419" y="0"/>
                  </a:cubicBezTo>
                  <a:close/>
                </a:path>
              </a:pathLst>
            </a:custGeom>
            <a:solidFill>
              <a:schemeClr val="accent4"/>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525" name="Google Shape;1525;p38">
              <a:extLst>
                <a:ext uri="{FF2B5EF4-FFF2-40B4-BE49-F238E27FC236}">
                  <a16:creationId xmlns:a16="http://schemas.microsoft.com/office/drawing/2014/main" id="{8B7503E1-2D19-415C-D14C-59FC6CC99366}"/>
                </a:ext>
              </a:extLst>
            </p:cNvPr>
            <p:cNvSpPr/>
            <p:nvPr/>
          </p:nvSpPr>
          <p:spPr>
            <a:xfrm flipH="1">
              <a:off x="5254575" y="2068250"/>
              <a:ext cx="386075" cy="615575"/>
            </a:xfrm>
            <a:custGeom>
              <a:avLst/>
              <a:gdLst/>
              <a:ahLst/>
              <a:cxnLst/>
              <a:rect l="l" t="t" r="r" b="b"/>
              <a:pathLst>
                <a:path w="15443" h="24623" extrusionOk="0">
                  <a:moveTo>
                    <a:pt x="9847" y="1"/>
                  </a:moveTo>
                  <a:cubicBezTo>
                    <a:pt x="4179" y="6740"/>
                    <a:pt x="572" y="15276"/>
                    <a:pt x="0" y="24623"/>
                  </a:cubicBezTo>
                  <a:lnTo>
                    <a:pt x="7882" y="24623"/>
                  </a:lnTo>
                  <a:cubicBezTo>
                    <a:pt x="8430" y="17443"/>
                    <a:pt x="11168" y="10883"/>
                    <a:pt x="15443" y="5597"/>
                  </a:cubicBezTo>
                  <a:lnTo>
                    <a:pt x="9847" y="1"/>
                  </a:lnTo>
                  <a:close/>
                </a:path>
              </a:pathLst>
            </a:custGeom>
            <a:solidFill>
              <a:schemeClr val="accent4"/>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1526" name="Google Shape;1526;p38">
            <a:extLst>
              <a:ext uri="{FF2B5EF4-FFF2-40B4-BE49-F238E27FC236}">
                <a16:creationId xmlns:a16="http://schemas.microsoft.com/office/drawing/2014/main" id="{CE53D5F3-DB3E-18B1-2854-E4EC17924680}"/>
              </a:ext>
            </a:extLst>
          </p:cNvPr>
          <p:cNvGrpSpPr/>
          <p:nvPr/>
        </p:nvGrpSpPr>
        <p:grpSpPr>
          <a:xfrm>
            <a:off x="6988630" y="3791538"/>
            <a:ext cx="1122800" cy="866652"/>
            <a:chOff x="5241475" y="2843650"/>
            <a:chExt cx="842100" cy="649988"/>
          </a:xfrm>
        </p:grpSpPr>
        <p:sp>
          <p:nvSpPr>
            <p:cNvPr id="1533" name="Google Shape;1533;p38">
              <a:extLst>
                <a:ext uri="{FF2B5EF4-FFF2-40B4-BE49-F238E27FC236}">
                  <a16:creationId xmlns:a16="http://schemas.microsoft.com/office/drawing/2014/main" id="{3AC7BDC3-FD07-C4F9-E517-FDBFC367DC81}"/>
                </a:ext>
              </a:extLst>
            </p:cNvPr>
            <p:cNvSpPr/>
            <p:nvPr/>
          </p:nvSpPr>
          <p:spPr>
            <a:xfrm flipH="1">
              <a:off x="5475725" y="3029513"/>
              <a:ext cx="607850" cy="464125"/>
            </a:xfrm>
            <a:custGeom>
              <a:avLst/>
              <a:gdLst/>
              <a:ahLst/>
              <a:cxnLst/>
              <a:rect l="l" t="t" r="r" b="b"/>
              <a:pathLst>
                <a:path w="24314" h="18565" extrusionOk="0">
                  <a:moveTo>
                    <a:pt x="10603" y="1533"/>
                  </a:moveTo>
                  <a:cubicBezTo>
                    <a:pt x="11755" y="1533"/>
                    <a:pt x="12924" y="1791"/>
                    <a:pt x="14026" y="2335"/>
                  </a:cubicBezTo>
                  <a:cubicBezTo>
                    <a:pt x="17860" y="4240"/>
                    <a:pt x="19432" y="8884"/>
                    <a:pt x="17527" y="12729"/>
                  </a:cubicBezTo>
                  <a:cubicBezTo>
                    <a:pt x="16180" y="15458"/>
                    <a:pt x="13439" y="17034"/>
                    <a:pt x="10585" y="17034"/>
                  </a:cubicBezTo>
                  <a:cubicBezTo>
                    <a:pt x="9429" y="17034"/>
                    <a:pt x="8253" y="16776"/>
                    <a:pt x="7145" y="16230"/>
                  </a:cubicBezTo>
                  <a:cubicBezTo>
                    <a:pt x="3311" y="14325"/>
                    <a:pt x="1739" y="9681"/>
                    <a:pt x="3644" y="5848"/>
                  </a:cubicBezTo>
                  <a:cubicBezTo>
                    <a:pt x="5001" y="3116"/>
                    <a:pt x="7749" y="1533"/>
                    <a:pt x="10603" y="1533"/>
                  </a:cubicBezTo>
                  <a:close/>
                  <a:moveTo>
                    <a:pt x="10596" y="1"/>
                  </a:moveTo>
                  <a:cubicBezTo>
                    <a:pt x="7179" y="1"/>
                    <a:pt x="3894" y="1897"/>
                    <a:pt x="2275" y="5169"/>
                  </a:cubicBezTo>
                  <a:cubicBezTo>
                    <a:pt x="1" y="9765"/>
                    <a:pt x="1882" y="15325"/>
                    <a:pt x="6466" y="17599"/>
                  </a:cubicBezTo>
                  <a:cubicBezTo>
                    <a:pt x="7790" y="18254"/>
                    <a:pt x="9194" y="18564"/>
                    <a:pt x="10578" y="18564"/>
                  </a:cubicBezTo>
                  <a:cubicBezTo>
                    <a:pt x="13998" y="18564"/>
                    <a:pt x="17289" y="16668"/>
                    <a:pt x="18908" y="13396"/>
                  </a:cubicBezTo>
                  <a:cubicBezTo>
                    <a:pt x="19634" y="11920"/>
                    <a:pt x="19932" y="10324"/>
                    <a:pt x="19849" y="8788"/>
                  </a:cubicBezTo>
                  <a:lnTo>
                    <a:pt x="24313" y="4645"/>
                  </a:lnTo>
                  <a:lnTo>
                    <a:pt x="18265" y="4062"/>
                  </a:lnTo>
                  <a:cubicBezTo>
                    <a:pt x="17396" y="2788"/>
                    <a:pt x="16193" y="1704"/>
                    <a:pt x="14705" y="966"/>
                  </a:cubicBezTo>
                  <a:cubicBezTo>
                    <a:pt x="13381" y="311"/>
                    <a:pt x="11978" y="1"/>
                    <a:pt x="10596" y="1"/>
                  </a:cubicBezTo>
                  <a:close/>
                </a:path>
              </a:pathLst>
            </a:custGeom>
            <a:solidFill>
              <a:schemeClr val="accent1"/>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534" name="Google Shape;1534;p38">
              <a:extLst>
                <a:ext uri="{FF2B5EF4-FFF2-40B4-BE49-F238E27FC236}">
                  <a16:creationId xmlns:a16="http://schemas.microsoft.com/office/drawing/2014/main" id="{39745F4C-8867-F8E9-3BC9-695ABDB26100}"/>
                </a:ext>
              </a:extLst>
            </p:cNvPr>
            <p:cNvSpPr/>
            <p:nvPr/>
          </p:nvSpPr>
          <p:spPr>
            <a:xfrm flipH="1">
              <a:off x="5241475" y="2843650"/>
              <a:ext cx="397100" cy="602175"/>
            </a:xfrm>
            <a:custGeom>
              <a:avLst/>
              <a:gdLst/>
              <a:ahLst/>
              <a:cxnLst/>
              <a:rect l="l" t="t" r="r" b="b"/>
              <a:pathLst>
                <a:path w="15884" h="24087" extrusionOk="0">
                  <a:moveTo>
                    <a:pt x="1" y="0"/>
                  </a:moveTo>
                  <a:cubicBezTo>
                    <a:pt x="810" y="9192"/>
                    <a:pt x="4561" y="17538"/>
                    <a:pt x="10300" y="24087"/>
                  </a:cubicBezTo>
                  <a:lnTo>
                    <a:pt x="15884" y="18503"/>
                  </a:lnTo>
                  <a:cubicBezTo>
                    <a:pt x="11550" y="13395"/>
                    <a:pt x="8680" y="7025"/>
                    <a:pt x="7918" y="0"/>
                  </a:cubicBezTo>
                  <a:close/>
                </a:path>
              </a:pathLst>
            </a:custGeom>
            <a:solidFill>
              <a:schemeClr val="accent1"/>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1535" name="Google Shape;1535;p38">
            <a:extLst>
              <a:ext uri="{FF2B5EF4-FFF2-40B4-BE49-F238E27FC236}">
                <a16:creationId xmlns:a16="http://schemas.microsoft.com/office/drawing/2014/main" id="{F0B61C0F-0DE6-3176-E430-165BD84D1906}"/>
              </a:ext>
            </a:extLst>
          </p:cNvPr>
          <p:cNvGrpSpPr/>
          <p:nvPr/>
        </p:nvGrpSpPr>
        <p:grpSpPr>
          <a:xfrm>
            <a:off x="459363" y="3142599"/>
            <a:ext cx="6714930" cy="2491335"/>
            <a:chOff x="332113" y="2356949"/>
            <a:chExt cx="5036200" cy="1868501"/>
          </a:xfrm>
        </p:grpSpPr>
        <p:sp>
          <p:nvSpPr>
            <p:cNvPr id="1538" name="Google Shape;1538;p38">
              <a:extLst>
                <a:ext uri="{FF2B5EF4-FFF2-40B4-BE49-F238E27FC236}">
                  <a16:creationId xmlns:a16="http://schemas.microsoft.com/office/drawing/2014/main" id="{1FF8519D-F261-ED9D-3155-873E61159B07}"/>
                </a:ext>
              </a:extLst>
            </p:cNvPr>
            <p:cNvSpPr txBox="1"/>
            <p:nvPr/>
          </p:nvSpPr>
          <p:spPr>
            <a:xfrm>
              <a:off x="332113" y="2356949"/>
              <a:ext cx="2934807" cy="429600"/>
            </a:xfrm>
            <a:prstGeom prst="rect">
              <a:avLst/>
            </a:prstGeom>
            <a:noFill/>
            <a:ln>
              <a:noFill/>
            </a:ln>
          </p:spPr>
          <p:txBody>
            <a:bodyPr spcFirstLastPara="1" wrap="square" lIns="121900" tIns="121900" rIns="121900" bIns="121900" anchor="ctr" anchorCtr="0">
              <a:noAutofit/>
            </a:bodyPr>
            <a:lstStyle/>
            <a:p>
              <a:pPr>
                <a:defRPr/>
              </a:pPr>
              <a:r>
                <a:rPr lang="el-GR" sz="2000" dirty="0">
                  <a:solidFill>
                    <a:srgbClr val="629DD1"/>
                  </a:solidFill>
                  <a:latin typeface="Fira Sans Extra Condensed Medium"/>
                </a:rPr>
                <a:t>Φράγμα Νεστορίου</a:t>
              </a:r>
            </a:p>
          </p:txBody>
        </p:sp>
        <p:sp>
          <p:nvSpPr>
            <p:cNvPr id="1540" name="Google Shape;1540;p38">
              <a:extLst>
                <a:ext uri="{FF2B5EF4-FFF2-40B4-BE49-F238E27FC236}">
                  <a16:creationId xmlns:a16="http://schemas.microsoft.com/office/drawing/2014/main" id="{EC41B94F-A6F2-6BAC-71E6-67CC9B6E48F6}"/>
                </a:ext>
              </a:extLst>
            </p:cNvPr>
            <p:cNvSpPr/>
            <p:nvPr/>
          </p:nvSpPr>
          <p:spPr>
            <a:xfrm flipH="1">
              <a:off x="4843813" y="3663475"/>
              <a:ext cx="524500" cy="561975"/>
            </a:xfrm>
            <a:custGeom>
              <a:avLst/>
              <a:gdLst/>
              <a:ahLst/>
              <a:cxnLst/>
              <a:rect l="l" t="t" r="r" b="b"/>
              <a:pathLst>
                <a:path w="20980" h="22479" extrusionOk="0">
                  <a:moveTo>
                    <a:pt x="10481" y="5447"/>
                  </a:moveTo>
                  <a:cubicBezTo>
                    <a:pt x="13615" y="5447"/>
                    <a:pt x="16567" y="7361"/>
                    <a:pt x="17741" y="10466"/>
                  </a:cubicBezTo>
                  <a:cubicBezTo>
                    <a:pt x="19253" y="14467"/>
                    <a:pt x="17229" y="18944"/>
                    <a:pt x="13217" y="20444"/>
                  </a:cubicBezTo>
                  <a:cubicBezTo>
                    <a:pt x="12317" y="20784"/>
                    <a:pt x="11392" y="20945"/>
                    <a:pt x="10484" y="20945"/>
                  </a:cubicBezTo>
                  <a:cubicBezTo>
                    <a:pt x="7352" y="20945"/>
                    <a:pt x="4402" y="19032"/>
                    <a:pt x="3239" y="15931"/>
                  </a:cubicBezTo>
                  <a:cubicBezTo>
                    <a:pt x="1727" y="11919"/>
                    <a:pt x="3751" y="7454"/>
                    <a:pt x="7763" y="5942"/>
                  </a:cubicBezTo>
                  <a:cubicBezTo>
                    <a:pt x="8659" y="5606"/>
                    <a:pt x="9578" y="5447"/>
                    <a:pt x="10481" y="5447"/>
                  </a:cubicBezTo>
                  <a:close/>
                  <a:moveTo>
                    <a:pt x="16467" y="1"/>
                  </a:moveTo>
                  <a:lnTo>
                    <a:pt x="11907" y="4025"/>
                  </a:lnTo>
                  <a:cubicBezTo>
                    <a:pt x="11442" y="3952"/>
                    <a:pt x="10969" y="3915"/>
                    <a:pt x="10492" y="3915"/>
                  </a:cubicBezTo>
                  <a:cubicBezTo>
                    <a:pt x="9406" y="3915"/>
                    <a:pt x="8299" y="4108"/>
                    <a:pt x="7216" y="4513"/>
                  </a:cubicBezTo>
                  <a:cubicBezTo>
                    <a:pt x="2429" y="6323"/>
                    <a:pt x="1" y="11669"/>
                    <a:pt x="1810" y="16467"/>
                  </a:cubicBezTo>
                  <a:cubicBezTo>
                    <a:pt x="3205" y="20189"/>
                    <a:pt x="6742" y="22479"/>
                    <a:pt x="10499" y="22479"/>
                  </a:cubicBezTo>
                  <a:cubicBezTo>
                    <a:pt x="11584" y="22479"/>
                    <a:pt x="12688" y="22287"/>
                    <a:pt x="13764" y="21884"/>
                  </a:cubicBezTo>
                  <a:cubicBezTo>
                    <a:pt x="18551" y="20075"/>
                    <a:pt x="20979" y="14717"/>
                    <a:pt x="19170" y="9931"/>
                  </a:cubicBezTo>
                  <a:cubicBezTo>
                    <a:pt x="18586" y="8371"/>
                    <a:pt x="17634" y="7073"/>
                    <a:pt x="16443" y="6085"/>
                  </a:cubicBezTo>
                  <a:lnTo>
                    <a:pt x="16467" y="1"/>
                  </a:lnTo>
                  <a:close/>
                </a:path>
              </a:pathLst>
            </a:custGeom>
            <a:solidFill>
              <a:schemeClr val="accent2"/>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sp>
          <p:nvSpPr>
            <p:cNvPr id="1541" name="Google Shape;1541;p38">
              <a:extLst>
                <a:ext uri="{FF2B5EF4-FFF2-40B4-BE49-F238E27FC236}">
                  <a16:creationId xmlns:a16="http://schemas.microsoft.com/office/drawing/2014/main" id="{5B347E01-E9FC-9F2F-91B2-CE8488AF9CDD}"/>
                </a:ext>
              </a:extLst>
            </p:cNvPr>
            <p:cNvSpPr/>
            <p:nvPr/>
          </p:nvSpPr>
          <p:spPr>
            <a:xfrm flipH="1">
              <a:off x="4665800" y="3417825"/>
              <a:ext cx="601000" cy="386075"/>
            </a:xfrm>
            <a:custGeom>
              <a:avLst/>
              <a:gdLst/>
              <a:ahLst/>
              <a:cxnLst/>
              <a:rect l="l" t="t" r="r" b="b"/>
              <a:pathLst>
                <a:path w="24040" h="15443" extrusionOk="0">
                  <a:moveTo>
                    <a:pt x="5585" y="1"/>
                  </a:moveTo>
                  <a:lnTo>
                    <a:pt x="1" y="5596"/>
                  </a:lnTo>
                  <a:cubicBezTo>
                    <a:pt x="6585" y="11169"/>
                    <a:pt x="14907" y="14752"/>
                    <a:pt x="24039" y="15443"/>
                  </a:cubicBezTo>
                  <a:lnTo>
                    <a:pt x="24039" y="7537"/>
                  </a:lnTo>
                  <a:cubicBezTo>
                    <a:pt x="17074" y="6894"/>
                    <a:pt x="10728" y="4168"/>
                    <a:pt x="5585" y="1"/>
                  </a:cubicBezTo>
                  <a:close/>
                </a:path>
              </a:pathLst>
            </a:custGeom>
            <a:solidFill>
              <a:schemeClr val="accent2"/>
            </a:solidFill>
            <a:ln>
              <a:noFill/>
            </a:ln>
          </p:spPr>
          <p:txBody>
            <a:bodyPr spcFirstLastPara="1" wrap="square" lIns="121900" tIns="121900" rIns="121900" bIns="121900" anchor="ctr" anchorCtr="0">
              <a:noAutofit/>
            </a:bodyPr>
            <a:lstStyle/>
            <a:p>
              <a:pPr>
                <a:defRPr/>
              </a:pPr>
              <a:endParaRPr sz="2400">
                <a:solidFill>
                  <a:srgbClr val="000000"/>
                </a:solidFill>
                <a:cs typeface="Arial"/>
                <a:sym typeface="Arial"/>
              </a:endParaRPr>
            </a:p>
          </p:txBody>
        </p:sp>
      </p:grpSp>
      <p:grpSp>
        <p:nvGrpSpPr>
          <p:cNvPr id="2" name="Google Shape;8734;p72">
            <a:extLst>
              <a:ext uri="{FF2B5EF4-FFF2-40B4-BE49-F238E27FC236}">
                <a16:creationId xmlns:a16="http://schemas.microsoft.com/office/drawing/2014/main" id="{2F10A3D9-CCA9-47A4-FB40-79C98C48779B}"/>
              </a:ext>
            </a:extLst>
          </p:cNvPr>
          <p:cNvGrpSpPr/>
          <p:nvPr/>
        </p:nvGrpSpPr>
        <p:grpSpPr>
          <a:xfrm>
            <a:off x="286061" y="1045298"/>
            <a:ext cx="707615" cy="616173"/>
            <a:chOff x="-1951475" y="3273100"/>
            <a:chExt cx="291875" cy="222775"/>
          </a:xfrm>
          <a:solidFill>
            <a:srgbClr val="00B0F0"/>
          </a:solidFill>
        </p:grpSpPr>
        <p:sp>
          <p:nvSpPr>
            <p:cNvPr id="4" name="Google Shape;8735;p72">
              <a:extLst>
                <a:ext uri="{FF2B5EF4-FFF2-40B4-BE49-F238E27FC236}">
                  <a16:creationId xmlns:a16="http://schemas.microsoft.com/office/drawing/2014/main" id="{CA6A22A9-A00B-4EB6-4FFB-8B5DE543394A}"/>
                </a:ext>
              </a:extLst>
            </p:cNvPr>
            <p:cNvSpPr/>
            <p:nvPr/>
          </p:nvSpPr>
          <p:spPr>
            <a:xfrm>
              <a:off x="-1951475" y="3325050"/>
              <a:ext cx="51225" cy="119250"/>
            </a:xfrm>
            <a:custGeom>
              <a:avLst/>
              <a:gdLst/>
              <a:ahLst/>
              <a:cxnLst/>
              <a:rect l="l" t="t" r="r" b="b"/>
              <a:pathLst>
                <a:path w="2049" h="4770" extrusionOk="0">
                  <a:moveTo>
                    <a:pt x="1033" y="0"/>
                  </a:moveTo>
                  <a:cubicBezTo>
                    <a:pt x="518" y="0"/>
                    <a:pt x="0" y="339"/>
                    <a:pt x="0" y="1004"/>
                  </a:cubicBezTo>
                  <a:lnTo>
                    <a:pt x="0" y="3777"/>
                  </a:lnTo>
                  <a:cubicBezTo>
                    <a:pt x="0" y="4438"/>
                    <a:pt x="512" y="4769"/>
                    <a:pt x="1024" y="4769"/>
                  </a:cubicBezTo>
                  <a:cubicBezTo>
                    <a:pt x="1536" y="4769"/>
                    <a:pt x="2048" y="4438"/>
                    <a:pt x="2048" y="3777"/>
                  </a:cubicBezTo>
                  <a:lnTo>
                    <a:pt x="2048" y="1004"/>
                  </a:lnTo>
                  <a:cubicBezTo>
                    <a:pt x="2048" y="331"/>
                    <a:pt x="1542" y="0"/>
                    <a:pt x="1033" y="0"/>
                  </a:cubicBezTo>
                  <a:close/>
                </a:path>
              </a:pathLst>
            </a:custGeom>
            <a:grpFill/>
            <a:ln>
              <a:noFill/>
            </a:ln>
          </p:spPr>
          <p:txBody>
            <a:bodyPr spcFirstLastPara="1" wrap="square" lIns="91425" tIns="91425" rIns="91425" bIns="91425" anchor="ctr" anchorCtr="0">
              <a:noAutofit/>
            </a:bodyPr>
            <a:lstStyle/>
            <a:p>
              <a:pPr>
                <a:defRPr/>
              </a:pPr>
              <a:endParaRPr>
                <a:solidFill>
                  <a:srgbClr val="000000"/>
                </a:solidFill>
                <a:cs typeface="Arial"/>
                <a:sym typeface="Arial"/>
              </a:endParaRPr>
            </a:p>
          </p:txBody>
        </p:sp>
        <p:sp>
          <p:nvSpPr>
            <p:cNvPr id="5" name="Google Shape;8736;p72">
              <a:extLst>
                <a:ext uri="{FF2B5EF4-FFF2-40B4-BE49-F238E27FC236}">
                  <a16:creationId xmlns:a16="http://schemas.microsoft.com/office/drawing/2014/main" id="{ACDC8E80-A228-A0D3-918C-31EF0F3491EA}"/>
                </a:ext>
              </a:extLst>
            </p:cNvPr>
            <p:cNvSpPr/>
            <p:nvPr/>
          </p:nvSpPr>
          <p:spPr>
            <a:xfrm>
              <a:off x="-1711250" y="3273100"/>
              <a:ext cx="51650" cy="221725"/>
            </a:xfrm>
            <a:custGeom>
              <a:avLst/>
              <a:gdLst/>
              <a:ahLst/>
              <a:cxnLst/>
              <a:rect l="l" t="t" r="r" b="b"/>
              <a:pathLst>
                <a:path w="2066" h="8869" extrusionOk="0">
                  <a:moveTo>
                    <a:pt x="1027" y="0"/>
                  </a:moveTo>
                  <a:cubicBezTo>
                    <a:pt x="608" y="0"/>
                    <a:pt x="186" y="229"/>
                    <a:pt x="32" y="719"/>
                  </a:cubicBezTo>
                  <a:cubicBezTo>
                    <a:pt x="0" y="814"/>
                    <a:pt x="0" y="940"/>
                    <a:pt x="0" y="1003"/>
                  </a:cubicBezTo>
                  <a:lnTo>
                    <a:pt x="0" y="7871"/>
                  </a:lnTo>
                  <a:cubicBezTo>
                    <a:pt x="0" y="7934"/>
                    <a:pt x="0" y="8060"/>
                    <a:pt x="32" y="8123"/>
                  </a:cubicBezTo>
                  <a:cubicBezTo>
                    <a:pt x="173" y="8632"/>
                    <a:pt x="594" y="8869"/>
                    <a:pt x="1015" y="8869"/>
                  </a:cubicBezTo>
                  <a:cubicBezTo>
                    <a:pt x="1532" y="8869"/>
                    <a:pt x="2048" y="8513"/>
                    <a:pt x="2048" y="7871"/>
                  </a:cubicBezTo>
                  <a:lnTo>
                    <a:pt x="2048" y="1003"/>
                  </a:lnTo>
                  <a:cubicBezTo>
                    <a:pt x="2066" y="356"/>
                    <a:pt x="1549" y="0"/>
                    <a:pt x="1027" y="0"/>
                  </a:cubicBezTo>
                  <a:close/>
                </a:path>
              </a:pathLst>
            </a:custGeom>
            <a:grpFill/>
            <a:ln>
              <a:noFill/>
            </a:ln>
          </p:spPr>
          <p:txBody>
            <a:bodyPr spcFirstLastPara="1" wrap="square" lIns="91425" tIns="91425" rIns="91425" bIns="91425" anchor="ctr" anchorCtr="0">
              <a:noAutofit/>
            </a:bodyPr>
            <a:lstStyle/>
            <a:p>
              <a:pPr>
                <a:defRPr/>
              </a:pPr>
              <a:endParaRPr>
                <a:solidFill>
                  <a:srgbClr val="000000"/>
                </a:solidFill>
                <a:cs typeface="Arial"/>
                <a:sym typeface="Arial"/>
              </a:endParaRPr>
            </a:p>
          </p:txBody>
        </p:sp>
        <p:sp>
          <p:nvSpPr>
            <p:cNvPr id="6" name="Google Shape;8737;p72">
              <a:extLst>
                <a:ext uri="{FF2B5EF4-FFF2-40B4-BE49-F238E27FC236}">
                  <a16:creationId xmlns:a16="http://schemas.microsoft.com/office/drawing/2014/main" id="{7BA720A7-7067-DD49-EB61-6D0D74365F11}"/>
                </a:ext>
              </a:extLst>
            </p:cNvPr>
            <p:cNvSpPr/>
            <p:nvPr/>
          </p:nvSpPr>
          <p:spPr>
            <a:xfrm>
              <a:off x="-1886900" y="3296575"/>
              <a:ext cx="156775" cy="199300"/>
            </a:xfrm>
            <a:custGeom>
              <a:avLst/>
              <a:gdLst/>
              <a:ahLst/>
              <a:cxnLst/>
              <a:rect l="l" t="t" r="r" b="b"/>
              <a:pathLst>
                <a:path w="6271" h="7972" extrusionOk="0">
                  <a:moveTo>
                    <a:pt x="851" y="5672"/>
                  </a:moveTo>
                  <a:lnTo>
                    <a:pt x="3466" y="6333"/>
                  </a:lnTo>
                  <a:cubicBezTo>
                    <a:pt x="3277" y="6869"/>
                    <a:pt x="2773" y="7279"/>
                    <a:pt x="2174" y="7279"/>
                  </a:cubicBezTo>
                  <a:cubicBezTo>
                    <a:pt x="1418" y="7279"/>
                    <a:pt x="788" y="6648"/>
                    <a:pt x="788" y="5892"/>
                  </a:cubicBezTo>
                  <a:cubicBezTo>
                    <a:pt x="851" y="5798"/>
                    <a:pt x="851" y="5735"/>
                    <a:pt x="851" y="5672"/>
                  </a:cubicBezTo>
                  <a:close/>
                  <a:moveTo>
                    <a:pt x="6270" y="1"/>
                  </a:moveTo>
                  <a:lnTo>
                    <a:pt x="1" y="1576"/>
                  </a:lnTo>
                  <a:cubicBezTo>
                    <a:pt x="95" y="1734"/>
                    <a:pt x="127" y="1923"/>
                    <a:pt x="127" y="2143"/>
                  </a:cubicBezTo>
                  <a:lnTo>
                    <a:pt x="127" y="4916"/>
                  </a:lnTo>
                  <a:cubicBezTo>
                    <a:pt x="127" y="5105"/>
                    <a:pt x="95" y="5294"/>
                    <a:pt x="1" y="5514"/>
                  </a:cubicBezTo>
                  <a:lnTo>
                    <a:pt x="158" y="5546"/>
                  </a:lnTo>
                  <a:cubicBezTo>
                    <a:pt x="127" y="5672"/>
                    <a:pt x="127" y="5829"/>
                    <a:pt x="127" y="5924"/>
                  </a:cubicBezTo>
                  <a:cubicBezTo>
                    <a:pt x="127" y="7090"/>
                    <a:pt x="1040" y="7972"/>
                    <a:pt x="2174" y="7972"/>
                  </a:cubicBezTo>
                  <a:cubicBezTo>
                    <a:pt x="3120" y="7972"/>
                    <a:pt x="3907" y="7405"/>
                    <a:pt x="4159" y="6522"/>
                  </a:cubicBezTo>
                  <a:lnTo>
                    <a:pt x="6270" y="7090"/>
                  </a:lnTo>
                  <a:lnTo>
                    <a:pt x="6270" y="5672"/>
                  </a:lnTo>
                  <a:lnTo>
                    <a:pt x="6270" y="2238"/>
                  </a:lnTo>
                  <a:lnTo>
                    <a:pt x="6270" y="1"/>
                  </a:lnTo>
                  <a:close/>
                </a:path>
              </a:pathLst>
            </a:custGeom>
            <a:grpFill/>
            <a:ln>
              <a:noFill/>
            </a:ln>
          </p:spPr>
          <p:txBody>
            <a:bodyPr spcFirstLastPara="1" wrap="square" lIns="91425" tIns="91425" rIns="91425" bIns="91425" anchor="ctr" anchorCtr="0">
              <a:noAutofit/>
            </a:bodyPr>
            <a:lstStyle/>
            <a:p>
              <a:pPr>
                <a:defRPr/>
              </a:pPr>
              <a:endParaRPr>
                <a:solidFill>
                  <a:srgbClr val="000000"/>
                </a:solidFill>
                <a:cs typeface="Arial"/>
                <a:sym typeface="Arial"/>
              </a:endParaRPr>
            </a:p>
          </p:txBody>
        </p:sp>
      </p:grpSp>
      <p:sp>
        <p:nvSpPr>
          <p:cNvPr id="7" name="Google Shape;1510;p38">
            <a:extLst>
              <a:ext uri="{FF2B5EF4-FFF2-40B4-BE49-F238E27FC236}">
                <a16:creationId xmlns:a16="http://schemas.microsoft.com/office/drawing/2014/main" id="{BF8A40A2-7E2B-06D0-FD69-E99192031752}"/>
              </a:ext>
            </a:extLst>
          </p:cNvPr>
          <p:cNvSpPr txBox="1"/>
          <p:nvPr/>
        </p:nvSpPr>
        <p:spPr>
          <a:xfrm>
            <a:off x="1624325" y="5600968"/>
            <a:ext cx="3163957" cy="749300"/>
          </a:xfrm>
          <a:prstGeom prst="rect">
            <a:avLst/>
          </a:prstGeom>
          <a:noFill/>
          <a:ln>
            <a:noFill/>
          </a:ln>
        </p:spPr>
        <p:txBody>
          <a:bodyPr spcFirstLastPara="1" wrap="square" lIns="121900" tIns="121900" rIns="121900" bIns="121900" anchor="ctr" anchorCtr="0">
            <a:noAutofit/>
          </a:bodyPr>
          <a:lstStyle/>
          <a:p>
            <a:pPr>
              <a:defRPr/>
            </a:pPr>
            <a:r>
              <a:rPr lang="el-GR" sz="2000" dirty="0" err="1">
                <a:solidFill>
                  <a:srgbClr val="629DD1">
                    <a:lumMod val="75000"/>
                  </a:srgbClr>
                </a:solidFill>
                <a:latin typeface="Fira Sans Extra Condensed Medium"/>
                <a:ea typeface="+mn-lt"/>
                <a:cs typeface="+mn-lt"/>
                <a:sym typeface="Fira Sans Extra Condensed Medium"/>
              </a:rPr>
              <a:t>Aποκατάσταση</a:t>
            </a:r>
            <a:r>
              <a:rPr lang="el-GR" sz="2000" dirty="0">
                <a:solidFill>
                  <a:srgbClr val="629DD1">
                    <a:lumMod val="75000"/>
                  </a:srgbClr>
                </a:solidFill>
                <a:latin typeface="Fira Sans Extra Condensed Medium"/>
                <a:ea typeface="+mn-lt"/>
                <a:cs typeface="+mn-lt"/>
                <a:sym typeface="Fira Sans Extra Condensed Medium"/>
              </a:rPr>
              <a:t> </a:t>
            </a:r>
            <a:r>
              <a:rPr lang="el-GR" sz="2000" dirty="0">
                <a:solidFill>
                  <a:srgbClr val="629DD1">
                    <a:lumMod val="75000"/>
                  </a:srgbClr>
                </a:solidFill>
                <a:latin typeface="Fira Sans Extra Condensed Medium"/>
                <a:ea typeface="Calibri Light"/>
                <a:cs typeface="Arial"/>
                <a:sym typeface="Fira Sans Extra Condensed Medium"/>
              </a:rPr>
              <a:t>και ανάδειξη</a:t>
            </a:r>
            <a:r>
              <a:rPr lang="el-GR" sz="2000" dirty="0">
                <a:solidFill>
                  <a:srgbClr val="629DD1">
                    <a:lumMod val="75000"/>
                  </a:srgbClr>
                </a:solidFill>
                <a:latin typeface="Fira Sans Extra Condensed Medium"/>
                <a:ea typeface="+mn-lt"/>
                <a:cs typeface="+mn-lt"/>
                <a:sym typeface="Fira Sans Extra Condensed Medium"/>
              </a:rPr>
              <a:t> του τεμένους </a:t>
            </a:r>
            <a:r>
              <a:rPr lang="el-GR" sz="2000" dirty="0" err="1">
                <a:solidFill>
                  <a:srgbClr val="629DD1">
                    <a:lumMod val="75000"/>
                  </a:srgbClr>
                </a:solidFill>
                <a:latin typeface="Fira Sans Extra Condensed Medium"/>
                <a:ea typeface="+mn-lt"/>
                <a:cs typeface="+mn-lt"/>
                <a:sym typeface="Fira Sans Extra Condensed Medium"/>
              </a:rPr>
              <a:t>Κουρσούμ</a:t>
            </a:r>
            <a:endParaRPr lang="el-GR" dirty="0">
              <a:latin typeface="Fira Sans Extra Condensed Medium"/>
            </a:endParaRPr>
          </a:p>
        </p:txBody>
      </p:sp>
      <p:sp>
        <p:nvSpPr>
          <p:cNvPr id="8" name="Google Shape;1499;p38">
            <a:extLst>
              <a:ext uri="{FF2B5EF4-FFF2-40B4-BE49-F238E27FC236}">
                <a16:creationId xmlns:a16="http://schemas.microsoft.com/office/drawing/2014/main" id="{07B44DFA-B7FC-CC52-BB49-55E3FB7BE137}"/>
              </a:ext>
            </a:extLst>
          </p:cNvPr>
          <p:cNvSpPr txBox="1"/>
          <p:nvPr/>
        </p:nvSpPr>
        <p:spPr>
          <a:xfrm>
            <a:off x="7503609" y="5119115"/>
            <a:ext cx="3906609" cy="1541930"/>
          </a:xfrm>
          <a:prstGeom prst="rect">
            <a:avLst/>
          </a:prstGeom>
          <a:noFill/>
          <a:ln>
            <a:noFill/>
          </a:ln>
        </p:spPr>
        <p:txBody>
          <a:bodyPr spcFirstLastPara="1" wrap="square" lIns="121900" tIns="121900" rIns="121900" bIns="121900" anchor="ctr" anchorCtr="0">
            <a:noAutofit/>
          </a:bodyPr>
          <a:lstStyle/>
          <a:p>
            <a:pPr>
              <a:defRPr/>
            </a:pPr>
            <a:r>
              <a:rPr lang="el-GR" sz="2000" dirty="0">
                <a:solidFill>
                  <a:srgbClr val="4A66AC"/>
                </a:solidFill>
                <a:latin typeface="Fira Sans Extra Condensed Medium"/>
              </a:rPr>
              <a:t>Ενεργειακή αναβάθμιση &amp; αναβάθμιση του ΤΕΠ Καστοριάς</a:t>
            </a:r>
          </a:p>
        </p:txBody>
      </p:sp>
      <p:sp>
        <p:nvSpPr>
          <p:cNvPr id="3" name="Google Shape;414;p13">
            <a:extLst>
              <a:ext uri="{FF2B5EF4-FFF2-40B4-BE49-F238E27FC236}">
                <a16:creationId xmlns:a16="http://schemas.microsoft.com/office/drawing/2014/main" id="{FD227DBC-A801-4674-0D54-D6909DF1A84D}"/>
              </a:ext>
            </a:extLst>
          </p:cNvPr>
          <p:cNvSpPr/>
          <p:nvPr/>
        </p:nvSpPr>
        <p:spPr>
          <a:xfrm>
            <a:off x="779435" y="158892"/>
            <a:ext cx="7840690"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buFont typeface="Arial"/>
              <a:buNone/>
              <a:defRPr/>
            </a:pPr>
            <a:r>
              <a:rPr lang="el-GR" sz="3334" kern="0">
                <a:solidFill>
                  <a:srgbClr val="002060"/>
                </a:solidFill>
                <a:latin typeface="Arial Black"/>
                <a:ea typeface="Arial Black"/>
                <a:cs typeface="Arial Black"/>
                <a:sym typeface="Arial Black"/>
              </a:rPr>
              <a:t>Άμεσες παρεμβάσεις - Καστοριά</a:t>
            </a:r>
          </a:p>
        </p:txBody>
      </p:sp>
      <p:cxnSp>
        <p:nvCxnSpPr>
          <p:cNvPr id="10" name="Ευθεία γραμμή σύνδεσης 9">
            <a:extLst>
              <a:ext uri="{FF2B5EF4-FFF2-40B4-BE49-F238E27FC236}">
                <a16:creationId xmlns:a16="http://schemas.microsoft.com/office/drawing/2014/main" id="{45F88DBD-F90D-AF63-5DF4-65CA7A38631A}"/>
              </a:ext>
            </a:extLst>
          </p:cNvPr>
          <p:cNvCxnSpPr/>
          <p:nvPr/>
        </p:nvCxnSpPr>
        <p:spPr>
          <a:xfrm>
            <a:off x="261643" y="779953"/>
            <a:ext cx="11668715" cy="0"/>
          </a:xfrm>
          <a:prstGeom prst="line">
            <a:avLst/>
          </a:prstGeom>
        </p:spPr>
        <p:style>
          <a:lnRef idx="3">
            <a:schemeClr val="accent1"/>
          </a:lnRef>
          <a:fillRef idx="0">
            <a:schemeClr val="accent1"/>
          </a:fillRef>
          <a:effectRef idx="2">
            <a:schemeClr val="accent1"/>
          </a:effectRef>
          <a:fontRef idx="minor">
            <a:schemeClr val="tx1"/>
          </a:fontRef>
        </p:style>
      </p:cxnSp>
      <p:sp>
        <p:nvSpPr>
          <p:cNvPr id="11" name="Google Shape;1522;p38">
            <a:extLst>
              <a:ext uri="{FF2B5EF4-FFF2-40B4-BE49-F238E27FC236}">
                <a16:creationId xmlns:a16="http://schemas.microsoft.com/office/drawing/2014/main" id="{51705EB8-CBBE-EC61-1062-B12054678034}"/>
              </a:ext>
            </a:extLst>
          </p:cNvPr>
          <p:cNvSpPr txBox="1"/>
          <p:nvPr/>
        </p:nvSpPr>
        <p:spPr>
          <a:xfrm>
            <a:off x="8297642" y="2505436"/>
            <a:ext cx="4050672" cy="572800"/>
          </a:xfrm>
          <a:prstGeom prst="rect">
            <a:avLst/>
          </a:prstGeom>
          <a:noFill/>
          <a:ln>
            <a:noFill/>
          </a:ln>
        </p:spPr>
        <p:txBody>
          <a:bodyPr spcFirstLastPara="1" wrap="square" lIns="121900" tIns="121900" rIns="121900" bIns="121900" anchor="ctr" anchorCtr="0">
            <a:noAutofit/>
          </a:bodyPr>
          <a:lstStyle/>
          <a:p>
            <a:pPr>
              <a:defRPr/>
            </a:pPr>
            <a:r>
              <a:rPr lang="el-GR" sz="2000" dirty="0">
                <a:solidFill>
                  <a:srgbClr val="7F8FA9"/>
                </a:solidFill>
                <a:latin typeface="Fira Sans Extra Condensed Medium"/>
                <a:ea typeface="Fira Sans Extra Condensed Medium"/>
                <a:cs typeface="Fira Sans Extra Condensed Medium"/>
              </a:rPr>
              <a:t>Ad hoc πρόγραμμα οικονομικής ενίσχυσης των </a:t>
            </a:r>
            <a:r>
              <a:rPr lang="el-GR" sz="2000" dirty="0" err="1">
                <a:solidFill>
                  <a:srgbClr val="7F8FA9"/>
                </a:solidFill>
                <a:latin typeface="Fira Sans Extra Condensed Medium"/>
                <a:ea typeface="Fira Sans Extra Condensed Medium"/>
                <a:cs typeface="Fira Sans Extra Condensed Medium"/>
              </a:rPr>
              <a:t>μηλοπαραγωγών</a:t>
            </a:r>
            <a:endParaRPr lang="el-GR" sz="2000" dirty="0">
              <a:solidFill>
                <a:srgbClr val="7F8FA9"/>
              </a:solidFill>
              <a:latin typeface="Fira Sans Extra Condensed Medium"/>
              <a:ea typeface="Fira Sans Extra Condensed Medium"/>
              <a:cs typeface="Fira Sans Extra Condensed Medium"/>
            </a:endParaRPr>
          </a:p>
        </p:txBody>
      </p:sp>
      <p:sp>
        <p:nvSpPr>
          <p:cNvPr id="14" name="Google Shape;1510;p38"/>
          <p:cNvSpPr txBox="1"/>
          <p:nvPr/>
        </p:nvSpPr>
        <p:spPr>
          <a:xfrm>
            <a:off x="752950" y="2047047"/>
            <a:ext cx="4040421" cy="572800"/>
          </a:xfrm>
          <a:prstGeom prst="rect">
            <a:avLst/>
          </a:prstGeom>
          <a:noFill/>
          <a:ln>
            <a:noFill/>
          </a:ln>
        </p:spPr>
        <p:txBody>
          <a:bodyPr spcFirstLastPara="1" wrap="square" lIns="121900" tIns="121900" rIns="121900" bIns="121900" anchor="ctr" anchorCtr="0">
            <a:noAutofit/>
          </a:bodyPr>
          <a:lstStyle/>
          <a:p>
            <a:pPr>
              <a:defRPr/>
            </a:pPr>
            <a:r>
              <a:rPr lang="el-GR" sz="2000" dirty="0">
                <a:solidFill>
                  <a:srgbClr val="5AA2AE"/>
                </a:solidFill>
                <a:latin typeface="Fira Sans Extra Condensed Medium"/>
                <a:cs typeface="Arial"/>
                <a:sym typeface="Fira Sans Extra Condensed Medium"/>
              </a:rPr>
              <a:t>Φράγμα και αρδευτικά δίκτυα </a:t>
            </a:r>
            <a:r>
              <a:rPr lang="el-GR" sz="2000" dirty="0" err="1">
                <a:solidFill>
                  <a:srgbClr val="5AA2AE"/>
                </a:solidFill>
                <a:latin typeface="Fira Sans Extra Condensed Medium"/>
                <a:cs typeface="Arial"/>
                <a:sym typeface="Fira Sans Extra Condensed Medium"/>
              </a:rPr>
              <a:t>Διποταμίας</a:t>
            </a:r>
            <a:endParaRPr lang="el-GR" dirty="0"/>
          </a:p>
        </p:txBody>
      </p:sp>
      <p:sp>
        <p:nvSpPr>
          <p:cNvPr id="12" name="Google Shape;1480;p38">
            <a:extLst>
              <a:ext uri="{FF2B5EF4-FFF2-40B4-BE49-F238E27FC236}">
                <a16:creationId xmlns:a16="http://schemas.microsoft.com/office/drawing/2014/main" id="{ADFE2495-ADCE-5734-17C7-79CE79878323}"/>
              </a:ext>
            </a:extLst>
          </p:cNvPr>
          <p:cNvSpPr txBox="1"/>
          <p:nvPr/>
        </p:nvSpPr>
        <p:spPr>
          <a:xfrm>
            <a:off x="7125053" y="913933"/>
            <a:ext cx="3197925" cy="874824"/>
          </a:xfrm>
          <a:prstGeom prst="rect">
            <a:avLst/>
          </a:prstGeom>
          <a:noFill/>
          <a:ln>
            <a:noFill/>
          </a:ln>
        </p:spPr>
        <p:txBody>
          <a:bodyPr spcFirstLastPara="1" wrap="square" lIns="121900" tIns="121900" rIns="121900" bIns="121900" anchor="ctr" anchorCtr="0">
            <a:noAutofit/>
          </a:bodyPr>
          <a:lstStyle/>
          <a:p>
            <a:pPr>
              <a:buClr>
                <a:srgbClr val="000000"/>
              </a:buClr>
              <a:buFont typeface="Arial"/>
              <a:buNone/>
              <a:defRPr/>
            </a:pPr>
            <a:r>
              <a:rPr lang="el-GR" sz="2000" dirty="0">
                <a:solidFill>
                  <a:srgbClr val="629DD1"/>
                </a:solidFill>
                <a:latin typeface="Fira Sans Extra Condensed Medium"/>
                <a:ea typeface="Fira Sans Extra Condensed Medium"/>
                <a:cs typeface="Fira Sans Extra Condensed Medium"/>
                <a:sym typeface="Fira Sans Extra Condensed Medium"/>
              </a:rPr>
              <a:t>3ο πρόγραμμα ενίσχυσης κλάδου γούνας</a:t>
            </a:r>
          </a:p>
        </p:txBody>
      </p:sp>
      <p:sp>
        <p:nvSpPr>
          <p:cNvPr id="17" name="Google Shape;1522;p38">
            <a:extLst>
              <a:ext uri="{FF2B5EF4-FFF2-40B4-BE49-F238E27FC236}">
                <a16:creationId xmlns:a16="http://schemas.microsoft.com/office/drawing/2014/main" id="{E421064D-435D-DFBB-87C2-510B4D5EA86E}"/>
              </a:ext>
            </a:extLst>
          </p:cNvPr>
          <p:cNvSpPr txBox="1"/>
          <p:nvPr/>
        </p:nvSpPr>
        <p:spPr>
          <a:xfrm>
            <a:off x="8665480" y="4057918"/>
            <a:ext cx="3061564" cy="536515"/>
          </a:xfrm>
          <a:prstGeom prst="rect">
            <a:avLst/>
          </a:prstGeom>
          <a:noFill/>
          <a:ln>
            <a:noFill/>
          </a:ln>
        </p:spPr>
        <p:txBody>
          <a:bodyPr spcFirstLastPara="1" wrap="square" lIns="121900" tIns="121900" rIns="121900" bIns="121900" anchor="ctr" anchorCtr="0">
            <a:noAutofit/>
          </a:bodyPr>
          <a:lstStyle/>
          <a:p>
            <a:pPr>
              <a:defRPr/>
            </a:pPr>
            <a:r>
              <a:rPr lang="el-GR" sz="2000" dirty="0">
                <a:solidFill>
                  <a:srgbClr val="7F8FA9"/>
                </a:solidFill>
                <a:latin typeface="Fira Sans Extra Condensed Medium"/>
              </a:rPr>
              <a:t>Έργα ανάπτυξης δικτύων </a:t>
            </a:r>
          </a:p>
          <a:p>
            <a:pPr>
              <a:defRPr/>
            </a:pPr>
            <a:r>
              <a:rPr lang="el-GR" sz="2000" dirty="0">
                <a:solidFill>
                  <a:srgbClr val="7F8FA9"/>
                </a:solidFill>
                <a:latin typeface="Fira Sans Extra Condensed Medium"/>
              </a:rPr>
              <a:t>φυσικού αερίου</a:t>
            </a:r>
          </a:p>
        </p:txBody>
      </p:sp>
      <p:sp>
        <p:nvSpPr>
          <p:cNvPr id="18" name="Google Shape;1522;p38">
            <a:extLst>
              <a:ext uri="{FF2B5EF4-FFF2-40B4-BE49-F238E27FC236}">
                <a16:creationId xmlns:a16="http://schemas.microsoft.com/office/drawing/2014/main" id="{2E5D706A-0BCC-7B02-74C9-F252623AF7D4}"/>
              </a:ext>
            </a:extLst>
          </p:cNvPr>
          <p:cNvSpPr txBox="1"/>
          <p:nvPr/>
        </p:nvSpPr>
        <p:spPr>
          <a:xfrm>
            <a:off x="647746" y="4389926"/>
            <a:ext cx="2599244" cy="536515"/>
          </a:xfrm>
          <a:prstGeom prst="rect">
            <a:avLst/>
          </a:prstGeom>
          <a:noFill/>
          <a:ln>
            <a:noFill/>
          </a:ln>
        </p:spPr>
        <p:txBody>
          <a:bodyPr spcFirstLastPara="1" wrap="square" lIns="121900" tIns="121900" rIns="121900" bIns="121900" anchor="ctr" anchorCtr="0">
            <a:noAutofit/>
          </a:bodyPr>
          <a:lstStyle/>
          <a:p>
            <a:pPr>
              <a:defRPr/>
            </a:pPr>
            <a:r>
              <a:rPr lang="el-GR" sz="2000" dirty="0">
                <a:solidFill>
                  <a:srgbClr val="7F8FA9"/>
                </a:solidFill>
                <a:latin typeface="Fira Sans Extra Condensed Medium"/>
              </a:rPr>
              <a:t>Επέκταση Βυζαντινού </a:t>
            </a:r>
            <a:endParaRPr lang="el-GR" dirty="0"/>
          </a:p>
          <a:p>
            <a:pPr>
              <a:defRPr/>
            </a:pPr>
            <a:r>
              <a:rPr lang="el-GR" sz="2000" dirty="0">
                <a:solidFill>
                  <a:srgbClr val="7F8FA9"/>
                </a:solidFill>
                <a:latin typeface="Fira Sans Extra Condensed Medium"/>
              </a:rPr>
              <a:t>Μουσείου Καστοριάς</a:t>
            </a:r>
          </a:p>
        </p:txBody>
      </p:sp>
    </p:spTree>
    <p:extLst>
      <p:ext uri="{BB962C8B-B14F-4D97-AF65-F5344CB8AC3E}">
        <p14:creationId xmlns:p14="http://schemas.microsoft.com/office/powerpoint/2010/main" val="8621571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7E17E9-002E-F271-7C2C-5C7B8C057267}"/>
            </a:ext>
          </a:extLst>
        </p:cNvPr>
        <p:cNvGrpSpPr/>
        <p:nvPr/>
      </p:nvGrpSpPr>
      <p:grpSpPr>
        <a:xfrm>
          <a:off x="0" y="0"/>
          <a:ext cx="0" cy="0"/>
          <a:chOff x="0" y="0"/>
          <a:chExt cx="0" cy="0"/>
        </a:xfrm>
      </p:grpSpPr>
      <p:sp>
        <p:nvSpPr>
          <p:cNvPr id="6" name="Ορθογώνιο 5">
            <a:extLst>
              <a:ext uri="{FF2B5EF4-FFF2-40B4-BE49-F238E27FC236}">
                <a16:creationId xmlns:a16="http://schemas.microsoft.com/office/drawing/2014/main" id="{591C0515-4F2E-A552-5094-79BC2452EB52}"/>
              </a:ext>
            </a:extLst>
          </p:cNvPr>
          <p:cNvSpPr/>
          <p:nvPr/>
        </p:nvSpPr>
        <p:spPr>
          <a:xfrm>
            <a:off x="-5603" y="5710331"/>
            <a:ext cx="1147669" cy="1143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rgbClr val="000000"/>
              </a:buClr>
              <a:buFont typeface="Arial"/>
              <a:buNone/>
            </a:pPr>
            <a:endParaRPr lang="el-GR" sz="1400" kern="0">
              <a:solidFill>
                <a:srgbClr val="FFFFFF"/>
              </a:solidFill>
              <a:sym typeface="Arial"/>
            </a:endParaRPr>
          </a:p>
        </p:txBody>
      </p:sp>
      <p:sp>
        <p:nvSpPr>
          <p:cNvPr id="4" name="TextBox 3">
            <a:extLst>
              <a:ext uri="{FF2B5EF4-FFF2-40B4-BE49-F238E27FC236}">
                <a16:creationId xmlns:a16="http://schemas.microsoft.com/office/drawing/2014/main" id="{FCF20ADD-4083-FF2E-F740-9CEFBD232420}"/>
              </a:ext>
            </a:extLst>
          </p:cNvPr>
          <p:cNvSpPr txBox="1"/>
          <p:nvPr/>
        </p:nvSpPr>
        <p:spPr>
          <a:xfrm>
            <a:off x="261643" y="941120"/>
            <a:ext cx="11503025" cy="6555641"/>
          </a:xfrm>
          <a:prstGeom prst="rect">
            <a:avLst/>
          </a:prstGeom>
          <a:noFill/>
        </p:spPr>
        <p:txBody>
          <a:bodyPr wrap="square" lIns="91440" tIns="45720" rIns="91440" bIns="45720" rtlCol="0" anchor="t">
            <a:spAutoFit/>
          </a:bodyPr>
          <a:lstStyle/>
          <a:p>
            <a:pPr>
              <a:buClr>
                <a:srgbClr val="000000"/>
              </a:buClr>
              <a:buFont typeface="Arial"/>
              <a:buNone/>
            </a:pPr>
            <a:r>
              <a:rPr lang="el-GR" sz="1500" b="1" kern="0">
                <a:solidFill>
                  <a:srgbClr val="242852"/>
                </a:solidFill>
                <a:latin typeface="Calibri"/>
                <a:ea typeface="Calibri"/>
                <a:cs typeface="Calibri"/>
                <a:sym typeface="Arial"/>
              </a:rPr>
              <a:t>Ενεργειακά έργα - Πράσινη ενέργεια</a:t>
            </a:r>
          </a:p>
          <a:p>
            <a:pPr marL="342900" indent="-342900">
              <a:buClr>
                <a:srgbClr val="000000"/>
              </a:buClr>
              <a:buFont typeface="Arial"/>
              <a:buChar char="•"/>
            </a:pPr>
            <a:r>
              <a:rPr lang="el-GR" sz="1500" kern="0">
                <a:solidFill>
                  <a:srgbClr val="242852"/>
                </a:solidFill>
                <a:latin typeface="Calibri"/>
                <a:ea typeface="Calibri"/>
                <a:cs typeface="Calibri"/>
                <a:sym typeface="Arial"/>
              </a:rPr>
              <a:t>Κατασκευή 2.130MW </a:t>
            </a:r>
            <a:r>
              <a:rPr lang="el-GR" sz="1500" kern="0" err="1">
                <a:solidFill>
                  <a:srgbClr val="242852"/>
                </a:solidFill>
                <a:latin typeface="Calibri"/>
                <a:ea typeface="Calibri"/>
                <a:cs typeface="Calibri"/>
                <a:sym typeface="Arial"/>
              </a:rPr>
              <a:t>φωτοβολταϊκών</a:t>
            </a:r>
            <a:r>
              <a:rPr lang="el-GR" sz="1500" kern="0">
                <a:solidFill>
                  <a:srgbClr val="242852"/>
                </a:solidFill>
                <a:latin typeface="Calibri"/>
                <a:ea typeface="Calibri"/>
                <a:cs typeface="Calibri"/>
                <a:sym typeface="Arial"/>
              </a:rPr>
              <a:t> στις περιοχές των ορυχείων | επένδυση 1,2 δισ. € </a:t>
            </a:r>
            <a:endParaRPr lang="el-GR" sz="1500" kern="0">
              <a:solidFill>
                <a:srgbClr val="242852"/>
              </a:solidFill>
              <a:latin typeface="Calibri"/>
              <a:ea typeface="Calibri"/>
              <a:cs typeface="Arial"/>
              <a:sym typeface="Arial"/>
            </a:endParaRPr>
          </a:p>
          <a:p>
            <a:pPr marL="342900" indent="-342900">
              <a:buClr>
                <a:srgbClr val="000000"/>
              </a:buClr>
              <a:buFont typeface="Arial"/>
              <a:buChar char="•"/>
            </a:pPr>
            <a:r>
              <a:rPr lang="el-GR" sz="1500" kern="0">
                <a:solidFill>
                  <a:srgbClr val="242852"/>
                </a:solidFill>
                <a:latin typeface="Calibri"/>
                <a:ea typeface="Calibri"/>
                <a:cs typeface="Calibri"/>
                <a:sym typeface="Arial"/>
              </a:rPr>
              <a:t>Έργα αποθήκευσης ενέργειας 860 MW | επένδυση 940 εκατ. €  -  ξεχωρίζουν τα έργα </a:t>
            </a:r>
            <a:r>
              <a:rPr lang="el-GR" sz="1500" kern="0" err="1">
                <a:solidFill>
                  <a:srgbClr val="242852"/>
                </a:solidFill>
                <a:latin typeface="Calibri"/>
                <a:ea typeface="Calibri"/>
                <a:cs typeface="Calibri"/>
                <a:sym typeface="Arial"/>
              </a:rPr>
              <a:t>αντλησιοταμίευσης</a:t>
            </a:r>
            <a:r>
              <a:rPr lang="el-GR" sz="1500" kern="0">
                <a:solidFill>
                  <a:srgbClr val="242852"/>
                </a:solidFill>
                <a:latin typeface="Calibri"/>
                <a:ea typeface="Calibri"/>
                <a:cs typeface="Calibri"/>
                <a:sym typeface="Arial"/>
              </a:rPr>
              <a:t> στα ορυχεία Καρδιάς και Νοτίου Πεδίου</a:t>
            </a:r>
            <a:endParaRPr lang="el-GR" sz="1500" kern="0">
              <a:solidFill>
                <a:srgbClr val="242852"/>
              </a:solidFill>
              <a:latin typeface="Calibri"/>
              <a:cs typeface="Arial"/>
              <a:sym typeface="Arial"/>
            </a:endParaRPr>
          </a:p>
          <a:p>
            <a:pPr marL="342900" indent="-342900">
              <a:buClr>
                <a:srgbClr val="000000"/>
              </a:buClr>
              <a:buFont typeface="Arial"/>
              <a:buChar char="•"/>
            </a:pPr>
            <a:r>
              <a:rPr lang="en-GB" sz="1500" kern="0">
                <a:solidFill>
                  <a:srgbClr val="242852"/>
                </a:solidFill>
                <a:latin typeface="Calibri"/>
                <a:ea typeface="Calibri"/>
                <a:cs typeface="Calibri"/>
                <a:sym typeface="Arial"/>
              </a:rPr>
              <a:t>&gt; </a:t>
            </a:r>
            <a:r>
              <a:rPr lang="el-GR" sz="1500" kern="0">
                <a:solidFill>
                  <a:srgbClr val="242852"/>
                </a:solidFill>
                <a:latin typeface="Calibri"/>
                <a:ea typeface="Calibri"/>
                <a:cs typeface="Calibri"/>
                <a:sym typeface="Arial"/>
              </a:rPr>
              <a:t>1300 θέσεις εργασίας κατά την κατασκευή και εκατοντάδες κατά τη λειτουργία. </a:t>
            </a:r>
          </a:p>
          <a:p>
            <a:pPr>
              <a:buClr>
                <a:srgbClr val="000000"/>
              </a:buClr>
              <a:buFont typeface="Arial"/>
              <a:buNone/>
            </a:pPr>
            <a:endParaRPr lang="el-GR" sz="1500" b="1" kern="0">
              <a:solidFill>
                <a:srgbClr val="242852"/>
              </a:solidFill>
              <a:latin typeface="Calibri"/>
              <a:ea typeface="Calibri"/>
              <a:cs typeface="Calibri"/>
              <a:sym typeface="Arial"/>
            </a:endParaRPr>
          </a:p>
          <a:p>
            <a:pPr>
              <a:buClr>
                <a:srgbClr val="000000"/>
              </a:buClr>
              <a:buFont typeface="Arial"/>
              <a:buNone/>
            </a:pPr>
            <a:r>
              <a:rPr lang="el-GR" sz="1500" b="1" kern="0">
                <a:solidFill>
                  <a:srgbClr val="242852"/>
                </a:solidFill>
                <a:latin typeface="Calibri"/>
                <a:ea typeface="Calibri"/>
                <a:cs typeface="Calibri"/>
                <a:sym typeface="Arial"/>
              </a:rPr>
              <a:t>Ενεργειακά έργα - Νέες μονάδες</a:t>
            </a:r>
            <a:endParaRPr lang="el-GR" sz="1500" kern="0">
              <a:solidFill>
                <a:srgbClr val="242852"/>
              </a:solidFill>
              <a:latin typeface="Calibri"/>
              <a:cs typeface="Arial"/>
              <a:sym typeface="Arial"/>
            </a:endParaRPr>
          </a:p>
          <a:p>
            <a:pPr marL="342900" indent="-342900">
              <a:buClr>
                <a:srgbClr val="000000"/>
              </a:buClr>
              <a:buFont typeface="Arial"/>
              <a:buChar char="•"/>
            </a:pPr>
            <a:r>
              <a:rPr lang="el-GR" sz="1500" kern="0">
                <a:solidFill>
                  <a:srgbClr val="242852"/>
                </a:solidFill>
                <a:latin typeface="Calibri"/>
                <a:ea typeface="Calibri"/>
                <a:cs typeface="Calibri"/>
                <a:sym typeface="Arial"/>
              </a:rPr>
              <a:t>Πτολεμαΐδα 5: Συνεχίζεται η λειτουργία της και θα μετατραπεί σε μονάδα φυσικού αερίου, αρχικά, μέχρι το τέλος του 2027, σε ανοικτού κύκλου -OCGT ισχύος 350 MW. Στη συνέχεια θα αναβαθμιστεί σε μονάδα συνδυασμένου κύκλου- CCGT συνολικής ισχύος περίπου 500 MW. </a:t>
            </a:r>
            <a:endParaRPr lang="el-GR" sz="1500" kern="0">
              <a:solidFill>
                <a:srgbClr val="242852"/>
              </a:solidFill>
              <a:latin typeface="Calibri"/>
              <a:ea typeface="Calibri"/>
              <a:cs typeface="Arial"/>
              <a:sym typeface="Arial"/>
            </a:endParaRPr>
          </a:p>
          <a:p>
            <a:pPr marL="342900" indent="-342900">
              <a:buClr>
                <a:srgbClr val="000000"/>
              </a:buClr>
              <a:buFont typeface="Arial"/>
              <a:buChar char="•"/>
            </a:pPr>
            <a:r>
              <a:rPr lang="el-GR" sz="1500" kern="0">
                <a:solidFill>
                  <a:srgbClr val="242852"/>
                </a:solidFill>
                <a:latin typeface="Calibri"/>
                <a:ea typeface="Calibri"/>
                <a:cs typeface="Calibri"/>
                <a:sym typeface="Arial"/>
              </a:rPr>
              <a:t>ΑΗΣ Καρδιάς : Μετατροπή των παλαιών γεννητριών των Μονάδων 3 και 4 σε σύγχρονους πυκνωτές. </a:t>
            </a:r>
          </a:p>
          <a:p>
            <a:pPr>
              <a:buClr>
                <a:srgbClr val="000000"/>
              </a:buClr>
              <a:buFont typeface="Arial"/>
              <a:buNone/>
            </a:pPr>
            <a:endParaRPr lang="el-GR" sz="1500" kern="0">
              <a:solidFill>
                <a:srgbClr val="FF0000"/>
              </a:solidFill>
              <a:latin typeface="Calibri"/>
              <a:ea typeface="Calibri"/>
              <a:cs typeface="Calibri"/>
              <a:sym typeface="Arial"/>
            </a:endParaRPr>
          </a:p>
          <a:p>
            <a:pPr>
              <a:buClr>
                <a:srgbClr val="000000"/>
              </a:buClr>
              <a:buFont typeface="Arial"/>
              <a:buNone/>
            </a:pPr>
            <a:r>
              <a:rPr lang="el-GR" sz="1500" b="1" kern="0">
                <a:solidFill>
                  <a:srgbClr val="242852"/>
                </a:solidFill>
                <a:latin typeface="Calibri"/>
                <a:ea typeface="Calibri"/>
                <a:cs typeface="Calibri"/>
                <a:sym typeface="Arial"/>
              </a:rPr>
              <a:t>Αποκαταστάσεις και αποσύρσεις</a:t>
            </a:r>
          </a:p>
          <a:p>
            <a:pPr marL="285750" indent="-285750">
              <a:buClr>
                <a:srgbClr val="000000"/>
              </a:buClr>
              <a:buFont typeface="Arial"/>
              <a:buChar char="•"/>
            </a:pPr>
            <a:r>
              <a:rPr lang="el-GR" sz="1500" kern="0">
                <a:solidFill>
                  <a:srgbClr val="242852"/>
                </a:solidFill>
                <a:latin typeface="Calibri"/>
                <a:ea typeface="Calibri"/>
                <a:cs typeface="Calibri"/>
                <a:sym typeface="Arial"/>
              </a:rPr>
              <a:t>400 εκατ. € επενδύσεις σε αποκαταστάσεις εδαφών και αποσύρσεις κτιρίων, εγκαταστάσεων, κ.λπ. Από τα σχεδόν 200.000 στρέμματα της ΔΕΗ στην ευρύτερη περιοχή, περίπου 80.000 στρέμματα επιστρέφονται σταδιακά στο Δημόσιο. </a:t>
            </a:r>
          </a:p>
          <a:p>
            <a:pPr>
              <a:buClr>
                <a:srgbClr val="000000"/>
              </a:buClr>
              <a:buFont typeface="Arial"/>
              <a:buNone/>
            </a:pPr>
            <a:endParaRPr lang="el-GR" sz="1500" b="1" kern="0">
              <a:solidFill>
                <a:srgbClr val="242852"/>
              </a:solidFill>
              <a:latin typeface="Calibri"/>
              <a:ea typeface="Calibri"/>
              <a:cs typeface="Calibri"/>
              <a:sym typeface="Arial"/>
            </a:endParaRPr>
          </a:p>
          <a:p>
            <a:pPr algn="just">
              <a:buClr>
                <a:srgbClr val="000000"/>
              </a:buClr>
              <a:buFont typeface="Arial"/>
              <a:buNone/>
            </a:pPr>
            <a:r>
              <a:rPr lang="en-US" sz="1500" b="1" kern="0" err="1">
                <a:solidFill>
                  <a:srgbClr val="242852"/>
                </a:solidFill>
                <a:latin typeface="Calibri"/>
                <a:ea typeface="Calibri"/>
                <a:cs typeface="Calibri"/>
                <a:sym typeface="Arial"/>
              </a:rPr>
              <a:t>Νέο</a:t>
            </a:r>
            <a:r>
              <a:rPr lang="en-US" sz="1500" b="1" kern="0">
                <a:solidFill>
                  <a:srgbClr val="242852"/>
                </a:solidFill>
                <a:latin typeface="Calibri"/>
                <a:ea typeface="Calibri"/>
                <a:cs typeface="Calibri"/>
                <a:sym typeface="Arial"/>
              </a:rPr>
              <a:t> mega data center</a:t>
            </a:r>
          </a:p>
          <a:p>
            <a:pPr marL="285750" indent="-285750" algn="just">
              <a:buClr>
                <a:srgbClr val="000000"/>
              </a:buClr>
              <a:buFont typeface="Arial"/>
              <a:buChar char="•"/>
            </a:pPr>
            <a:r>
              <a:rPr lang="en-US" sz="1500" u="sng" kern="0" err="1">
                <a:solidFill>
                  <a:srgbClr val="242852"/>
                </a:solidFill>
                <a:latin typeface="Calibri"/>
                <a:ea typeface="Calibri"/>
                <a:cs typeface="Calibri"/>
                <a:sym typeface="Arial"/>
              </a:rPr>
              <a:t>Φάση</a:t>
            </a:r>
            <a:r>
              <a:rPr lang="en-US" sz="1500" u="sng" kern="0">
                <a:solidFill>
                  <a:srgbClr val="242852"/>
                </a:solidFill>
                <a:latin typeface="Calibri"/>
                <a:ea typeface="Calibri"/>
                <a:cs typeface="Calibri"/>
                <a:sym typeface="Arial"/>
              </a:rPr>
              <a:t> 1</a:t>
            </a:r>
            <a:r>
              <a:rPr lang="en-US" sz="1500" kern="0">
                <a:solidFill>
                  <a:srgbClr val="242852"/>
                </a:solidFill>
                <a:latin typeface="Calibri"/>
                <a:ea typeface="Calibri"/>
                <a:cs typeface="Calibri"/>
                <a:sym typeface="Arial"/>
              </a:rPr>
              <a:t> (2,1 - 2,4 </a:t>
            </a:r>
            <a:r>
              <a:rPr lang="en-US" sz="1500" kern="0" err="1">
                <a:solidFill>
                  <a:srgbClr val="242852"/>
                </a:solidFill>
                <a:latin typeface="Calibri"/>
                <a:ea typeface="Calibri"/>
                <a:cs typeface="Calibri"/>
                <a:sym typeface="Arial"/>
              </a:rPr>
              <a:t>δισ</a:t>
            </a:r>
            <a:r>
              <a:rPr lang="en-US" sz="1500" kern="0">
                <a:solidFill>
                  <a:srgbClr val="242852"/>
                </a:solidFill>
                <a:latin typeface="Calibri"/>
                <a:ea typeface="Calibri"/>
                <a:cs typeface="Calibri"/>
                <a:sym typeface="Arial"/>
              </a:rPr>
              <a:t>. </a:t>
            </a:r>
            <a:r>
              <a:rPr lang="en-US" sz="1500" kern="0" err="1">
                <a:solidFill>
                  <a:srgbClr val="242852"/>
                </a:solidFill>
                <a:latin typeface="Calibri"/>
                <a:ea typeface="Calibri"/>
                <a:cs typeface="Calibri"/>
                <a:sym typeface="Arial"/>
              </a:rPr>
              <a:t>ευρώ</a:t>
            </a:r>
            <a:r>
              <a:rPr lang="en-US" sz="1500" kern="0">
                <a:solidFill>
                  <a:srgbClr val="242852"/>
                </a:solidFill>
                <a:latin typeface="Calibri"/>
                <a:ea typeface="Calibri"/>
                <a:cs typeface="Calibri"/>
                <a:sym typeface="Arial"/>
              </a:rPr>
              <a:t>): Η ΔΕΗ </a:t>
            </a:r>
            <a:r>
              <a:rPr lang="en-US" sz="1500" kern="0" err="1">
                <a:solidFill>
                  <a:srgbClr val="242852"/>
                </a:solidFill>
                <a:latin typeface="Calibri"/>
                <a:ea typeface="Calibri"/>
                <a:cs typeface="Calibri"/>
                <a:sym typeface="Arial"/>
              </a:rPr>
              <a:t>είν</a:t>
            </a:r>
            <a:r>
              <a:rPr lang="en-US" sz="1500" kern="0">
                <a:solidFill>
                  <a:srgbClr val="242852"/>
                </a:solidFill>
                <a:latin typeface="Calibri"/>
                <a:ea typeface="Calibri"/>
                <a:cs typeface="Calibri"/>
                <a:sym typeface="Arial"/>
              </a:rPr>
              <a:t>αι έτοιμη να ξεκινήσει να κατασκευάζει, μόλις συμφωνήσει με τους hyperscalers που θα το χρησιμοποιούν, ένα νέο mega data center 300 MW στον ΑΗΣ Αγίου Δημητρίου. Επιπ</a:t>
            </a:r>
            <a:r>
              <a:rPr lang="en-US" sz="1500" kern="0" err="1">
                <a:solidFill>
                  <a:srgbClr val="242852"/>
                </a:solidFill>
                <a:latin typeface="Calibri"/>
                <a:ea typeface="Calibri"/>
                <a:cs typeface="Calibri"/>
                <a:sym typeface="Arial"/>
              </a:rPr>
              <a:t>λέον</a:t>
            </a:r>
            <a:r>
              <a:rPr lang="en-US" sz="1500" kern="0">
                <a:solidFill>
                  <a:srgbClr val="242852"/>
                </a:solidFill>
                <a:latin typeface="Calibri"/>
                <a:ea typeface="Calibri"/>
                <a:cs typeface="Calibri"/>
                <a:sym typeface="Arial"/>
              </a:rPr>
              <a:t>, θα κατα</a:t>
            </a:r>
            <a:r>
              <a:rPr lang="en-US" sz="1500" kern="0" err="1">
                <a:solidFill>
                  <a:srgbClr val="242852"/>
                </a:solidFill>
                <a:latin typeface="Calibri"/>
                <a:ea typeface="Calibri"/>
                <a:cs typeface="Calibri"/>
                <a:sym typeface="Arial"/>
              </a:rPr>
              <a:t>σκευ</a:t>
            </a:r>
            <a:r>
              <a:rPr lang="en-US" sz="1500" kern="0">
                <a:solidFill>
                  <a:srgbClr val="242852"/>
                </a:solidFill>
                <a:latin typeface="Calibri"/>
                <a:ea typeface="Calibri"/>
                <a:cs typeface="Calibri"/>
                <a:sym typeface="Arial"/>
              </a:rPr>
              <a:t>αστεί και μονάδα 100 ΜW στον Άγιο Δημήτριο, δίπλα στο data center και η μονάδα Πτολεμαΐδα 5 θα αναβαθμιστεί σε CCGT 500 ΜW. Κα</a:t>
            </a:r>
            <a:r>
              <a:rPr lang="en-US" sz="1500" kern="0" err="1">
                <a:solidFill>
                  <a:srgbClr val="242852"/>
                </a:solidFill>
                <a:latin typeface="Calibri"/>
                <a:ea typeface="Calibri"/>
                <a:cs typeface="Calibri"/>
                <a:sym typeface="Arial"/>
              </a:rPr>
              <a:t>τά</a:t>
            </a:r>
            <a:r>
              <a:rPr lang="en-US" sz="1500" kern="0">
                <a:solidFill>
                  <a:srgbClr val="242852"/>
                </a:solidFill>
                <a:latin typeface="Calibri"/>
                <a:ea typeface="Calibri"/>
                <a:cs typeface="Calibri"/>
                <a:sym typeface="Arial"/>
              </a:rPr>
              <a:t> </a:t>
            </a:r>
            <a:r>
              <a:rPr lang="en-US" sz="1500" kern="0" err="1">
                <a:solidFill>
                  <a:srgbClr val="242852"/>
                </a:solidFill>
                <a:latin typeface="Calibri"/>
                <a:ea typeface="Calibri"/>
                <a:cs typeface="Calibri"/>
                <a:sym typeface="Arial"/>
              </a:rPr>
              <a:t>τη</a:t>
            </a:r>
            <a:r>
              <a:rPr lang="en-US" sz="1500" kern="0">
                <a:solidFill>
                  <a:srgbClr val="242852"/>
                </a:solidFill>
                <a:latin typeface="Calibri"/>
                <a:ea typeface="Calibri"/>
                <a:cs typeface="Calibri"/>
                <a:sym typeface="Arial"/>
              </a:rPr>
              <a:t> ΦΑΣΗ 1 </a:t>
            </a:r>
            <a:r>
              <a:rPr lang="en-US" sz="1500" kern="0" err="1">
                <a:solidFill>
                  <a:srgbClr val="242852"/>
                </a:solidFill>
                <a:latin typeface="Calibri"/>
                <a:ea typeface="Calibri"/>
                <a:cs typeface="Calibri"/>
                <a:sym typeface="Arial"/>
              </a:rPr>
              <a:t>του</a:t>
            </a:r>
            <a:r>
              <a:rPr lang="en-US" sz="1500" kern="0">
                <a:solidFill>
                  <a:srgbClr val="242852"/>
                </a:solidFill>
                <a:latin typeface="Calibri"/>
                <a:ea typeface="Calibri"/>
                <a:cs typeface="Calibri"/>
                <a:sym typeface="Arial"/>
              </a:rPr>
              <a:t> mega data center </a:t>
            </a:r>
            <a:r>
              <a:rPr lang="en-US" sz="1500" kern="0" err="1">
                <a:solidFill>
                  <a:srgbClr val="242852"/>
                </a:solidFill>
                <a:latin typeface="Calibri"/>
                <a:ea typeface="Calibri"/>
                <a:cs typeface="Calibri"/>
                <a:sym typeface="Arial"/>
              </a:rPr>
              <a:t>των</a:t>
            </a:r>
            <a:r>
              <a:rPr lang="en-US" sz="1500" kern="0">
                <a:solidFill>
                  <a:srgbClr val="242852"/>
                </a:solidFill>
                <a:latin typeface="Calibri"/>
                <a:ea typeface="Calibri"/>
                <a:cs typeface="Calibri"/>
                <a:sym typeface="Arial"/>
              </a:rPr>
              <a:t> 300MW, τα </a:t>
            </a:r>
            <a:r>
              <a:rPr lang="en-US" sz="1500" kern="0" err="1">
                <a:solidFill>
                  <a:srgbClr val="242852"/>
                </a:solidFill>
                <a:latin typeface="Calibri"/>
                <a:ea typeface="Calibri"/>
                <a:cs typeface="Calibri"/>
                <a:sym typeface="Arial"/>
              </a:rPr>
              <a:t>ενεργει</a:t>
            </a:r>
            <a:r>
              <a:rPr lang="en-US" sz="1500" kern="0">
                <a:solidFill>
                  <a:srgbClr val="242852"/>
                </a:solidFill>
                <a:latin typeface="Calibri"/>
                <a:ea typeface="Calibri"/>
                <a:cs typeface="Calibri"/>
                <a:sym typeface="Arial"/>
              </a:rPr>
              <a:t>ακά έργα και το data center μπορούν να δημιουργήσουν συνολικά 10.000 θέσεις εργασίας κατά την κατασκευή και 1.200 θέσεις εργασίας κατά τη λειτουργία.</a:t>
            </a:r>
          </a:p>
          <a:p>
            <a:pPr marL="285750" indent="-285750" algn="just">
              <a:buClr>
                <a:srgbClr val="000000"/>
              </a:buClr>
              <a:buFont typeface="Arial"/>
              <a:buChar char="•"/>
            </a:pPr>
            <a:r>
              <a:rPr lang="en-US" sz="1500" u="sng" kern="0" err="1">
                <a:solidFill>
                  <a:srgbClr val="242852"/>
                </a:solidFill>
                <a:latin typeface="Calibri"/>
                <a:ea typeface="Calibri"/>
                <a:cs typeface="Calibri"/>
                <a:sym typeface="Arial"/>
              </a:rPr>
              <a:t>Φάση</a:t>
            </a:r>
            <a:r>
              <a:rPr lang="en-US" sz="1500" u="sng" kern="0">
                <a:solidFill>
                  <a:srgbClr val="242852"/>
                </a:solidFill>
                <a:latin typeface="Calibri"/>
                <a:ea typeface="Calibri"/>
                <a:cs typeface="Calibri"/>
                <a:sym typeface="Arial"/>
              </a:rPr>
              <a:t> 2 </a:t>
            </a:r>
            <a:r>
              <a:rPr lang="en-US" sz="1500" kern="0">
                <a:solidFill>
                  <a:srgbClr val="242852"/>
                </a:solidFill>
                <a:latin typeface="Calibri"/>
                <a:ea typeface="Calibri"/>
                <a:cs typeface="Calibri"/>
                <a:sym typeface="Arial"/>
              </a:rPr>
              <a:t>(7 - 8 </a:t>
            </a:r>
            <a:r>
              <a:rPr lang="en-US" sz="1500" kern="0" err="1">
                <a:solidFill>
                  <a:srgbClr val="242852"/>
                </a:solidFill>
                <a:latin typeface="Calibri"/>
                <a:ea typeface="Calibri"/>
                <a:cs typeface="Calibri"/>
                <a:sym typeface="Arial"/>
              </a:rPr>
              <a:t>δισ</a:t>
            </a:r>
            <a:r>
              <a:rPr lang="en-US" sz="1500" kern="0">
                <a:solidFill>
                  <a:srgbClr val="242852"/>
                </a:solidFill>
                <a:latin typeface="Calibri"/>
                <a:ea typeface="Calibri"/>
                <a:cs typeface="Calibri"/>
                <a:sym typeface="Arial"/>
              </a:rPr>
              <a:t>. </a:t>
            </a:r>
            <a:r>
              <a:rPr lang="en-US" sz="1500" kern="0" err="1">
                <a:solidFill>
                  <a:srgbClr val="242852"/>
                </a:solidFill>
                <a:latin typeface="Calibri"/>
                <a:ea typeface="Calibri"/>
                <a:cs typeface="Calibri"/>
                <a:sym typeface="Arial"/>
              </a:rPr>
              <a:t>ευρώ</a:t>
            </a:r>
            <a:r>
              <a:rPr lang="en-US" sz="1500" kern="0">
                <a:solidFill>
                  <a:srgbClr val="242852"/>
                </a:solidFill>
                <a:latin typeface="Calibri"/>
                <a:ea typeface="Calibri"/>
                <a:cs typeface="Calibri"/>
                <a:sym typeface="Arial"/>
              </a:rPr>
              <a:t>): </a:t>
            </a:r>
            <a:r>
              <a:rPr lang="en-US" sz="1500" kern="0" err="1">
                <a:solidFill>
                  <a:srgbClr val="242852"/>
                </a:solidFill>
                <a:latin typeface="Calibri"/>
                <a:ea typeface="Calibri"/>
                <a:cs typeface="Calibri"/>
                <a:sym typeface="Arial"/>
              </a:rPr>
              <a:t>Δημιουργί</a:t>
            </a:r>
            <a:r>
              <a:rPr lang="en-US" sz="1500" kern="0">
                <a:solidFill>
                  <a:srgbClr val="242852"/>
                </a:solidFill>
                <a:latin typeface="Calibri"/>
                <a:ea typeface="Calibri"/>
                <a:cs typeface="Calibri"/>
                <a:sym typeface="Arial"/>
              </a:rPr>
              <a:t>α Giga Data Center (από 300 σε 1.000MW) εφόσον υπάρχει επενδυτικό ενδιαφέρον από hyperscalers. </a:t>
            </a:r>
            <a:r>
              <a:rPr lang="en-US" sz="1500" kern="0" err="1">
                <a:solidFill>
                  <a:srgbClr val="242852"/>
                </a:solidFill>
                <a:latin typeface="Calibri"/>
                <a:ea typeface="Calibri"/>
                <a:cs typeface="Calibri"/>
                <a:sym typeface="Arial"/>
              </a:rPr>
              <a:t>Σε</a:t>
            </a:r>
            <a:r>
              <a:rPr lang="en-US" sz="1500" kern="0">
                <a:solidFill>
                  <a:srgbClr val="242852"/>
                </a:solidFill>
                <a:latin typeface="Calibri"/>
                <a:ea typeface="Calibri"/>
                <a:cs typeface="Calibri"/>
                <a:sym typeface="Arial"/>
              </a:rPr>
              <a:t> α</a:t>
            </a:r>
            <a:r>
              <a:rPr lang="en-US" sz="1500" kern="0" err="1">
                <a:solidFill>
                  <a:srgbClr val="242852"/>
                </a:solidFill>
                <a:latin typeface="Calibri"/>
                <a:ea typeface="Calibri"/>
                <a:cs typeface="Calibri"/>
                <a:sym typeface="Arial"/>
              </a:rPr>
              <a:t>υτή</a:t>
            </a:r>
            <a:r>
              <a:rPr lang="en-US" sz="1500" kern="0">
                <a:solidFill>
                  <a:srgbClr val="242852"/>
                </a:solidFill>
                <a:latin typeface="Calibri"/>
                <a:ea typeface="Calibri"/>
                <a:cs typeface="Calibri"/>
                <a:sym typeface="Arial"/>
              </a:rPr>
              <a:t> </a:t>
            </a:r>
            <a:r>
              <a:rPr lang="en-US" sz="1500" kern="0" err="1">
                <a:solidFill>
                  <a:srgbClr val="242852"/>
                </a:solidFill>
                <a:latin typeface="Calibri"/>
                <a:ea typeface="Calibri"/>
                <a:cs typeface="Calibri"/>
                <a:sym typeface="Arial"/>
              </a:rPr>
              <a:t>τη</a:t>
            </a:r>
            <a:r>
              <a:rPr lang="en-US" sz="1500" kern="0">
                <a:solidFill>
                  <a:srgbClr val="242852"/>
                </a:solidFill>
                <a:latin typeface="Calibri"/>
                <a:ea typeface="Calibri"/>
                <a:cs typeface="Calibri"/>
                <a:sym typeface="Arial"/>
              </a:rPr>
              <a:t> </a:t>
            </a:r>
            <a:r>
              <a:rPr lang="en-US" sz="1500" kern="0" err="1">
                <a:solidFill>
                  <a:srgbClr val="242852"/>
                </a:solidFill>
                <a:latin typeface="Calibri"/>
                <a:ea typeface="Calibri"/>
                <a:cs typeface="Calibri"/>
                <a:sym typeface="Arial"/>
              </a:rPr>
              <a:t>φάση</a:t>
            </a:r>
            <a:r>
              <a:rPr lang="en-US" sz="1500" kern="0">
                <a:solidFill>
                  <a:srgbClr val="242852"/>
                </a:solidFill>
                <a:latin typeface="Calibri"/>
                <a:ea typeface="Calibri"/>
                <a:cs typeface="Calibri"/>
                <a:sym typeface="Arial"/>
              </a:rPr>
              <a:t> </a:t>
            </a:r>
            <a:r>
              <a:rPr lang="en-US" sz="1500" kern="0" err="1">
                <a:solidFill>
                  <a:srgbClr val="242852"/>
                </a:solidFill>
                <a:latin typeface="Calibri"/>
                <a:ea typeface="Calibri"/>
                <a:cs typeface="Calibri"/>
                <a:sym typeface="Arial"/>
              </a:rPr>
              <a:t>όλ</a:t>
            </a:r>
            <a:r>
              <a:rPr lang="en-US" sz="1500" kern="0">
                <a:solidFill>
                  <a:srgbClr val="242852"/>
                </a:solidFill>
                <a:latin typeface="Calibri"/>
                <a:ea typeface="Calibri"/>
                <a:cs typeface="Calibri"/>
                <a:sym typeface="Arial"/>
              </a:rPr>
              <a:t>α τα έργα συνολικά μπορούν να δημιουργήσουν 20.000 θέσεις εργασίας κατά την κατασκευή και 2.000 θέσεις εργασίας κατά τη λειτουργία.</a:t>
            </a:r>
          </a:p>
          <a:p>
            <a:pPr algn="just">
              <a:buClr>
                <a:srgbClr val="000000"/>
              </a:buClr>
              <a:buFont typeface="Arial"/>
              <a:buNone/>
            </a:pPr>
            <a:endParaRPr lang="en-US" sz="1500" kern="0">
              <a:solidFill>
                <a:srgbClr val="242852"/>
              </a:solidFill>
              <a:latin typeface="Calibri"/>
              <a:ea typeface="Calibri"/>
              <a:cs typeface="Calibri"/>
              <a:sym typeface="Arial"/>
            </a:endParaRPr>
          </a:p>
          <a:p>
            <a:pPr algn="just">
              <a:buClr>
                <a:srgbClr val="000000"/>
              </a:buClr>
              <a:buFont typeface="Arial"/>
              <a:buNone/>
            </a:pPr>
            <a:endParaRPr lang="en-US" sz="1500" b="1" kern="0">
              <a:solidFill>
                <a:srgbClr val="242852"/>
              </a:solidFill>
              <a:latin typeface="Calibri"/>
              <a:ea typeface="Calibri"/>
              <a:cs typeface="Calibri"/>
              <a:sym typeface="Arial"/>
            </a:endParaRPr>
          </a:p>
          <a:p>
            <a:pPr algn="just">
              <a:buClr>
                <a:srgbClr val="000000"/>
              </a:buClr>
              <a:buFont typeface="Arial"/>
              <a:buNone/>
            </a:pPr>
            <a:endParaRPr lang="en-US" sz="1500" b="1" kern="0">
              <a:solidFill>
                <a:srgbClr val="242852"/>
              </a:solidFill>
              <a:latin typeface="Calibri"/>
              <a:ea typeface="Calibri"/>
              <a:cs typeface="Calibri"/>
              <a:sym typeface="Arial"/>
            </a:endParaRPr>
          </a:p>
        </p:txBody>
      </p:sp>
      <p:sp>
        <p:nvSpPr>
          <p:cNvPr id="3" name="Google Shape;414;p13">
            <a:extLst>
              <a:ext uri="{FF2B5EF4-FFF2-40B4-BE49-F238E27FC236}">
                <a16:creationId xmlns:a16="http://schemas.microsoft.com/office/drawing/2014/main" id="{316632C2-B873-C166-1043-8233D013358C}"/>
              </a:ext>
            </a:extLst>
          </p:cNvPr>
          <p:cNvSpPr/>
          <p:nvPr/>
        </p:nvSpPr>
        <p:spPr>
          <a:xfrm>
            <a:off x="779435" y="158892"/>
            <a:ext cx="6783921" cy="371184"/>
          </a:xfrm>
          <a:prstGeom prst="rect">
            <a:avLst/>
          </a:prstGeom>
          <a:noFill/>
          <a:ln>
            <a:noFill/>
          </a:ln>
        </p:spPr>
        <p:txBody>
          <a:bodyPr spcFirstLastPara="1" wrap="square" lIns="0" tIns="0" rIns="0" bIns="0" anchor="t" anchorCtr="0">
            <a:noAutofit/>
          </a:bodyPr>
          <a:lstStyle/>
          <a:p>
            <a:pPr defTabSz="609630">
              <a:lnSpc>
                <a:spcPct val="117222"/>
              </a:lnSpc>
              <a:buClr>
                <a:srgbClr val="203A73"/>
              </a:buClr>
              <a:buSzPts val="22500"/>
              <a:buFont typeface="Arial"/>
              <a:buNone/>
              <a:defRPr/>
            </a:pPr>
            <a:r>
              <a:rPr lang="el-GR" sz="3334" kern="0">
                <a:solidFill>
                  <a:srgbClr val="002060"/>
                </a:solidFill>
                <a:latin typeface="Arial Black"/>
                <a:ea typeface="Arial Black"/>
                <a:cs typeface="Arial Black"/>
                <a:sym typeface="Arial Black"/>
              </a:rPr>
              <a:t>Επενδυτικό Πλάνο ΔΕΗ</a:t>
            </a:r>
          </a:p>
        </p:txBody>
      </p:sp>
      <p:cxnSp>
        <p:nvCxnSpPr>
          <p:cNvPr id="5" name="Ευθεία γραμμή σύνδεσης 4">
            <a:extLst>
              <a:ext uri="{FF2B5EF4-FFF2-40B4-BE49-F238E27FC236}">
                <a16:creationId xmlns:a16="http://schemas.microsoft.com/office/drawing/2014/main" id="{5106E5E8-9021-18F2-4CFF-391C2BBDED89}"/>
              </a:ext>
            </a:extLst>
          </p:cNvPr>
          <p:cNvCxnSpPr/>
          <p:nvPr/>
        </p:nvCxnSpPr>
        <p:spPr>
          <a:xfrm>
            <a:off x="261643" y="779953"/>
            <a:ext cx="11668715" cy="0"/>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44783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28">
          <a:extLst>
            <a:ext uri="{FF2B5EF4-FFF2-40B4-BE49-F238E27FC236}">
              <a16:creationId xmlns:a16="http://schemas.microsoft.com/office/drawing/2014/main" id="{B5F3A8C3-7613-B646-0BAE-8703E2242DEE}"/>
            </a:ext>
          </a:extLst>
        </p:cNvPr>
        <p:cNvGrpSpPr/>
        <p:nvPr/>
      </p:nvGrpSpPr>
      <p:grpSpPr>
        <a:xfrm>
          <a:off x="0" y="0"/>
          <a:ext cx="0" cy="0"/>
          <a:chOff x="0" y="0"/>
          <a:chExt cx="0" cy="0"/>
        </a:xfrm>
      </p:grpSpPr>
      <p:pic>
        <p:nvPicPr>
          <p:cNvPr id="13" name="Google Shape;84;p10">
            <a:extLst>
              <a:ext uri="{FF2B5EF4-FFF2-40B4-BE49-F238E27FC236}">
                <a16:creationId xmlns:a16="http://schemas.microsoft.com/office/drawing/2014/main" id="{00A643B8-90EA-466F-A8BE-45D0CE26E725}"/>
              </a:ext>
            </a:extLst>
          </p:cNvPr>
          <p:cNvPicPr preferRelativeResize="0"/>
          <p:nvPr/>
        </p:nvPicPr>
        <p:blipFill rotWithShape="1">
          <a:blip r:embed="rId3">
            <a:alphaModFix/>
          </a:blip>
          <a:srcRect/>
          <a:stretch/>
        </p:blipFill>
        <p:spPr>
          <a:xfrm>
            <a:off x="1" y="711442"/>
            <a:ext cx="2819400" cy="5214673"/>
          </a:xfrm>
          <a:prstGeom prst="rect">
            <a:avLst/>
          </a:prstGeom>
          <a:noFill/>
          <a:ln>
            <a:noFill/>
          </a:ln>
        </p:spPr>
      </p:pic>
      <p:sp>
        <p:nvSpPr>
          <p:cNvPr id="28" name="TextBox 27">
            <a:extLst>
              <a:ext uri="{FF2B5EF4-FFF2-40B4-BE49-F238E27FC236}">
                <a16:creationId xmlns:a16="http://schemas.microsoft.com/office/drawing/2014/main" id="{E3180FA7-43F7-73FA-AA08-765B6CC83631}"/>
              </a:ext>
            </a:extLst>
          </p:cNvPr>
          <p:cNvSpPr txBox="1"/>
          <p:nvPr/>
        </p:nvSpPr>
        <p:spPr>
          <a:xfrm>
            <a:off x="9223169" y="5837638"/>
            <a:ext cx="2175779" cy="379656"/>
          </a:xfrm>
          <a:prstGeom prst="rect">
            <a:avLst/>
          </a:prstGeom>
          <a:noFill/>
        </p:spPr>
        <p:txBody>
          <a:bodyPr wrap="square">
            <a:spAutoFit/>
          </a:bodyPr>
          <a:lstStyle/>
          <a:p>
            <a:pPr algn="ctr" defTabSz="1219170">
              <a:buClr>
                <a:srgbClr val="000000"/>
              </a:buClr>
            </a:pPr>
            <a:r>
              <a:rPr lang="el-GR" sz="1867" b="1" kern="0" dirty="0">
                <a:solidFill>
                  <a:srgbClr val="085195"/>
                </a:solidFill>
                <a:latin typeface="Arial"/>
                <a:cs typeface="urbanist" panose="020B0604020202020204" charset="0"/>
                <a:sym typeface="Montserrat SemiBold"/>
              </a:rPr>
              <a:t>Ιούλιος 2025</a:t>
            </a:r>
          </a:p>
        </p:txBody>
      </p:sp>
      <p:sp>
        <p:nvSpPr>
          <p:cNvPr id="23" name="Google Shape;464;p29">
            <a:extLst>
              <a:ext uri="{FF2B5EF4-FFF2-40B4-BE49-F238E27FC236}">
                <a16:creationId xmlns:a16="http://schemas.microsoft.com/office/drawing/2014/main" id="{65FC0C78-83DB-46BE-8CFE-FE3D49E1480B}"/>
              </a:ext>
            </a:extLst>
          </p:cNvPr>
          <p:cNvSpPr/>
          <p:nvPr/>
        </p:nvSpPr>
        <p:spPr>
          <a:xfrm>
            <a:off x="3426692" y="2334827"/>
            <a:ext cx="7232072" cy="2162371"/>
          </a:xfrm>
          <a:prstGeom prst="roundRect">
            <a:avLst>
              <a:gd name="adj" fmla="val 39520"/>
            </a:avLst>
          </a:prstGeom>
          <a:solidFill>
            <a:srgbClr val="D0E5F5"/>
          </a:solidFill>
          <a:ln>
            <a:noFill/>
            <a:prstDash val="solid"/>
          </a:ln>
        </p:spPr>
        <p:txBody>
          <a:bodyPr spcFirstLastPara="1" wrap="square" lIns="121900" tIns="60933" rIns="121900" bIns="60933" anchor="ctr" anchorCtr="0">
            <a:noAutofit/>
          </a:bodyPr>
          <a:lstStyle/>
          <a:p>
            <a:pPr algn="ctr" defTabSz="1219170">
              <a:buClr>
                <a:srgbClr val="000000"/>
              </a:buClr>
            </a:pPr>
            <a:r>
              <a:rPr lang="el-GR" sz="3067" b="1" kern="0" dirty="0">
                <a:solidFill>
                  <a:srgbClr val="085195"/>
                </a:solidFill>
                <a:latin typeface="Arial"/>
                <a:cs typeface="urbanist" panose="020B0604020202020204" charset="0"/>
                <a:sym typeface="Arial"/>
              </a:rPr>
              <a:t>Χρηματοδοτικά Εργαλεία στην Περιφέρεια Δυτικής Μακεδονίας</a:t>
            </a:r>
            <a:endParaRPr lang="en-US" sz="3067" b="1" kern="0" dirty="0">
              <a:solidFill>
                <a:srgbClr val="085195"/>
              </a:solidFill>
              <a:latin typeface="Arial"/>
              <a:cs typeface="urbanist" panose="020B0604020202020204" charset="0"/>
              <a:sym typeface="Montserrat SemiBold"/>
            </a:endParaRPr>
          </a:p>
        </p:txBody>
      </p:sp>
      <p:grpSp>
        <p:nvGrpSpPr>
          <p:cNvPr id="14" name="Ομάδα 13">
            <a:extLst>
              <a:ext uri="{FF2B5EF4-FFF2-40B4-BE49-F238E27FC236}">
                <a16:creationId xmlns:a16="http://schemas.microsoft.com/office/drawing/2014/main" id="{0B1FE642-D878-4332-901E-3BB188A32426}"/>
              </a:ext>
            </a:extLst>
          </p:cNvPr>
          <p:cNvGrpSpPr/>
          <p:nvPr/>
        </p:nvGrpSpPr>
        <p:grpSpPr>
          <a:xfrm>
            <a:off x="1267524" y="187119"/>
            <a:ext cx="4510317" cy="1267979"/>
            <a:chOff x="2529506" y="559295"/>
            <a:chExt cx="3554400" cy="689456"/>
          </a:xfrm>
        </p:grpSpPr>
        <p:sp>
          <p:nvSpPr>
            <p:cNvPr id="15" name="Google Shape;83;p10">
              <a:extLst>
                <a:ext uri="{FF2B5EF4-FFF2-40B4-BE49-F238E27FC236}">
                  <a16:creationId xmlns:a16="http://schemas.microsoft.com/office/drawing/2014/main" id="{6BE917BE-1F18-42DE-8342-3DF4EAD77B23}"/>
                </a:ext>
              </a:extLst>
            </p:cNvPr>
            <p:cNvSpPr txBox="1"/>
            <p:nvPr/>
          </p:nvSpPr>
          <p:spPr>
            <a:xfrm>
              <a:off x="3018206" y="869380"/>
              <a:ext cx="2577000" cy="379371"/>
            </a:xfrm>
            <a:prstGeom prst="rect">
              <a:avLst/>
            </a:prstGeom>
            <a:noFill/>
            <a:ln>
              <a:noFill/>
            </a:ln>
          </p:spPr>
          <p:txBody>
            <a:bodyPr spcFirstLastPara="1" wrap="square" lIns="121900" tIns="60933" rIns="121900" bIns="60933" anchor="t" anchorCtr="0">
              <a:spAutoFit/>
            </a:bodyPr>
            <a:lstStyle/>
            <a:p>
              <a:pPr algn="ctr" defTabSz="1219170">
                <a:buClr>
                  <a:srgbClr val="000000"/>
                </a:buClr>
              </a:pPr>
              <a:r>
                <a:rPr lang="el-GR" sz="1867" kern="0" dirty="0">
                  <a:solidFill>
                    <a:srgbClr val="085195"/>
                  </a:solidFill>
                  <a:latin typeface="Arial"/>
                  <a:cs typeface="urbanist" panose="020B0604020202020204" charset="0"/>
                  <a:sym typeface="Arial"/>
                </a:rPr>
                <a:t>Υπουργείο</a:t>
              </a:r>
              <a:r>
                <a:rPr lang="en-US" sz="1867" kern="0" dirty="0">
                  <a:solidFill>
                    <a:srgbClr val="085195"/>
                  </a:solidFill>
                  <a:latin typeface="Arial"/>
                  <a:cs typeface="urbanist" panose="020B0604020202020204" charset="0"/>
                  <a:sym typeface="Arial"/>
                </a:rPr>
                <a:t> </a:t>
              </a:r>
              <a:r>
                <a:rPr lang="el-GR" sz="1867" kern="0" dirty="0">
                  <a:solidFill>
                    <a:srgbClr val="085195"/>
                  </a:solidFill>
                  <a:latin typeface="Arial"/>
                  <a:cs typeface="urbanist" panose="020B0604020202020204" charset="0"/>
                  <a:sym typeface="Arial"/>
                </a:rPr>
                <a:t>Εθνικής</a:t>
              </a:r>
              <a:r>
                <a:rPr lang="en-US" sz="1867" kern="0" dirty="0">
                  <a:solidFill>
                    <a:srgbClr val="085195"/>
                  </a:solidFill>
                  <a:latin typeface="Arial"/>
                  <a:cs typeface="urbanist" panose="020B0604020202020204" charset="0"/>
                  <a:sym typeface="Arial"/>
                </a:rPr>
                <a:t> </a:t>
              </a:r>
              <a:r>
                <a:rPr lang="el-GR" sz="1867" kern="0" dirty="0">
                  <a:solidFill>
                    <a:srgbClr val="085195"/>
                  </a:solidFill>
                  <a:latin typeface="Arial"/>
                  <a:cs typeface="urbanist" panose="020B0604020202020204" charset="0"/>
                  <a:sym typeface="Arial"/>
                </a:rPr>
                <a:t>Οικονομίας</a:t>
              </a:r>
              <a:r>
                <a:rPr lang="en-US" sz="1867" kern="0" dirty="0">
                  <a:solidFill>
                    <a:srgbClr val="085195"/>
                  </a:solidFill>
                  <a:latin typeface="Arial"/>
                  <a:cs typeface="urbanist" panose="020B0604020202020204" charset="0"/>
                  <a:sym typeface="Arial"/>
                </a:rPr>
                <a:t> και Οικονομικών</a:t>
              </a:r>
              <a:endParaRPr sz="1333" kern="0" dirty="0">
                <a:solidFill>
                  <a:srgbClr val="000000"/>
                </a:solidFill>
                <a:latin typeface="Arial"/>
                <a:cs typeface="urbanist" panose="020B0604020202020204" charset="0"/>
                <a:sym typeface="Arial"/>
              </a:endParaRPr>
            </a:p>
          </p:txBody>
        </p:sp>
        <p:sp>
          <p:nvSpPr>
            <p:cNvPr id="16" name="Google Shape;85;p10">
              <a:extLst>
                <a:ext uri="{FF2B5EF4-FFF2-40B4-BE49-F238E27FC236}">
                  <a16:creationId xmlns:a16="http://schemas.microsoft.com/office/drawing/2014/main" id="{1A800B29-0984-4679-AE3B-84E5CB868B84}"/>
                </a:ext>
              </a:extLst>
            </p:cNvPr>
            <p:cNvSpPr txBox="1"/>
            <p:nvPr/>
          </p:nvSpPr>
          <p:spPr>
            <a:xfrm>
              <a:off x="2529506" y="559295"/>
              <a:ext cx="3554400" cy="410100"/>
            </a:xfrm>
            <a:prstGeom prst="rect">
              <a:avLst/>
            </a:prstGeom>
            <a:noFill/>
            <a:ln>
              <a:noFill/>
            </a:ln>
          </p:spPr>
          <p:txBody>
            <a:bodyPr spcFirstLastPara="1" wrap="square" lIns="121900" tIns="121900" rIns="121900" bIns="121900" anchor="t" anchorCtr="0">
              <a:noAutofit/>
            </a:bodyPr>
            <a:lstStyle/>
            <a:p>
              <a:pPr algn="ctr" defTabSz="1219170">
                <a:lnSpc>
                  <a:spcPct val="95000"/>
                </a:lnSpc>
                <a:buClr>
                  <a:srgbClr val="191919"/>
                </a:buClr>
                <a:buSzPts val="5200"/>
              </a:pPr>
              <a:r>
                <a:rPr lang="en-US" sz="2133" b="1" kern="0" dirty="0">
                  <a:solidFill>
                    <a:srgbClr val="085195"/>
                  </a:solidFill>
                  <a:latin typeface="Arial"/>
                  <a:cs typeface="urbanist" panose="020B0604020202020204" charset="0"/>
                  <a:sym typeface="Arial"/>
                </a:rPr>
                <a:t>ΕΛΛΗΝΙΚΗ ΔΗΜΟΚΡΑΤΙΑ</a:t>
              </a:r>
              <a:endParaRPr sz="1400" kern="0" dirty="0">
                <a:solidFill>
                  <a:srgbClr val="000000"/>
                </a:solidFill>
                <a:latin typeface="Arial"/>
                <a:cs typeface="urbanist" panose="020B0604020202020204" charset="0"/>
                <a:sym typeface="Arial"/>
              </a:endParaRPr>
            </a:p>
          </p:txBody>
        </p:sp>
      </p:grpSp>
    </p:spTree>
    <p:extLst>
      <p:ext uri="{BB962C8B-B14F-4D97-AF65-F5344CB8AC3E}">
        <p14:creationId xmlns:p14="http://schemas.microsoft.com/office/powerpoint/2010/main" val="1978899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uIsXqoK0wGTzGu0m3fe0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bUBebpggpVRPcswFKS7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bUBebpggpVRPcswFKS7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bUBebpggpVRPcswFKS7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Yg5Va44ZOY_pDcuX0w9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sCuq2ZJ2bSO6tteyhFC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4jFqyzanuUtRgUc6Toi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ENRpnIvCS14SO4kkeX0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t7ShR_6YCkC05uIeU2g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Zp6MBcLxUA0XlQ2duNa0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LVKMMk3AIT7xB7bgbe9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Tcmp0S2n7oPJBeM36UQ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hfY0.dvDNnUXrNnKNSr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ywtlmHTm9LixIjJzliS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_bUBebpggpVRPcswFKS7r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bUBebpggpVRPcswFKS7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HQxgreMqQPCdkxc6gBJz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sKqqkKwaQWonHP7DSA9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AQRzQ_nwZv6KHf_NBTH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FfchvGrg9WcmBKrNeGs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3NVK81iEyBrmzWc5B0VmQ"/>
</p:tagLst>
</file>

<file path=ppt/theme/theme1.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Pricing Strategies Proposal by Slidesgo">
  <a:themeElements>
    <a:clrScheme name="Simple Light">
      <a:dk1>
        <a:srgbClr val="005E88"/>
      </a:dk1>
      <a:lt1>
        <a:srgbClr val="F3F3F3"/>
      </a:lt1>
      <a:dk2>
        <a:srgbClr val="E8E8E8"/>
      </a:dk2>
      <a:lt2>
        <a:srgbClr val="99B5CE"/>
      </a:lt2>
      <a:accent1>
        <a:srgbClr val="297AB8"/>
      </a:accent1>
      <a:accent2>
        <a:srgbClr val="063C53"/>
      </a:accent2>
      <a:accent3>
        <a:srgbClr val="FFFFFF"/>
      </a:accent3>
      <a:accent4>
        <a:srgbClr val="FFFFFF"/>
      </a:accent4>
      <a:accent5>
        <a:srgbClr val="FFFFFF"/>
      </a:accent5>
      <a:accent6>
        <a:srgbClr val="FFFFFF"/>
      </a:accent6>
      <a:hlink>
        <a:srgbClr val="005E88"/>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3175" cap="flat">
          <a:noFill/>
          <a:miter lim="400000"/>
        </a:ln>
        <a:effectLst/>
        <a:sp3d/>
      </a:spPr>
      <a:bodyPr rot="0" spcFirstLastPara="1" vertOverflow="overflow" horzOverflow="overflow" vert="horz" wrap="square" lIns="25400" tIns="25400" rIns="25400" bIns="25400" numCol="1" spcCol="38100" rtlCol="0" anchor="ctr">
        <a:spAutoFit/>
      </a:bodyPr>
      <a:lstStyle>
        <a:defPPr marL="0" marR="0" indent="0" algn="ctr" defTabSz="4127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25400" tIns="25400" rIns="25400" bIns="25400" numCol="1" spcCol="38100" rtlCol="0" anchor="ctr">
        <a:spAutoFit/>
      </a:bodyPr>
      <a:lstStyle>
        <a:defPPr marL="0" marR="0" indent="0" algn="l" defTabSz="1219169" rtl="0" fontAlgn="auto" latinLnBrk="0" hangingPunct="0">
          <a:lnSpc>
            <a:spcPct val="90000"/>
          </a:lnSpc>
          <a:spcBef>
            <a:spcPts val="220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2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Office Theme">
  <a:themeElements>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8_Office Theme">
  <a:themeElements>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0</TotalTime>
  <Words>6831</Words>
  <Application>Microsoft Office PowerPoint</Application>
  <PresentationFormat>Ευρεία οθόνη</PresentationFormat>
  <Paragraphs>1042</Paragraphs>
  <Slides>62</Slides>
  <Notes>10</Notes>
  <HiddenSlides>0</HiddenSlides>
  <MMClips>0</MMClips>
  <ScaleCrop>false</ScaleCrop>
  <HeadingPairs>
    <vt:vector size="8" baseType="variant">
      <vt:variant>
        <vt:lpstr>Γραμματοσειρές που χρησιμοποιούνται</vt:lpstr>
      </vt:variant>
      <vt:variant>
        <vt:i4>22</vt:i4>
      </vt:variant>
      <vt:variant>
        <vt:lpstr>Θέμα</vt:lpstr>
      </vt:variant>
      <vt:variant>
        <vt:i4>10</vt:i4>
      </vt:variant>
      <vt:variant>
        <vt:lpstr>Ενσωματωμένοι διακομιστές OLE</vt:lpstr>
      </vt:variant>
      <vt:variant>
        <vt:i4>1</vt:i4>
      </vt:variant>
      <vt:variant>
        <vt:lpstr>Τίτλοι διαφανειών</vt:lpstr>
      </vt:variant>
      <vt:variant>
        <vt:i4>62</vt:i4>
      </vt:variant>
    </vt:vector>
  </HeadingPairs>
  <TitlesOfParts>
    <vt:vector size="95" baseType="lpstr">
      <vt:lpstr>Aptos</vt:lpstr>
      <vt:lpstr>Arial</vt:lpstr>
      <vt:lpstr>Arial Black</vt:lpstr>
      <vt:lpstr>Arial,Sans-Serif</vt:lpstr>
      <vt:lpstr>Calibri</vt:lpstr>
      <vt:lpstr>Calibri </vt:lpstr>
      <vt:lpstr>Calibri Light</vt:lpstr>
      <vt:lpstr>Commissioner</vt:lpstr>
      <vt:lpstr>Fira Sans Extra Condensed Mediu</vt:lpstr>
      <vt:lpstr>Fira Sans Extra Condensed Medium</vt:lpstr>
      <vt:lpstr>Georgia</vt:lpstr>
      <vt:lpstr>Helvetica Neue</vt:lpstr>
      <vt:lpstr>Helvetica Neue Medium</vt:lpstr>
      <vt:lpstr>Montserrat Medium</vt:lpstr>
      <vt:lpstr>Montserrat SemiBold</vt:lpstr>
      <vt:lpstr>Raleway</vt:lpstr>
      <vt:lpstr>Roboto</vt:lpstr>
      <vt:lpstr>Syne</vt:lpstr>
      <vt:lpstr>Trebuchet MS</vt:lpstr>
      <vt:lpstr>Urbanist</vt:lpstr>
      <vt:lpstr>Urbanist</vt:lpstr>
      <vt:lpstr>Wingdings</vt:lpstr>
      <vt:lpstr>Θέμα του Office</vt:lpstr>
      <vt:lpstr>1_Office Theme</vt:lpstr>
      <vt:lpstr>3_Office Theme</vt:lpstr>
      <vt:lpstr>Office Theme</vt:lpstr>
      <vt:lpstr>5_Office Theme</vt:lpstr>
      <vt:lpstr>21_BasicWhite</vt:lpstr>
      <vt:lpstr>2_Office Theme</vt:lpstr>
      <vt:lpstr>6_Office Theme</vt:lpstr>
      <vt:lpstr>8_Office Theme</vt:lpstr>
      <vt:lpstr>Pricing Strategies Proposal by Slidesgo</vt:lpstr>
      <vt:lpstr>think-cell Slide</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ΕΣΠΑ ΔΑΜ 2021-2027 - Πορεία Υλοποίησης Προγράμματος</vt:lpstr>
      <vt:lpstr>Παρουσίαση του PowerPoint</vt:lpstr>
      <vt:lpstr>Παρουσίαση του PowerPoint</vt:lpstr>
      <vt:lpstr>Παρουσίαση του PowerPoint</vt:lpstr>
      <vt:lpstr>Παρουσίαση του PowerPoint</vt:lpstr>
      <vt:lpstr>Ταμείο Χαρτοφυλακίου ΔΑΜ στην Δυτική Μακεδονία</vt:lpstr>
      <vt:lpstr>Ενεργές &amp; Επικείμενες Προσκλήσεις Δυτικής Μακεδονίας</vt:lpstr>
      <vt:lpstr>Ενεργές &amp; Επικείμενες Προσκλήσεις Δυτικής Μακεδονίας</vt:lpstr>
      <vt:lpstr>Νέο Ειδικό Πρόγραμμα ΔΑΜ</vt:lpstr>
      <vt:lpstr>Άξονες Προτεραιότητας Ειδικού Προγράμματος ΔΑΜ</vt:lpstr>
      <vt:lpstr>Άξονες Προτεραιότητας Ειδικού Προγράμματος ΔΑΜ</vt:lpstr>
      <vt:lpstr>Άξονες Προτεραιότητας Ειδικού Προγράμματος ΔΑΜ </vt:lpstr>
      <vt:lpstr>Εγκεκριμένη Δανειακή Σύμβαση Δυτικής Μακεδονίας</vt:lpstr>
      <vt:lpstr>Νέο Επενδυτικό Σχέδιο Δυτικής Μακεδονίας</vt:lpstr>
      <vt:lpstr> Χρηματοδοτικά Εργαλεία – Περιφέρεια Δυτικής Μακεδονίας</vt:lpstr>
      <vt:lpstr>Ενίσχυση Επιχειρηματικότητας - Ταμείο Ανάκαμψης</vt:lpstr>
      <vt:lpstr>Προγράμματα Ελληνικής Αναπτυξιακής Τράπεζας</vt:lpstr>
      <vt:lpstr>Έργα ΣΔΙΤ στην Δυτική Μακεδονία</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του PowerPoint</dc:title>
  <dc:creator>Θανάσης Κοντογεώργης</dc:creator>
  <cp:lastModifiedBy>Χριστίνα Χριστοπούλου</cp:lastModifiedBy>
  <cp:revision>10</cp:revision>
  <cp:lastPrinted>2025-07-23T07:26:38Z</cp:lastPrinted>
  <dcterms:created xsi:type="dcterms:W3CDTF">2024-01-03T14:35:00Z</dcterms:created>
  <dcterms:modified xsi:type="dcterms:W3CDTF">2025-07-23T07:3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BBDC1500AC134E7CA285FFE62A884D06_13</vt:lpwstr>
  </property>
  <property fmtid="{D5CDD505-2E9C-101B-9397-08002B2CF9AE}" pid="3" name="KSOProductBuildVer">
    <vt:lpwstr>1033-12.2.0.17545</vt:lpwstr>
  </property>
</Properties>
</file>